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32.xml" ContentType="application/vnd.openxmlformats-officedocument.presentationml.slide+xml"/>
  <Override PartName="/ppt/slides/slide31.xml" ContentType="application/vnd.openxmlformats-officedocument.presentationml.slide+xml"/>
  <Override PartName="/ppt/slides/slide10.xml" ContentType="application/vnd.openxmlformats-officedocument.presentationml.slide+xml"/>
  <Override PartName="/ppt/slides/slide29.xml" ContentType="application/vnd.openxmlformats-officedocument.presentationml.slide+xml"/>
  <Override PartName="/ppt/slides/slide28.xml" ContentType="application/vnd.openxmlformats-officedocument.presentationml.slide+xml"/>
  <Override PartName="/ppt/slides/slide27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26.xml" ContentType="application/vnd.openxmlformats-officedocument.presentationml.slide+xml"/>
  <Override PartName="/ppt/slides/slide30.xml" ContentType="application/vnd.openxmlformats-officedocument.presentationml.slide+xml"/>
  <Override PartName="/ppt/slides/slide24.xml" ContentType="application/vnd.openxmlformats-officedocument.presentationml.slide+xml"/>
  <Override PartName="/ppt/slides/slide16.xml" ContentType="application/vnd.openxmlformats-officedocument.presentationml.slide+xml"/>
  <Override PartName="/ppt/slides/slide15.xml" ContentType="application/vnd.openxmlformats-officedocument.presentationml.slide+xml"/>
  <Override PartName="/ppt/slides/slide25.xml" ContentType="application/vnd.openxmlformats-officedocument.presentationml.slide+xml"/>
  <Override PartName="/ppt/slides/slide13.xml" ContentType="application/vnd.openxmlformats-officedocument.presentationml.slide+xml"/>
  <Override PartName="/ppt/slides/slide12.xml" ContentType="application/vnd.openxmlformats-officedocument.presentationml.slide+xml"/>
  <Override PartName="/ppt/slides/slide11.xml" ContentType="application/vnd.openxmlformats-officedocument.presentationml.slide+xml"/>
  <Override PartName="/ppt/slides/slide17.xml" ContentType="application/vnd.openxmlformats-officedocument.presentationml.slide+xml"/>
  <Override PartName="/ppt/slides/slide14.xml" ContentType="application/vnd.openxmlformats-officedocument.presentationml.slide+xml"/>
  <Override PartName="/ppt/slides/slide18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19.xml" ContentType="application/vnd.openxmlformats-officedocument.presentationml.slide+xml"/>
  <Override PartName="/ppt/slideMasters/slideMaster1.xml" ContentType="application/vnd.openxmlformats-officedocument.presentationml.slideMaster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5.xml" ContentType="application/vnd.openxmlformats-officedocument.presentationml.notesSlid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1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1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4"/>
  </p:notesMasterIdLst>
  <p:sldIdLst>
    <p:sldId id="256" r:id="rId2"/>
    <p:sldId id="296" r:id="rId3"/>
    <p:sldId id="297" r:id="rId4"/>
    <p:sldId id="301" r:id="rId5"/>
    <p:sldId id="300" r:id="rId6"/>
    <p:sldId id="299" r:id="rId7"/>
    <p:sldId id="298" r:id="rId8"/>
    <p:sldId id="271" r:id="rId9"/>
    <p:sldId id="272" r:id="rId10"/>
    <p:sldId id="273" r:id="rId11"/>
    <p:sldId id="317" r:id="rId12"/>
    <p:sldId id="318" r:id="rId13"/>
    <p:sldId id="276" r:id="rId14"/>
    <p:sldId id="307" r:id="rId15"/>
    <p:sldId id="306" r:id="rId16"/>
    <p:sldId id="305" r:id="rId17"/>
    <p:sldId id="304" r:id="rId18"/>
    <p:sldId id="303" r:id="rId19"/>
    <p:sldId id="302" r:id="rId20"/>
    <p:sldId id="283" r:id="rId21"/>
    <p:sldId id="316" r:id="rId22"/>
    <p:sldId id="315" r:id="rId23"/>
    <p:sldId id="314" r:id="rId24"/>
    <p:sldId id="313" r:id="rId25"/>
    <p:sldId id="288" r:id="rId26"/>
    <p:sldId id="289" r:id="rId27"/>
    <p:sldId id="310" r:id="rId28"/>
    <p:sldId id="312" r:id="rId29"/>
    <p:sldId id="308" r:id="rId30"/>
    <p:sldId id="311" r:id="rId31"/>
    <p:sldId id="294" r:id="rId32"/>
    <p:sldId id="295" r:id="rId3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69" d="100"/>
          <a:sy n="69" d="100"/>
        </p:scale>
        <p:origin x="1416" y="4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customXml" Target="../customXml/item1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40" Type="http://schemas.openxmlformats.org/officeDocument/2006/relationships/customXml" Target="../customXml/item2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F3891B-1A3F-4690-BB82-3DDF98BD6B3F}" type="datetimeFigureOut">
              <a:rPr lang="en-US" smtClean="0"/>
              <a:pPr/>
              <a:t>01-Mar-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818E9B-5676-4B4D-8297-7B0D1521DD3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48743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1019175" y="276225"/>
            <a:ext cx="8896350" cy="66722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BE8B79-D7A5-4CC0-8285-F3752592C691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311555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1019175" y="276225"/>
            <a:ext cx="8896350" cy="66722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BE8B79-D7A5-4CC0-8285-F3752592C691}" type="slidenum">
              <a:rPr lang="de-DE" smtClean="0"/>
              <a:pPr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31155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1019175" y="276225"/>
            <a:ext cx="8896350" cy="66722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BE8B79-D7A5-4CC0-8285-F3752592C691}" type="slidenum">
              <a:rPr lang="de-DE" smtClean="0"/>
              <a:pPr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31155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1019175" y="276225"/>
            <a:ext cx="8896350" cy="66722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BE8B79-D7A5-4CC0-8285-F3752592C691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31155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1019175" y="276225"/>
            <a:ext cx="8896350" cy="66722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BE8B79-D7A5-4CC0-8285-F3752592C691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31155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1019175" y="276225"/>
            <a:ext cx="8896350" cy="66722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BE8B79-D7A5-4CC0-8285-F3752592C691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31155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1019175" y="276225"/>
            <a:ext cx="8896350" cy="66722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BE8B79-D7A5-4CC0-8285-F3752592C691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48502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1019175" y="276225"/>
            <a:ext cx="8896350" cy="66722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BE8B79-D7A5-4CC0-8285-F3752592C691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95805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1019175" y="276225"/>
            <a:ext cx="8896350" cy="66722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BE8B79-D7A5-4CC0-8285-F3752592C691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31155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1019175" y="276225"/>
            <a:ext cx="8896350" cy="66722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BE8B79-D7A5-4CC0-8285-F3752592C691}" type="slidenum">
              <a:rPr lang="de-DE" smtClean="0"/>
              <a:pPr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31155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1019175" y="276225"/>
            <a:ext cx="8896350" cy="66722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BE8B79-D7A5-4CC0-8285-F3752592C691}" type="slidenum">
              <a:rPr lang="de-DE" smtClean="0"/>
              <a:pPr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31155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FEE1AE-501F-4210-BF1B-6C6B99E8DE23}" type="datetimeFigureOut">
              <a:rPr lang="en-GB" smtClean="0"/>
              <a:pPr/>
              <a:t>01/03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A8CFAD-2188-427F-BCBC-6F06B95B509A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Picture 2" descr="C:\Users\user\Desktop\rrrrrrrrrrrrrrrr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00315" y="-13692"/>
            <a:ext cx="9944315" cy="6871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user\Desktop\thefinallogo2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-243408"/>
            <a:ext cx="1835696" cy="12976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eu_flag_co_funded_pos_[rgb]_right.jpg"/>
          <p:cNvPicPr>
            <a:picLocks noGrp="1" noChangeAspect="1"/>
          </p:cNvPicPr>
          <p:nvPr isPhoto="1" userDrawn="1"/>
        </p:nvPicPr>
        <p:blipFill>
          <a:blip r:embed="rId4" cstate="print">
            <a:lum/>
          </a:blip>
          <a:stretch>
            <a:fillRect/>
          </a:stretch>
        </p:blipFill>
        <p:spPr>
          <a:xfrm>
            <a:off x="0" y="0"/>
            <a:ext cx="2934975" cy="8382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/>
        </p:nvSpPr>
        <p:spPr>
          <a:xfrm>
            <a:off x="1874611" y="6211669"/>
            <a:ext cx="5646161" cy="61555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800" dirty="0" smtClean="0"/>
              <a:t> </a:t>
            </a:r>
            <a:r>
              <a:rPr lang="en-US" sz="1600" b="0" dirty="0" smtClean="0"/>
              <a:t>Promoting youth employment in remote areas in Jordan -(Job Jo)</a:t>
            </a:r>
          </a:p>
          <a:p>
            <a:pPr algn="ctr"/>
            <a:r>
              <a:rPr lang="en-US" sz="1600" b="0" dirty="0" smtClean="0"/>
              <a:t> 598428-EPP-1-2018-1-JO-EPPKA2-CBHE-JP </a:t>
            </a:r>
            <a:endParaRPr lang="en-US" sz="1600" b="0" dirty="0"/>
          </a:p>
        </p:txBody>
      </p:sp>
    </p:spTree>
    <p:extLst>
      <p:ext uri="{BB962C8B-B14F-4D97-AF65-F5344CB8AC3E}">
        <p14:creationId xmlns:p14="http://schemas.microsoft.com/office/powerpoint/2010/main" val="4730307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FEE1AE-501F-4210-BF1B-6C6B99E8DE23}" type="datetimeFigureOut">
              <a:rPr lang="en-GB" smtClean="0"/>
              <a:pPr/>
              <a:t>01/03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A8CFAD-2188-427F-BCBC-6F06B95B509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73829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FEE1AE-501F-4210-BF1B-6C6B99E8DE23}" type="datetimeFigureOut">
              <a:rPr lang="en-GB" smtClean="0"/>
              <a:pPr/>
              <a:t>01/03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A8CFAD-2188-427F-BCBC-6F06B95B509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38785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FEE1AE-501F-4210-BF1B-6C6B99E8DE23}" type="datetimeFigureOut">
              <a:rPr lang="en-GB" smtClean="0"/>
              <a:pPr/>
              <a:t>01/03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A8CFAD-2188-427F-BCBC-6F06B95B509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57594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0454006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9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Presentation1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2063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FEE1AE-501F-4210-BF1B-6C6B99E8DE23}" type="datetimeFigureOut">
              <a:rPr lang="en-GB" smtClean="0"/>
              <a:pPr/>
              <a:t>01/03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A8CFAD-2188-427F-BCBC-6F06B95B509A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FEE1AE-501F-4210-BF1B-6C6B99E8DE23}" type="datetimeFigureOut">
              <a:rPr lang="en-GB" smtClean="0"/>
              <a:pPr/>
              <a:t>01/03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A8CFAD-2188-427F-BCBC-6F06B95B509A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Picture 2" descr="C:\Users\user\Desktop\888888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756576" cy="882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5" descr="C:\Users\user\Desktop\thefinallogo2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8344" y="44624"/>
            <a:ext cx="1475656" cy="1043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56801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FEE1AE-501F-4210-BF1B-6C6B99E8DE23}" type="datetimeFigureOut">
              <a:rPr lang="en-GB" smtClean="0"/>
              <a:pPr/>
              <a:t>01/03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A8CFAD-2188-427F-BCBC-6F06B95B509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59531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FEE1AE-501F-4210-BF1B-6C6B99E8DE23}" type="datetimeFigureOut">
              <a:rPr lang="en-GB" smtClean="0"/>
              <a:pPr/>
              <a:t>01/03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A8CFAD-2188-427F-BCBC-6F06B95B509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32982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FEE1AE-501F-4210-BF1B-6C6B99E8DE23}" type="datetimeFigureOut">
              <a:rPr lang="en-GB" smtClean="0"/>
              <a:pPr/>
              <a:t>01/03/2020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A8CFAD-2188-427F-BCBC-6F06B95B509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28225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FEE1AE-501F-4210-BF1B-6C6B99E8DE23}" type="datetimeFigureOut">
              <a:rPr lang="en-GB" smtClean="0"/>
              <a:pPr/>
              <a:t>01/03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A8CFAD-2188-427F-BCBC-6F06B95B509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00246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FEE1AE-501F-4210-BF1B-6C6B99E8DE23}" type="datetimeFigureOut">
              <a:rPr lang="en-GB" smtClean="0"/>
              <a:pPr/>
              <a:t>01/03/2020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A8CFAD-2188-427F-BCBC-6F06B95B509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72572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FEE1AE-501F-4210-BF1B-6C6B99E8DE23}" type="datetimeFigureOut">
              <a:rPr lang="en-GB" smtClean="0"/>
              <a:pPr/>
              <a:t>01/03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A8CFAD-2188-427F-BCBC-6F06B95B509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13459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FEE1AE-501F-4210-BF1B-6C6B99E8DE23}" type="datetimeFigureOut">
              <a:rPr lang="en-GB" smtClean="0"/>
              <a:pPr/>
              <a:t>01/03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A8CFAD-2188-427F-BCBC-6F06B95B509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8550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3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9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0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1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image" Target="../media/image11.jpeg"/><Relationship Id="rId7" Type="http://schemas.openxmlformats.org/officeDocument/2006/relationships/image" Target="../media/image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jpeg"/><Relationship Id="rId9" Type="http://schemas.openxmlformats.org/officeDocument/2006/relationships/image" Target="../media/image22.jpe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12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image" Target="../media/image11.jpeg"/><Relationship Id="rId7" Type="http://schemas.openxmlformats.org/officeDocument/2006/relationships/image" Target="../media/image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/>
        </p:nvSpPr>
        <p:spPr>
          <a:xfrm>
            <a:off x="5220072" y="4365104"/>
            <a:ext cx="4392488" cy="1295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GB" dirty="0" smtClean="0"/>
              <a:t>2</a:t>
            </a:r>
            <a:r>
              <a:rPr lang="en-GB" baseline="30000" dirty="0" smtClean="0"/>
              <a:t>nd</a:t>
            </a:r>
            <a:r>
              <a:rPr lang="en-GB" dirty="0" smtClean="0"/>
              <a:t> </a:t>
            </a:r>
            <a:r>
              <a:rPr lang="en-GB" dirty="0" err="1" smtClean="0"/>
              <a:t>Managment</a:t>
            </a:r>
            <a:r>
              <a:rPr lang="en-GB" dirty="0" smtClean="0"/>
              <a:t> Meeting at the </a:t>
            </a:r>
          </a:p>
          <a:p>
            <a:pPr algn="ctr">
              <a:lnSpc>
                <a:spcPct val="150000"/>
              </a:lnSpc>
            </a:pPr>
            <a:r>
              <a:rPr lang="en-GB" dirty="0" smtClean="0"/>
              <a:t>HTWK Leipzig</a:t>
            </a:r>
          </a:p>
          <a:p>
            <a:pPr algn="ctr">
              <a:lnSpc>
                <a:spcPct val="150000"/>
              </a:lnSpc>
            </a:pPr>
            <a:r>
              <a:rPr lang="en-GB" dirty="0" smtClean="0"/>
              <a:t>26.-27.08.2019</a:t>
            </a:r>
            <a:endParaRPr lang="en-GB" dirty="0"/>
          </a:p>
        </p:txBody>
      </p:sp>
      <p:sp>
        <p:nvSpPr>
          <p:cNvPr id="6" name="Rechteck 5"/>
          <p:cNvSpPr/>
          <p:nvPr/>
        </p:nvSpPr>
        <p:spPr>
          <a:xfrm>
            <a:off x="1463103" y="908720"/>
            <a:ext cx="1367682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0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t@E </a:t>
            </a:r>
            <a:endParaRPr lang="en-US" sz="3000" dirty="0" smtClean="0">
              <a:solidFill>
                <a:schemeClr val="tx2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-901056" y="1461590"/>
            <a:ext cx="6096000" cy="45653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</a:t>
            </a:r>
            <a:r>
              <a:rPr lang="en-US" dirty="0" smtClean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novative technologies and </a:t>
            </a: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</a:t>
            </a:r>
            <a:r>
              <a:rPr lang="en-US" dirty="0" smtClean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ucation</a:t>
            </a:r>
            <a:endParaRPr lang="de-DE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179512" y="4751428"/>
            <a:ext cx="400840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800" b="1" dirty="0" smtClean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le in the Project JOB JO</a:t>
            </a:r>
            <a:endParaRPr lang="de-DE" sz="2800" b="1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9" name="Picture 2" descr="E:\00_Trainings\9.8.2.7_Weitere Fotos zur Nutzung\eyeem-27469380-10937847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2034515"/>
            <a:ext cx="3749597" cy="2499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009426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2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9432" y="2667343"/>
            <a:ext cx="7565136" cy="3602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hteck 7"/>
          <p:cNvSpPr>
            <a:spLocks noChangeArrowheads="1"/>
          </p:cNvSpPr>
          <p:nvPr/>
        </p:nvSpPr>
        <p:spPr bwMode="auto">
          <a:xfrm>
            <a:off x="7453162" y="6374792"/>
            <a:ext cx="170912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4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4D4D4D"/>
                </a:solidFill>
                <a:latin typeface="Futura Book" panose="02000504030000020003" pitchFamily="2" charset="0"/>
              </a:defRPr>
            </a:lvl1pPr>
            <a:lvl2pPr marL="742950" indent="-285750">
              <a:spcAft>
                <a:spcPct val="30000"/>
              </a:spcAft>
              <a:buClr>
                <a:srgbClr val="CC0000"/>
              </a:buClr>
              <a:buSzPct val="50000"/>
              <a:buFont typeface="Wingdings" panose="05000000000000000000" pitchFamily="2" charset="2"/>
              <a:buChar char="¨"/>
              <a:defRPr>
                <a:solidFill>
                  <a:srgbClr val="4D4D4D"/>
                </a:solidFill>
                <a:latin typeface="Futura Book" panose="02000504030000020003" pitchFamily="2" charset="0"/>
              </a:defRPr>
            </a:lvl2pPr>
            <a:lvl3pPr marL="1143000" indent="-228600">
              <a:spcBef>
                <a:spcPct val="30000"/>
              </a:spcBef>
              <a:buClr>
                <a:srgbClr val="CC0000"/>
              </a:buClr>
              <a:buSzPct val="80000"/>
              <a:buChar char="o"/>
              <a:defRPr>
                <a:solidFill>
                  <a:srgbClr val="4D4D4D"/>
                </a:solidFill>
                <a:latin typeface="Futura Book" panose="02000504030000020003" pitchFamily="2" charset="0"/>
              </a:defRPr>
            </a:lvl3pPr>
            <a:lvl4pPr marL="1600200" indent="-228600">
              <a:spcBef>
                <a:spcPct val="30000"/>
              </a:spcBef>
              <a:buClr>
                <a:srgbClr val="CC0000"/>
              </a:buClr>
              <a:buFont typeface="Wingdings" panose="05000000000000000000" pitchFamily="2" charset="2"/>
              <a:buChar char="§"/>
              <a:defRPr>
                <a:solidFill>
                  <a:srgbClr val="4D4D4D"/>
                </a:solidFill>
                <a:latin typeface="Futura Book" panose="02000504030000020003" pitchFamily="2" charset="0"/>
              </a:defRPr>
            </a:lvl4pPr>
            <a:lvl5pPr marL="2057400" indent="-228600">
              <a:spcBef>
                <a:spcPct val="30000"/>
              </a:spcBef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</a:pPr>
            <a:r>
              <a:rPr lang="en-US" altLang="de-DE" sz="1000" dirty="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rPr>
              <a:t>Source: Keeley, L. et al. 2013.</a:t>
            </a:r>
            <a:endParaRPr lang="de-DE" altLang="de-DE" sz="1000" dirty="0">
              <a:solidFill>
                <a:schemeClr val="tx1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  <p:pic>
        <p:nvPicPr>
          <p:cNvPr id="7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777" y="4540130"/>
            <a:ext cx="1944687" cy="15113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3299" name="Picture 3" descr="C:\Users\hdagher\Desktop\Screen sh\2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9802" y="2060848"/>
            <a:ext cx="2689865" cy="1928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10 Types of Innovation</a:t>
            </a:r>
          </a:p>
        </p:txBody>
      </p:sp>
    </p:spTree>
    <p:extLst>
      <p:ext uri="{BB962C8B-B14F-4D97-AF65-F5344CB8AC3E}">
        <p14:creationId xmlns:p14="http://schemas.microsoft.com/office/powerpoint/2010/main" val="3671076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2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9432" y="2667343"/>
            <a:ext cx="7565136" cy="3602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hteck 7"/>
          <p:cNvSpPr>
            <a:spLocks noChangeArrowheads="1"/>
          </p:cNvSpPr>
          <p:nvPr/>
        </p:nvSpPr>
        <p:spPr bwMode="auto">
          <a:xfrm>
            <a:off x="7453162" y="6374792"/>
            <a:ext cx="170912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4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4D4D4D"/>
                </a:solidFill>
                <a:latin typeface="Futura Book" panose="02000504030000020003" pitchFamily="2" charset="0"/>
              </a:defRPr>
            </a:lvl1pPr>
            <a:lvl2pPr marL="742950" indent="-285750">
              <a:spcAft>
                <a:spcPct val="30000"/>
              </a:spcAft>
              <a:buClr>
                <a:srgbClr val="CC0000"/>
              </a:buClr>
              <a:buSzPct val="50000"/>
              <a:buFont typeface="Wingdings" panose="05000000000000000000" pitchFamily="2" charset="2"/>
              <a:buChar char="¨"/>
              <a:defRPr>
                <a:solidFill>
                  <a:srgbClr val="4D4D4D"/>
                </a:solidFill>
                <a:latin typeface="Futura Book" panose="02000504030000020003" pitchFamily="2" charset="0"/>
              </a:defRPr>
            </a:lvl2pPr>
            <a:lvl3pPr marL="1143000" indent="-228600">
              <a:spcBef>
                <a:spcPct val="30000"/>
              </a:spcBef>
              <a:buClr>
                <a:srgbClr val="CC0000"/>
              </a:buClr>
              <a:buSzPct val="80000"/>
              <a:buChar char="o"/>
              <a:defRPr>
                <a:solidFill>
                  <a:srgbClr val="4D4D4D"/>
                </a:solidFill>
                <a:latin typeface="Futura Book" panose="02000504030000020003" pitchFamily="2" charset="0"/>
              </a:defRPr>
            </a:lvl3pPr>
            <a:lvl4pPr marL="1600200" indent="-228600">
              <a:spcBef>
                <a:spcPct val="30000"/>
              </a:spcBef>
              <a:buClr>
                <a:srgbClr val="CC0000"/>
              </a:buClr>
              <a:buFont typeface="Wingdings" panose="05000000000000000000" pitchFamily="2" charset="2"/>
              <a:buChar char="§"/>
              <a:defRPr>
                <a:solidFill>
                  <a:srgbClr val="4D4D4D"/>
                </a:solidFill>
                <a:latin typeface="Futura Book" panose="02000504030000020003" pitchFamily="2" charset="0"/>
              </a:defRPr>
            </a:lvl4pPr>
            <a:lvl5pPr marL="2057400" indent="-228600">
              <a:spcBef>
                <a:spcPct val="30000"/>
              </a:spcBef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</a:pPr>
            <a:r>
              <a:rPr lang="en-US" altLang="de-DE" sz="1000" dirty="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rPr>
              <a:t>Source: Keeley, L. et al. 2013.</a:t>
            </a:r>
            <a:endParaRPr lang="de-DE" altLang="de-DE" sz="1000" dirty="0">
              <a:solidFill>
                <a:schemeClr val="tx1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  <p:pic>
        <p:nvPicPr>
          <p:cNvPr id="7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777" y="4540130"/>
            <a:ext cx="1944687" cy="15113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C:\Users\hdagher\Desktop\Screen sh\1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7320" y="2697629"/>
            <a:ext cx="2707626" cy="1955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10 Types of Innovation</a:t>
            </a:r>
          </a:p>
        </p:txBody>
      </p:sp>
    </p:spTree>
    <p:extLst>
      <p:ext uri="{BB962C8B-B14F-4D97-AF65-F5344CB8AC3E}">
        <p14:creationId xmlns:p14="http://schemas.microsoft.com/office/powerpoint/2010/main" val="233925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2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9432" y="2667343"/>
            <a:ext cx="7565136" cy="3602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hteck 7"/>
          <p:cNvSpPr>
            <a:spLocks noChangeArrowheads="1"/>
          </p:cNvSpPr>
          <p:nvPr/>
        </p:nvSpPr>
        <p:spPr bwMode="auto">
          <a:xfrm>
            <a:off x="7453162" y="6374792"/>
            <a:ext cx="170912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4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4D4D4D"/>
                </a:solidFill>
                <a:latin typeface="Futura Book" panose="02000504030000020003" pitchFamily="2" charset="0"/>
              </a:defRPr>
            </a:lvl1pPr>
            <a:lvl2pPr marL="742950" indent="-285750">
              <a:spcAft>
                <a:spcPct val="30000"/>
              </a:spcAft>
              <a:buClr>
                <a:srgbClr val="CC0000"/>
              </a:buClr>
              <a:buSzPct val="50000"/>
              <a:buFont typeface="Wingdings" panose="05000000000000000000" pitchFamily="2" charset="2"/>
              <a:buChar char="¨"/>
              <a:defRPr>
                <a:solidFill>
                  <a:srgbClr val="4D4D4D"/>
                </a:solidFill>
                <a:latin typeface="Futura Book" panose="02000504030000020003" pitchFamily="2" charset="0"/>
              </a:defRPr>
            </a:lvl2pPr>
            <a:lvl3pPr marL="1143000" indent="-228600">
              <a:spcBef>
                <a:spcPct val="30000"/>
              </a:spcBef>
              <a:buClr>
                <a:srgbClr val="CC0000"/>
              </a:buClr>
              <a:buSzPct val="80000"/>
              <a:buChar char="o"/>
              <a:defRPr>
                <a:solidFill>
                  <a:srgbClr val="4D4D4D"/>
                </a:solidFill>
                <a:latin typeface="Futura Book" panose="02000504030000020003" pitchFamily="2" charset="0"/>
              </a:defRPr>
            </a:lvl3pPr>
            <a:lvl4pPr marL="1600200" indent="-228600">
              <a:spcBef>
                <a:spcPct val="30000"/>
              </a:spcBef>
              <a:buClr>
                <a:srgbClr val="CC0000"/>
              </a:buClr>
              <a:buFont typeface="Wingdings" panose="05000000000000000000" pitchFamily="2" charset="2"/>
              <a:buChar char="§"/>
              <a:defRPr>
                <a:solidFill>
                  <a:srgbClr val="4D4D4D"/>
                </a:solidFill>
                <a:latin typeface="Futura Book" panose="02000504030000020003" pitchFamily="2" charset="0"/>
              </a:defRPr>
            </a:lvl4pPr>
            <a:lvl5pPr marL="2057400" indent="-228600">
              <a:spcBef>
                <a:spcPct val="30000"/>
              </a:spcBef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</a:pPr>
            <a:r>
              <a:rPr lang="en-US" altLang="de-DE" sz="1000" dirty="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rPr>
              <a:t>Source: Keeley, L. et al. 2013.</a:t>
            </a:r>
            <a:endParaRPr lang="de-DE" altLang="de-DE" sz="1000" dirty="0">
              <a:solidFill>
                <a:schemeClr val="tx1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  <p:pic>
        <p:nvPicPr>
          <p:cNvPr id="7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777" y="4540130"/>
            <a:ext cx="1944687" cy="15113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10 Types of Innovation</a:t>
            </a:r>
          </a:p>
        </p:txBody>
      </p:sp>
      <p:pic>
        <p:nvPicPr>
          <p:cNvPr id="10" name="Picture 2" descr="C:\Users\hdagher\Desktop\Screen sh\4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2068" y="4869160"/>
            <a:ext cx="2543988" cy="18505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864931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908"/>
          <p:cNvSpPr/>
          <p:nvPr/>
        </p:nvSpPr>
        <p:spPr>
          <a:xfrm>
            <a:off x="3740723" y="1211048"/>
            <a:ext cx="1540923" cy="52892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40" h="21600" extrusionOk="0">
                <a:moveTo>
                  <a:pt x="14841" y="21600"/>
                </a:moveTo>
                <a:lnTo>
                  <a:pt x="11023" y="21600"/>
                </a:lnTo>
                <a:lnTo>
                  <a:pt x="11023" y="21010"/>
                </a:lnTo>
                <a:lnTo>
                  <a:pt x="14841" y="21010"/>
                </a:lnTo>
                <a:cubicBezTo>
                  <a:pt x="17396" y="21010"/>
                  <a:pt x="19496" y="20418"/>
                  <a:pt x="19542" y="19689"/>
                </a:cubicBezTo>
                <a:cubicBezTo>
                  <a:pt x="19558" y="19327"/>
                  <a:pt x="19087" y="18980"/>
                  <a:pt x="18213" y="18721"/>
                </a:cubicBezTo>
                <a:cubicBezTo>
                  <a:pt x="17339" y="18461"/>
                  <a:pt x="16170" y="18320"/>
                  <a:pt x="14929" y="18320"/>
                </a:cubicBezTo>
                <a:lnTo>
                  <a:pt x="6746" y="18320"/>
                </a:lnTo>
                <a:cubicBezTo>
                  <a:pt x="3110" y="18320"/>
                  <a:pt x="104" y="17466"/>
                  <a:pt x="32" y="16417"/>
                </a:cubicBezTo>
                <a:cubicBezTo>
                  <a:pt x="1" y="15892"/>
                  <a:pt x="673" y="15401"/>
                  <a:pt x="1925" y="15026"/>
                </a:cubicBezTo>
                <a:cubicBezTo>
                  <a:pt x="3182" y="14656"/>
                  <a:pt x="4863" y="14450"/>
                  <a:pt x="6642" y="14450"/>
                </a:cubicBezTo>
                <a:lnTo>
                  <a:pt x="14825" y="14450"/>
                </a:lnTo>
                <a:cubicBezTo>
                  <a:pt x="17380" y="14450"/>
                  <a:pt x="19480" y="13858"/>
                  <a:pt x="19527" y="13128"/>
                </a:cubicBezTo>
                <a:cubicBezTo>
                  <a:pt x="19542" y="12765"/>
                  <a:pt x="19072" y="12420"/>
                  <a:pt x="18198" y="12160"/>
                </a:cubicBezTo>
                <a:cubicBezTo>
                  <a:pt x="17323" y="11900"/>
                  <a:pt x="16154" y="11758"/>
                  <a:pt x="14913" y="11758"/>
                </a:cubicBezTo>
                <a:lnTo>
                  <a:pt x="6730" y="11758"/>
                </a:lnTo>
                <a:cubicBezTo>
                  <a:pt x="3094" y="11758"/>
                  <a:pt x="89" y="10907"/>
                  <a:pt x="17" y="9858"/>
                </a:cubicBezTo>
                <a:cubicBezTo>
                  <a:pt x="-14" y="9334"/>
                  <a:pt x="658" y="8843"/>
                  <a:pt x="1915" y="8468"/>
                </a:cubicBezTo>
                <a:cubicBezTo>
                  <a:pt x="3167" y="8096"/>
                  <a:pt x="4848" y="7892"/>
                  <a:pt x="6627" y="7892"/>
                </a:cubicBezTo>
                <a:lnTo>
                  <a:pt x="14810" y="7892"/>
                </a:lnTo>
                <a:cubicBezTo>
                  <a:pt x="17365" y="7892"/>
                  <a:pt x="19470" y="7299"/>
                  <a:pt x="19511" y="6569"/>
                </a:cubicBezTo>
                <a:cubicBezTo>
                  <a:pt x="19527" y="6206"/>
                  <a:pt x="19061" y="5860"/>
                  <a:pt x="18182" y="5600"/>
                </a:cubicBezTo>
                <a:cubicBezTo>
                  <a:pt x="17308" y="5340"/>
                  <a:pt x="16139" y="5200"/>
                  <a:pt x="14898" y="5200"/>
                </a:cubicBezTo>
                <a:lnTo>
                  <a:pt x="6715" y="5200"/>
                </a:lnTo>
                <a:cubicBezTo>
                  <a:pt x="3079" y="5200"/>
                  <a:pt x="73" y="4347"/>
                  <a:pt x="1" y="3297"/>
                </a:cubicBezTo>
                <a:cubicBezTo>
                  <a:pt x="-30" y="2772"/>
                  <a:pt x="642" y="2282"/>
                  <a:pt x="1899" y="1906"/>
                </a:cubicBezTo>
                <a:cubicBezTo>
                  <a:pt x="3151" y="1536"/>
                  <a:pt x="4832" y="1330"/>
                  <a:pt x="6611" y="1330"/>
                </a:cubicBezTo>
                <a:lnTo>
                  <a:pt x="8980" y="1330"/>
                </a:lnTo>
                <a:cubicBezTo>
                  <a:pt x="9648" y="1330"/>
                  <a:pt x="10206" y="1168"/>
                  <a:pt x="10206" y="972"/>
                </a:cubicBezTo>
                <a:lnTo>
                  <a:pt x="10206" y="0"/>
                </a:lnTo>
                <a:lnTo>
                  <a:pt x="12260" y="0"/>
                </a:lnTo>
                <a:lnTo>
                  <a:pt x="12260" y="972"/>
                </a:lnTo>
                <a:cubicBezTo>
                  <a:pt x="12260" y="1493"/>
                  <a:pt x="10817" y="1920"/>
                  <a:pt x="9022" y="1920"/>
                </a:cubicBezTo>
                <a:lnTo>
                  <a:pt x="6658" y="1920"/>
                </a:lnTo>
                <a:cubicBezTo>
                  <a:pt x="5417" y="1920"/>
                  <a:pt x="4248" y="2065"/>
                  <a:pt x="3373" y="2320"/>
                </a:cubicBezTo>
                <a:cubicBezTo>
                  <a:pt x="2494" y="2580"/>
                  <a:pt x="2029" y="2922"/>
                  <a:pt x="2044" y="3289"/>
                </a:cubicBezTo>
                <a:cubicBezTo>
                  <a:pt x="2086" y="4018"/>
                  <a:pt x="4191" y="4612"/>
                  <a:pt x="6746" y="4612"/>
                </a:cubicBezTo>
                <a:lnTo>
                  <a:pt x="14929" y="4612"/>
                </a:lnTo>
                <a:cubicBezTo>
                  <a:pt x="16723" y="4612"/>
                  <a:pt x="18394" y="4816"/>
                  <a:pt x="19646" y="5188"/>
                </a:cubicBezTo>
                <a:cubicBezTo>
                  <a:pt x="20903" y="5558"/>
                  <a:pt x="21570" y="6052"/>
                  <a:pt x="21539" y="6578"/>
                </a:cubicBezTo>
                <a:cubicBezTo>
                  <a:pt x="21482" y="7627"/>
                  <a:pt x="18477" y="8480"/>
                  <a:pt x="14825" y="8480"/>
                </a:cubicBezTo>
                <a:lnTo>
                  <a:pt x="6642" y="8480"/>
                </a:lnTo>
                <a:cubicBezTo>
                  <a:pt x="5401" y="8480"/>
                  <a:pt x="4232" y="8625"/>
                  <a:pt x="3358" y="8880"/>
                </a:cubicBezTo>
                <a:cubicBezTo>
                  <a:pt x="2484" y="9142"/>
                  <a:pt x="2013" y="9482"/>
                  <a:pt x="2029" y="9849"/>
                </a:cubicBezTo>
                <a:cubicBezTo>
                  <a:pt x="2075" y="10579"/>
                  <a:pt x="4175" y="11172"/>
                  <a:pt x="6730" y="11172"/>
                </a:cubicBezTo>
                <a:lnTo>
                  <a:pt x="14913" y="11172"/>
                </a:lnTo>
                <a:cubicBezTo>
                  <a:pt x="16708" y="11172"/>
                  <a:pt x="18379" y="11376"/>
                  <a:pt x="19630" y="11746"/>
                </a:cubicBezTo>
                <a:cubicBezTo>
                  <a:pt x="20887" y="12118"/>
                  <a:pt x="21560" y="12612"/>
                  <a:pt x="21529" y="13137"/>
                </a:cubicBezTo>
                <a:cubicBezTo>
                  <a:pt x="21472" y="14186"/>
                  <a:pt x="18461" y="15040"/>
                  <a:pt x="14810" y="15040"/>
                </a:cubicBezTo>
                <a:lnTo>
                  <a:pt x="6627" y="15040"/>
                </a:lnTo>
                <a:cubicBezTo>
                  <a:pt x="5386" y="15040"/>
                  <a:pt x="4222" y="15185"/>
                  <a:pt x="3342" y="15440"/>
                </a:cubicBezTo>
                <a:cubicBezTo>
                  <a:pt x="2468" y="15700"/>
                  <a:pt x="2003" y="16042"/>
                  <a:pt x="2013" y="16408"/>
                </a:cubicBezTo>
                <a:cubicBezTo>
                  <a:pt x="2060" y="17138"/>
                  <a:pt x="4160" y="17730"/>
                  <a:pt x="6715" y="17730"/>
                </a:cubicBezTo>
                <a:lnTo>
                  <a:pt x="14898" y="17730"/>
                </a:lnTo>
                <a:cubicBezTo>
                  <a:pt x="16692" y="17730"/>
                  <a:pt x="18358" y="17936"/>
                  <a:pt x="19615" y="18306"/>
                </a:cubicBezTo>
                <a:cubicBezTo>
                  <a:pt x="20872" y="18678"/>
                  <a:pt x="21539" y="19172"/>
                  <a:pt x="21513" y="19697"/>
                </a:cubicBezTo>
                <a:cubicBezTo>
                  <a:pt x="21498" y="20746"/>
                  <a:pt x="18477" y="21600"/>
                  <a:pt x="14841" y="21600"/>
                </a:cubicBezTo>
              </a:path>
            </a:pathLst>
          </a:custGeom>
          <a:solidFill>
            <a:srgbClr val="DED9D7"/>
          </a:solidFill>
          <a:ln w="3175">
            <a:solidFill>
              <a:schemeClr val="bg1">
                <a:lumMod val="50000"/>
              </a:schemeClr>
            </a:solidFill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50" name="Shape 909"/>
          <p:cNvSpPr/>
          <p:nvPr/>
        </p:nvSpPr>
        <p:spPr>
          <a:xfrm>
            <a:off x="5292700" y="2690719"/>
            <a:ext cx="1162426" cy="21242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r"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800">
                <a:solidFill>
                  <a:srgbClr val="F67A83"/>
                </a:solidFill>
                <a:latin typeface="Roboto Black"/>
                <a:ea typeface="Roboto Black"/>
                <a:cs typeface="Roboto Black"/>
                <a:sym typeface="Roboto Black"/>
              </a:defRPr>
            </a:lvl1pPr>
          </a:lstStyle>
          <a:p>
            <a:r>
              <a:rPr lang="de-DE" b="1" dirty="0" smtClean="0"/>
              <a:t>Customer Demand Profile</a:t>
            </a:r>
            <a:endParaRPr lang="de-DE" b="1" dirty="0"/>
          </a:p>
          <a:p>
            <a:endParaRPr dirty="0"/>
          </a:p>
        </p:txBody>
      </p:sp>
      <p:sp>
        <p:nvSpPr>
          <p:cNvPr id="55" name="Shape 914"/>
          <p:cNvSpPr/>
          <p:nvPr/>
        </p:nvSpPr>
        <p:spPr>
          <a:xfrm>
            <a:off x="2614503" y="1812181"/>
            <a:ext cx="1359674" cy="78766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l"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800">
                <a:solidFill>
                  <a:srgbClr val="F8AD94"/>
                </a:solidFill>
                <a:latin typeface="Roboto Black"/>
                <a:ea typeface="Roboto Black"/>
                <a:cs typeface="Roboto Black"/>
                <a:sym typeface="Roboto Black"/>
              </a:defRPr>
            </a:lvl1pPr>
          </a:lstStyle>
          <a:p>
            <a:r>
              <a:rPr lang="de-DE" b="1" dirty="0" smtClean="0">
                <a:solidFill>
                  <a:schemeClr val="accent6">
                    <a:lumMod val="75000"/>
                  </a:schemeClr>
                </a:solidFill>
              </a:rPr>
              <a:t>Problem Analysis</a:t>
            </a:r>
            <a:endParaRPr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58" name="Shape 917"/>
          <p:cNvSpPr/>
          <p:nvPr/>
        </p:nvSpPr>
        <p:spPr>
          <a:xfrm>
            <a:off x="3697804" y="1888509"/>
            <a:ext cx="233587" cy="2344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504" h="20446" extrusionOk="0">
                <a:moveTo>
                  <a:pt x="17481" y="3027"/>
                </a:moveTo>
                <a:cubicBezTo>
                  <a:pt x="19590" y="5126"/>
                  <a:pt x="20595" y="8031"/>
                  <a:pt x="20498" y="10743"/>
                </a:cubicBezTo>
                <a:cubicBezTo>
                  <a:pt x="20433" y="13133"/>
                  <a:pt x="19395" y="15554"/>
                  <a:pt x="17481" y="17395"/>
                </a:cubicBezTo>
                <a:cubicBezTo>
                  <a:pt x="15568" y="19203"/>
                  <a:pt x="13265" y="20236"/>
                  <a:pt x="10800" y="20430"/>
                </a:cubicBezTo>
                <a:cubicBezTo>
                  <a:pt x="7979" y="20591"/>
                  <a:pt x="5125" y="19590"/>
                  <a:pt x="3017" y="17395"/>
                </a:cubicBezTo>
                <a:cubicBezTo>
                  <a:pt x="-1005" y="13391"/>
                  <a:pt x="-1005" y="7030"/>
                  <a:pt x="3017" y="3027"/>
                </a:cubicBezTo>
                <a:cubicBezTo>
                  <a:pt x="6973" y="-1009"/>
                  <a:pt x="13460" y="-1009"/>
                  <a:pt x="17481" y="3027"/>
                </a:cubicBezTo>
              </a:path>
            </a:pathLst>
          </a:custGeom>
          <a:solidFill>
            <a:schemeClr val="accent6">
              <a:lumMod val="75000"/>
            </a:schemeClr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59" name="Shape 918"/>
          <p:cNvSpPr/>
          <p:nvPr/>
        </p:nvSpPr>
        <p:spPr>
          <a:xfrm>
            <a:off x="5093912" y="2691664"/>
            <a:ext cx="233825" cy="23295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525" h="20448" extrusionOk="0">
                <a:moveTo>
                  <a:pt x="3052" y="17505"/>
                </a:moveTo>
                <a:cubicBezTo>
                  <a:pt x="943" y="15397"/>
                  <a:pt x="-62" y="12445"/>
                  <a:pt x="3" y="9721"/>
                </a:cubicBezTo>
                <a:cubicBezTo>
                  <a:pt x="100" y="7321"/>
                  <a:pt x="1138" y="4856"/>
                  <a:pt x="3052" y="3040"/>
                </a:cubicBezTo>
                <a:cubicBezTo>
                  <a:pt x="4997" y="1191"/>
                  <a:pt x="7235" y="186"/>
                  <a:pt x="9733" y="24"/>
                </a:cubicBezTo>
                <a:cubicBezTo>
                  <a:pt x="12554" y="-171"/>
                  <a:pt x="15408" y="834"/>
                  <a:pt x="17484" y="3040"/>
                </a:cubicBezTo>
                <a:cubicBezTo>
                  <a:pt x="21538" y="7061"/>
                  <a:pt x="21538" y="13451"/>
                  <a:pt x="17484" y="17505"/>
                </a:cubicBezTo>
                <a:cubicBezTo>
                  <a:pt x="13560" y="21429"/>
                  <a:pt x="7073" y="21429"/>
                  <a:pt x="3052" y="17505"/>
                </a:cubicBezTo>
              </a:path>
            </a:pathLst>
          </a:custGeom>
          <a:solidFill>
            <a:srgbClr val="F67A83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Roboto Regular"/>
                <a:ea typeface="Roboto Regular"/>
                <a:cs typeface="Roboto Regular"/>
                <a:sym typeface="Roboto Regular"/>
              </a:defRPr>
            </a:pPr>
            <a:endParaRPr/>
          </a:p>
        </p:txBody>
      </p:sp>
      <p:sp>
        <p:nvSpPr>
          <p:cNvPr id="60" name="Shape 919"/>
          <p:cNvSpPr/>
          <p:nvPr/>
        </p:nvSpPr>
        <p:spPr>
          <a:xfrm>
            <a:off x="5093913" y="4284265"/>
            <a:ext cx="1441964" cy="136376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r"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800">
                <a:solidFill>
                  <a:srgbClr val="D16E83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r>
              <a:rPr lang="de-DE" b="1" dirty="0">
                <a:solidFill>
                  <a:schemeClr val="accent3">
                    <a:lumMod val="50000"/>
                  </a:schemeClr>
                </a:solidFill>
              </a:rPr>
              <a:t>Business Model Development </a:t>
            </a:r>
          </a:p>
        </p:txBody>
      </p:sp>
      <p:sp>
        <p:nvSpPr>
          <p:cNvPr id="61" name="Shape 920"/>
          <p:cNvSpPr/>
          <p:nvPr/>
        </p:nvSpPr>
        <p:spPr>
          <a:xfrm>
            <a:off x="5093912" y="4304164"/>
            <a:ext cx="233825" cy="23295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525" h="20448" extrusionOk="0">
                <a:moveTo>
                  <a:pt x="3052" y="17505"/>
                </a:moveTo>
                <a:cubicBezTo>
                  <a:pt x="943" y="15397"/>
                  <a:pt x="-62" y="12478"/>
                  <a:pt x="3" y="9721"/>
                </a:cubicBezTo>
                <a:cubicBezTo>
                  <a:pt x="100" y="7353"/>
                  <a:pt x="1106" y="4856"/>
                  <a:pt x="3052" y="3040"/>
                </a:cubicBezTo>
                <a:cubicBezTo>
                  <a:pt x="4868" y="1224"/>
                  <a:pt x="7235" y="218"/>
                  <a:pt x="9733" y="24"/>
                </a:cubicBezTo>
                <a:cubicBezTo>
                  <a:pt x="12554" y="-171"/>
                  <a:pt x="15408" y="834"/>
                  <a:pt x="17484" y="3040"/>
                </a:cubicBezTo>
                <a:cubicBezTo>
                  <a:pt x="21538" y="7061"/>
                  <a:pt x="21538" y="13483"/>
                  <a:pt x="17484" y="17505"/>
                </a:cubicBezTo>
                <a:cubicBezTo>
                  <a:pt x="13560" y="21429"/>
                  <a:pt x="7073" y="21429"/>
                  <a:pt x="3052" y="17505"/>
                </a:cubicBezTo>
              </a:path>
            </a:pathLst>
          </a:custGeom>
          <a:solidFill>
            <a:schemeClr val="accent3">
              <a:lumMod val="50000"/>
            </a:schemeClr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Roboto Regular"/>
                <a:ea typeface="Roboto Regular"/>
                <a:cs typeface="Roboto Regular"/>
                <a:sym typeface="Roboto Regular"/>
              </a:defRPr>
            </a:pPr>
            <a:endParaRPr/>
          </a:p>
        </p:txBody>
      </p:sp>
      <p:sp>
        <p:nvSpPr>
          <p:cNvPr id="63" name="Shape 922"/>
          <p:cNvSpPr/>
          <p:nvPr/>
        </p:nvSpPr>
        <p:spPr>
          <a:xfrm>
            <a:off x="2426311" y="3508578"/>
            <a:ext cx="1388286" cy="21242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l"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800">
                <a:solidFill>
                  <a:srgbClr val="D16E83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r>
              <a:rPr lang="de-DE" b="1" dirty="0" smtClean="0"/>
              <a:t>Value Proposition </a:t>
            </a:r>
            <a:endParaRPr lang="de-DE" b="1" dirty="0"/>
          </a:p>
          <a:p>
            <a:r>
              <a:rPr lang="de-DE" dirty="0" smtClean="0"/>
              <a:t> </a:t>
            </a:r>
            <a:endParaRPr dirty="0"/>
          </a:p>
        </p:txBody>
      </p:sp>
      <p:sp>
        <p:nvSpPr>
          <p:cNvPr id="65" name="Shape 924"/>
          <p:cNvSpPr/>
          <p:nvPr/>
        </p:nvSpPr>
        <p:spPr>
          <a:xfrm>
            <a:off x="3709976" y="5132478"/>
            <a:ext cx="233825" cy="23295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525" h="20448" extrusionOk="0">
                <a:moveTo>
                  <a:pt x="3052" y="17505"/>
                </a:moveTo>
                <a:cubicBezTo>
                  <a:pt x="943" y="15397"/>
                  <a:pt x="-62" y="12478"/>
                  <a:pt x="3" y="9721"/>
                </a:cubicBezTo>
                <a:cubicBezTo>
                  <a:pt x="100" y="7321"/>
                  <a:pt x="1106" y="4856"/>
                  <a:pt x="3052" y="3040"/>
                </a:cubicBezTo>
                <a:cubicBezTo>
                  <a:pt x="4868" y="1191"/>
                  <a:pt x="7235" y="186"/>
                  <a:pt x="9733" y="24"/>
                </a:cubicBezTo>
                <a:cubicBezTo>
                  <a:pt x="12554" y="-171"/>
                  <a:pt x="15408" y="834"/>
                  <a:pt x="17484" y="3040"/>
                </a:cubicBezTo>
                <a:cubicBezTo>
                  <a:pt x="21538" y="7061"/>
                  <a:pt x="21538" y="13483"/>
                  <a:pt x="17484" y="17505"/>
                </a:cubicBezTo>
                <a:cubicBezTo>
                  <a:pt x="13560" y="21429"/>
                  <a:pt x="7073" y="21429"/>
                  <a:pt x="3052" y="17505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Roboto Regular"/>
                <a:ea typeface="Roboto Regular"/>
                <a:cs typeface="Roboto Regular"/>
                <a:sym typeface="Roboto Regular"/>
              </a:defRPr>
            </a:pPr>
            <a:endParaRPr/>
          </a:p>
        </p:txBody>
      </p:sp>
      <p:sp>
        <p:nvSpPr>
          <p:cNvPr id="66" name="Shape 925"/>
          <p:cNvSpPr/>
          <p:nvPr/>
        </p:nvSpPr>
        <p:spPr>
          <a:xfrm>
            <a:off x="3697804" y="3497653"/>
            <a:ext cx="233587" cy="2342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504" h="20429" extrusionOk="0">
                <a:moveTo>
                  <a:pt x="17481" y="3003"/>
                </a:moveTo>
                <a:cubicBezTo>
                  <a:pt x="19590" y="5101"/>
                  <a:pt x="20595" y="8039"/>
                  <a:pt x="20498" y="10751"/>
                </a:cubicBezTo>
                <a:cubicBezTo>
                  <a:pt x="20433" y="13141"/>
                  <a:pt x="19395" y="15595"/>
                  <a:pt x="17481" y="17403"/>
                </a:cubicBezTo>
                <a:cubicBezTo>
                  <a:pt x="15665" y="19243"/>
                  <a:pt x="13265" y="20244"/>
                  <a:pt x="10800" y="20405"/>
                </a:cubicBezTo>
                <a:cubicBezTo>
                  <a:pt x="7979" y="20599"/>
                  <a:pt x="5125" y="19598"/>
                  <a:pt x="3017" y="17403"/>
                </a:cubicBezTo>
                <a:cubicBezTo>
                  <a:pt x="-1005" y="13399"/>
                  <a:pt x="-1005" y="7038"/>
                  <a:pt x="3017" y="3003"/>
                </a:cubicBezTo>
                <a:cubicBezTo>
                  <a:pt x="6973" y="-1001"/>
                  <a:pt x="13460" y="-1001"/>
                  <a:pt x="17481" y="3003"/>
                </a:cubicBezTo>
              </a:path>
            </a:pathLst>
          </a:custGeom>
          <a:solidFill>
            <a:srgbClr val="D16E83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68" name="Shape 927"/>
          <p:cNvSpPr/>
          <p:nvPr/>
        </p:nvSpPr>
        <p:spPr>
          <a:xfrm>
            <a:off x="4409363" y="1052736"/>
            <a:ext cx="278718" cy="28034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800"/>
                  <a:pt x="21171" y="14457"/>
                  <a:pt x="20170" y="16200"/>
                </a:cubicBezTo>
                <a:cubicBezTo>
                  <a:pt x="19168" y="17914"/>
                  <a:pt x="17938" y="19171"/>
                  <a:pt x="16193" y="20171"/>
                </a:cubicBezTo>
                <a:cubicBezTo>
                  <a:pt x="14476" y="21143"/>
                  <a:pt x="12788" y="21600"/>
                  <a:pt x="10814" y="21600"/>
                </a:cubicBezTo>
                <a:cubicBezTo>
                  <a:pt x="8812" y="21600"/>
                  <a:pt x="7124" y="21143"/>
                  <a:pt x="5407" y="20171"/>
                </a:cubicBezTo>
                <a:cubicBezTo>
                  <a:pt x="3691" y="19171"/>
                  <a:pt x="2460" y="17914"/>
                  <a:pt x="1459" y="16200"/>
                </a:cubicBezTo>
                <a:cubicBezTo>
                  <a:pt x="458" y="14457"/>
                  <a:pt x="0" y="12771"/>
                  <a:pt x="0" y="10800"/>
                </a:cubicBezTo>
                <a:cubicBezTo>
                  <a:pt x="0" y="8800"/>
                  <a:pt x="458" y="7114"/>
                  <a:pt x="1459" y="5400"/>
                </a:cubicBezTo>
                <a:cubicBezTo>
                  <a:pt x="2460" y="3686"/>
                  <a:pt x="3691" y="2429"/>
                  <a:pt x="5407" y="1457"/>
                </a:cubicBezTo>
                <a:cubicBezTo>
                  <a:pt x="7124" y="457"/>
                  <a:pt x="8840" y="0"/>
                  <a:pt x="10814" y="0"/>
                </a:cubicBezTo>
                <a:cubicBezTo>
                  <a:pt x="12788" y="0"/>
                  <a:pt x="14476" y="457"/>
                  <a:pt x="16193" y="1457"/>
                </a:cubicBezTo>
                <a:cubicBezTo>
                  <a:pt x="17938" y="2429"/>
                  <a:pt x="19168" y="3686"/>
                  <a:pt x="20170" y="5400"/>
                </a:cubicBezTo>
                <a:cubicBezTo>
                  <a:pt x="21171" y="7114"/>
                  <a:pt x="21600" y="8829"/>
                  <a:pt x="21600" y="10800"/>
                </a:cubicBezTo>
              </a:path>
            </a:pathLst>
          </a:custGeom>
          <a:solidFill>
            <a:srgbClr val="7C6535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3" name="Shape 932"/>
          <p:cNvSpPr/>
          <p:nvPr/>
        </p:nvSpPr>
        <p:spPr>
          <a:xfrm>
            <a:off x="1266215" y="2222940"/>
            <a:ext cx="72187" cy="763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338" h="21600" extrusionOk="0">
                <a:moveTo>
                  <a:pt x="18530" y="2097"/>
                </a:moveTo>
                <a:cubicBezTo>
                  <a:pt x="16337" y="629"/>
                  <a:pt x="13596" y="0"/>
                  <a:pt x="10526" y="0"/>
                </a:cubicBezTo>
                <a:cubicBezTo>
                  <a:pt x="8004" y="0"/>
                  <a:pt x="5811" y="629"/>
                  <a:pt x="4276" y="1468"/>
                </a:cubicBezTo>
                <a:cubicBezTo>
                  <a:pt x="1864" y="3041"/>
                  <a:pt x="548" y="5348"/>
                  <a:pt x="0" y="8913"/>
                </a:cubicBezTo>
                <a:cubicBezTo>
                  <a:pt x="0" y="9227"/>
                  <a:pt x="0" y="9751"/>
                  <a:pt x="0" y="9751"/>
                </a:cubicBezTo>
                <a:cubicBezTo>
                  <a:pt x="219" y="11324"/>
                  <a:pt x="1535" y="12478"/>
                  <a:pt x="3070" y="12478"/>
                </a:cubicBezTo>
                <a:cubicBezTo>
                  <a:pt x="4605" y="12478"/>
                  <a:pt x="5811" y="11324"/>
                  <a:pt x="6140" y="9751"/>
                </a:cubicBezTo>
                <a:lnTo>
                  <a:pt x="6140" y="9542"/>
                </a:lnTo>
                <a:cubicBezTo>
                  <a:pt x="6140" y="8598"/>
                  <a:pt x="6469" y="7445"/>
                  <a:pt x="7127" y="6501"/>
                </a:cubicBezTo>
                <a:cubicBezTo>
                  <a:pt x="7675" y="5348"/>
                  <a:pt x="8881" y="5033"/>
                  <a:pt x="10526" y="5033"/>
                </a:cubicBezTo>
                <a:cubicBezTo>
                  <a:pt x="12061" y="5033"/>
                  <a:pt x="13267" y="5348"/>
                  <a:pt x="13925" y="6291"/>
                </a:cubicBezTo>
                <a:cubicBezTo>
                  <a:pt x="14473" y="7130"/>
                  <a:pt x="14802" y="8074"/>
                  <a:pt x="14802" y="9227"/>
                </a:cubicBezTo>
                <a:cubicBezTo>
                  <a:pt x="14802" y="10066"/>
                  <a:pt x="14473" y="11010"/>
                  <a:pt x="13925" y="11534"/>
                </a:cubicBezTo>
                <a:cubicBezTo>
                  <a:pt x="13596" y="11849"/>
                  <a:pt x="13267" y="12478"/>
                  <a:pt x="12609" y="12792"/>
                </a:cubicBezTo>
                <a:lnTo>
                  <a:pt x="11074" y="13946"/>
                </a:lnTo>
                <a:cubicBezTo>
                  <a:pt x="9539" y="15099"/>
                  <a:pt x="8662" y="15938"/>
                  <a:pt x="8333" y="16882"/>
                </a:cubicBezTo>
                <a:cubicBezTo>
                  <a:pt x="8004" y="17720"/>
                  <a:pt x="7675" y="19293"/>
                  <a:pt x="7675" y="21600"/>
                </a:cubicBezTo>
                <a:lnTo>
                  <a:pt x="13596" y="21600"/>
                </a:lnTo>
                <a:cubicBezTo>
                  <a:pt x="13596" y="20447"/>
                  <a:pt x="13596" y="19817"/>
                  <a:pt x="13925" y="19293"/>
                </a:cubicBezTo>
                <a:cubicBezTo>
                  <a:pt x="14144" y="18350"/>
                  <a:pt x="14802" y="17825"/>
                  <a:pt x="15460" y="17196"/>
                </a:cubicBezTo>
                <a:lnTo>
                  <a:pt x="16995" y="16043"/>
                </a:lnTo>
                <a:cubicBezTo>
                  <a:pt x="18530" y="14784"/>
                  <a:pt x="19407" y="13946"/>
                  <a:pt x="20065" y="13107"/>
                </a:cubicBezTo>
                <a:cubicBezTo>
                  <a:pt x="21052" y="11849"/>
                  <a:pt x="21271" y="10381"/>
                  <a:pt x="21271" y="8598"/>
                </a:cubicBezTo>
                <a:cubicBezTo>
                  <a:pt x="21600" y="5662"/>
                  <a:pt x="20723" y="3565"/>
                  <a:pt x="18530" y="2097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4" name="Shape 933"/>
          <p:cNvSpPr/>
          <p:nvPr/>
        </p:nvSpPr>
        <p:spPr>
          <a:xfrm>
            <a:off x="1290695" y="2307810"/>
            <a:ext cx="27371" cy="273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948"/>
                </a:moveTo>
                <a:cubicBezTo>
                  <a:pt x="21600" y="13019"/>
                  <a:pt x="21008" y="14499"/>
                  <a:pt x="20121" y="16274"/>
                </a:cubicBezTo>
                <a:cubicBezTo>
                  <a:pt x="19233" y="18049"/>
                  <a:pt x="17753" y="19233"/>
                  <a:pt x="16274" y="20416"/>
                </a:cubicBezTo>
                <a:cubicBezTo>
                  <a:pt x="14499" y="21304"/>
                  <a:pt x="12723" y="21600"/>
                  <a:pt x="10652" y="21600"/>
                </a:cubicBezTo>
                <a:cubicBezTo>
                  <a:pt x="8581" y="21600"/>
                  <a:pt x="7101" y="21304"/>
                  <a:pt x="5326" y="20416"/>
                </a:cubicBezTo>
                <a:cubicBezTo>
                  <a:pt x="3551" y="19233"/>
                  <a:pt x="2071" y="18049"/>
                  <a:pt x="1184" y="16274"/>
                </a:cubicBezTo>
                <a:cubicBezTo>
                  <a:pt x="0" y="14499"/>
                  <a:pt x="0" y="13019"/>
                  <a:pt x="0" y="10948"/>
                </a:cubicBezTo>
                <a:cubicBezTo>
                  <a:pt x="0" y="8877"/>
                  <a:pt x="0" y="6805"/>
                  <a:pt x="1184" y="5326"/>
                </a:cubicBezTo>
                <a:cubicBezTo>
                  <a:pt x="2071" y="3551"/>
                  <a:pt x="3551" y="2367"/>
                  <a:pt x="5326" y="1479"/>
                </a:cubicBezTo>
                <a:cubicBezTo>
                  <a:pt x="7101" y="592"/>
                  <a:pt x="8581" y="0"/>
                  <a:pt x="10652" y="0"/>
                </a:cubicBezTo>
                <a:cubicBezTo>
                  <a:pt x="12723" y="0"/>
                  <a:pt x="14499" y="592"/>
                  <a:pt x="16274" y="1479"/>
                </a:cubicBezTo>
                <a:cubicBezTo>
                  <a:pt x="17753" y="2367"/>
                  <a:pt x="19233" y="3551"/>
                  <a:pt x="20121" y="5326"/>
                </a:cubicBezTo>
                <a:cubicBezTo>
                  <a:pt x="21008" y="6805"/>
                  <a:pt x="21600" y="8877"/>
                  <a:pt x="21600" y="10948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pic>
        <p:nvPicPr>
          <p:cNvPr id="185347" name="Picture 3" descr="C:\Users\hdagher\Desktop\Screen sh\6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6046" y="2071856"/>
            <a:ext cx="2064280" cy="1494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6371" name="Picture 3" descr="C:\Users\hdagher\Desktop\Screen sh\11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440" y="3209203"/>
            <a:ext cx="1902873" cy="1388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6" descr="C:\Users\hdagher\Desktop\Screen sh\9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974"/>
          <a:stretch/>
        </p:blipFill>
        <p:spPr bwMode="auto">
          <a:xfrm>
            <a:off x="7618187" y="3831885"/>
            <a:ext cx="1032139" cy="723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" descr="C:\Users\hdagher\Desktop\Screen sh\10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5995" y="4390477"/>
            <a:ext cx="1173402" cy="711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Shape 923"/>
          <p:cNvSpPr/>
          <p:nvPr/>
        </p:nvSpPr>
        <p:spPr>
          <a:xfrm>
            <a:off x="2309314" y="5142742"/>
            <a:ext cx="1435294" cy="22268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l"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800">
                <a:solidFill>
                  <a:srgbClr val="F8AD94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r>
              <a:rPr lang="de-DE" b="1" dirty="0">
                <a:solidFill>
                  <a:schemeClr val="accent2"/>
                </a:solidFill>
              </a:rPr>
              <a:t>Business </a:t>
            </a:r>
            <a:r>
              <a:rPr lang="de-DE" b="1" dirty="0" smtClean="0">
                <a:solidFill>
                  <a:schemeClr val="accent2"/>
                </a:solidFill>
              </a:rPr>
              <a:t>Plan Development </a:t>
            </a:r>
            <a:endParaRPr lang="de-DE" b="1" dirty="0">
              <a:solidFill>
                <a:schemeClr val="accent2"/>
              </a:solidFill>
            </a:endParaRPr>
          </a:p>
          <a:p>
            <a:endParaRPr lang="de-DE" b="1" dirty="0"/>
          </a:p>
        </p:txBody>
      </p:sp>
      <p:pic>
        <p:nvPicPr>
          <p:cNvPr id="24" name="Picture 5" descr="C:\Users\hdagher\Desktop\Screen sh\8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3062" y="1412776"/>
            <a:ext cx="1048309" cy="732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Grafik 2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220" y="2063720"/>
            <a:ext cx="1156321" cy="813785"/>
          </a:xfrm>
          <a:prstGeom prst="rect">
            <a:avLst/>
          </a:prstGeom>
        </p:spPr>
      </p:pic>
      <p:pic>
        <p:nvPicPr>
          <p:cNvPr id="28" name="Grafik 2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440" y="5118378"/>
            <a:ext cx="1902873" cy="1363650"/>
          </a:xfrm>
          <a:prstGeom prst="rect">
            <a:avLst/>
          </a:prstGeom>
        </p:spPr>
      </p:pic>
      <p:sp>
        <p:nvSpPr>
          <p:cNvPr id="31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Content of the entrepreneurship training </a:t>
            </a:r>
          </a:p>
        </p:txBody>
      </p:sp>
      <p:sp>
        <p:nvSpPr>
          <p:cNvPr id="30" name="Shape 928"/>
          <p:cNvSpPr/>
          <p:nvPr/>
        </p:nvSpPr>
        <p:spPr>
          <a:xfrm>
            <a:off x="4037248" y="6350485"/>
            <a:ext cx="499049" cy="49904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629" y="21600"/>
                </a:moveTo>
                <a:lnTo>
                  <a:pt x="0" y="21600"/>
                </a:lnTo>
                <a:cubicBezTo>
                  <a:pt x="0" y="9671"/>
                  <a:pt x="9671" y="0"/>
                  <a:pt x="21600" y="0"/>
                </a:cubicBezTo>
                <a:lnTo>
                  <a:pt x="21600" y="6645"/>
                </a:lnTo>
                <a:cubicBezTo>
                  <a:pt x="13370" y="6693"/>
                  <a:pt x="6629" y="13386"/>
                  <a:pt x="6629" y="21600"/>
                </a:cubicBezTo>
              </a:path>
            </a:pathLst>
          </a:custGeom>
          <a:solidFill>
            <a:srgbClr val="DED9D7"/>
          </a:solidFill>
          <a:ln w="3175">
            <a:solidFill>
              <a:schemeClr val="bg1">
                <a:lumMod val="50000"/>
              </a:schemeClr>
            </a:solidFill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22452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Business Plan Development </a:t>
            </a:r>
          </a:p>
        </p:txBody>
      </p:sp>
      <p:sp>
        <p:nvSpPr>
          <p:cNvPr id="284" name="Shape 1369"/>
          <p:cNvSpPr/>
          <p:nvPr/>
        </p:nvSpPr>
        <p:spPr>
          <a:xfrm flipH="1">
            <a:off x="5041681" y="2129272"/>
            <a:ext cx="684360" cy="681478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85" name="Shape 1370"/>
          <p:cNvSpPr/>
          <p:nvPr/>
        </p:nvSpPr>
        <p:spPr>
          <a:xfrm>
            <a:off x="5690023" y="2094694"/>
            <a:ext cx="70269" cy="702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750"/>
                </a:moveTo>
                <a:cubicBezTo>
                  <a:pt x="21600" y="12759"/>
                  <a:pt x="21196" y="14467"/>
                  <a:pt x="20187" y="16175"/>
                </a:cubicBezTo>
                <a:cubicBezTo>
                  <a:pt x="19178" y="17883"/>
                  <a:pt x="18067" y="19088"/>
                  <a:pt x="16250" y="20093"/>
                </a:cubicBezTo>
                <a:cubicBezTo>
                  <a:pt x="14535" y="21098"/>
                  <a:pt x="12819" y="21600"/>
                  <a:pt x="10800" y="21600"/>
                </a:cubicBezTo>
                <a:cubicBezTo>
                  <a:pt x="8781" y="21600"/>
                  <a:pt x="7065" y="21098"/>
                  <a:pt x="5350" y="20093"/>
                </a:cubicBezTo>
                <a:cubicBezTo>
                  <a:pt x="3634" y="19088"/>
                  <a:pt x="2422" y="17883"/>
                  <a:pt x="1413" y="16175"/>
                </a:cubicBezTo>
                <a:cubicBezTo>
                  <a:pt x="404" y="14467"/>
                  <a:pt x="0" y="12659"/>
                  <a:pt x="0" y="10750"/>
                </a:cubicBezTo>
                <a:cubicBezTo>
                  <a:pt x="0" y="8740"/>
                  <a:pt x="404" y="7133"/>
                  <a:pt x="1413" y="5425"/>
                </a:cubicBezTo>
                <a:cubicBezTo>
                  <a:pt x="2422" y="3717"/>
                  <a:pt x="3634" y="2311"/>
                  <a:pt x="5350" y="1407"/>
                </a:cubicBezTo>
                <a:cubicBezTo>
                  <a:pt x="7065" y="402"/>
                  <a:pt x="8781" y="0"/>
                  <a:pt x="10800" y="0"/>
                </a:cubicBezTo>
                <a:cubicBezTo>
                  <a:pt x="12819" y="0"/>
                  <a:pt x="14535" y="402"/>
                  <a:pt x="16250" y="1407"/>
                </a:cubicBezTo>
                <a:cubicBezTo>
                  <a:pt x="18067" y="2311"/>
                  <a:pt x="19178" y="3717"/>
                  <a:pt x="20187" y="5425"/>
                </a:cubicBezTo>
                <a:cubicBezTo>
                  <a:pt x="21196" y="7133"/>
                  <a:pt x="21600" y="8841"/>
                  <a:pt x="21600" y="10750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04" name="Shape 1396"/>
          <p:cNvSpPr/>
          <p:nvPr/>
        </p:nvSpPr>
        <p:spPr>
          <a:xfrm>
            <a:off x="3557703" y="2191225"/>
            <a:ext cx="2106060" cy="21060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2"/>
                </a:moveTo>
                <a:cubicBezTo>
                  <a:pt x="21600" y="12786"/>
                  <a:pt x="21148" y="14482"/>
                  <a:pt x="20152" y="16201"/>
                </a:cubicBezTo>
                <a:cubicBezTo>
                  <a:pt x="19157" y="17923"/>
                  <a:pt x="17920" y="19160"/>
                  <a:pt x="16197" y="20152"/>
                </a:cubicBezTo>
                <a:cubicBezTo>
                  <a:pt x="14478" y="21148"/>
                  <a:pt x="12786" y="21600"/>
                  <a:pt x="10802" y="21600"/>
                </a:cubicBezTo>
                <a:cubicBezTo>
                  <a:pt x="8814" y="21600"/>
                  <a:pt x="7118" y="21148"/>
                  <a:pt x="5399" y="20152"/>
                </a:cubicBezTo>
                <a:cubicBezTo>
                  <a:pt x="3677" y="19160"/>
                  <a:pt x="2440" y="17923"/>
                  <a:pt x="1448" y="16201"/>
                </a:cubicBezTo>
                <a:cubicBezTo>
                  <a:pt x="452" y="14482"/>
                  <a:pt x="0" y="12786"/>
                  <a:pt x="0" y="10802"/>
                </a:cubicBezTo>
                <a:cubicBezTo>
                  <a:pt x="0" y="8814"/>
                  <a:pt x="452" y="7125"/>
                  <a:pt x="1448" y="5403"/>
                </a:cubicBezTo>
                <a:cubicBezTo>
                  <a:pt x="2440" y="3680"/>
                  <a:pt x="3677" y="2440"/>
                  <a:pt x="5399" y="1448"/>
                </a:cubicBezTo>
                <a:cubicBezTo>
                  <a:pt x="7118" y="452"/>
                  <a:pt x="8814" y="0"/>
                  <a:pt x="10802" y="0"/>
                </a:cubicBezTo>
                <a:cubicBezTo>
                  <a:pt x="12786" y="0"/>
                  <a:pt x="14478" y="452"/>
                  <a:pt x="16197" y="1448"/>
                </a:cubicBezTo>
                <a:cubicBezTo>
                  <a:pt x="17920" y="2440"/>
                  <a:pt x="19157" y="3680"/>
                  <a:pt x="20152" y="5403"/>
                </a:cubicBezTo>
                <a:cubicBezTo>
                  <a:pt x="21148" y="7125"/>
                  <a:pt x="21600" y="8814"/>
                  <a:pt x="21600" y="10802"/>
                </a:cubicBezTo>
              </a:path>
            </a:pathLst>
          </a:custGeom>
          <a:solidFill>
            <a:schemeClr val="tx2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pSp>
        <p:nvGrpSpPr>
          <p:cNvPr id="305" name="Group 1484"/>
          <p:cNvGrpSpPr/>
          <p:nvPr/>
        </p:nvGrpSpPr>
        <p:grpSpPr>
          <a:xfrm>
            <a:off x="3832889" y="2668116"/>
            <a:ext cx="1569599" cy="1196741"/>
            <a:chOff x="0" y="0"/>
            <a:chExt cx="2232318" cy="1702030"/>
          </a:xfrm>
        </p:grpSpPr>
        <p:sp>
          <p:nvSpPr>
            <p:cNvPr id="306" name="Shape 1397"/>
            <p:cNvSpPr/>
            <p:nvPr/>
          </p:nvSpPr>
          <p:spPr>
            <a:xfrm>
              <a:off x="1096685" y="1529186"/>
              <a:ext cx="299890" cy="1728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63" h="19639" extrusionOk="0">
                  <a:moveTo>
                    <a:pt x="2906" y="16748"/>
                  </a:moveTo>
                  <a:cubicBezTo>
                    <a:pt x="-969" y="12892"/>
                    <a:pt x="-969" y="6608"/>
                    <a:pt x="2906" y="2911"/>
                  </a:cubicBezTo>
                  <a:cubicBezTo>
                    <a:pt x="6689" y="-997"/>
                    <a:pt x="12912" y="-944"/>
                    <a:pt x="16756" y="2911"/>
                  </a:cubicBezTo>
                  <a:cubicBezTo>
                    <a:pt x="20631" y="6819"/>
                    <a:pt x="20631" y="12892"/>
                    <a:pt x="16756" y="16748"/>
                  </a:cubicBezTo>
                  <a:cubicBezTo>
                    <a:pt x="13004" y="20603"/>
                    <a:pt x="6780" y="20603"/>
                    <a:pt x="2906" y="16748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7" name="Shape 1398"/>
            <p:cNvSpPr/>
            <p:nvPr/>
          </p:nvSpPr>
          <p:spPr>
            <a:xfrm>
              <a:off x="0" y="866759"/>
              <a:ext cx="1251521" cy="7269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00" y="19462"/>
                  </a:moveTo>
                  <a:cubicBezTo>
                    <a:pt x="18434" y="20510"/>
                    <a:pt x="16983" y="20828"/>
                    <a:pt x="16262" y="20124"/>
                  </a:cubicBezTo>
                  <a:cubicBezTo>
                    <a:pt x="15853" y="19697"/>
                    <a:pt x="15765" y="19076"/>
                    <a:pt x="15990" y="18372"/>
                  </a:cubicBezTo>
                  <a:lnTo>
                    <a:pt x="15316" y="17710"/>
                  </a:lnTo>
                  <a:lnTo>
                    <a:pt x="11421" y="21600"/>
                  </a:lnTo>
                  <a:lnTo>
                    <a:pt x="6901" y="17117"/>
                  </a:lnTo>
                  <a:lnTo>
                    <a:pt x="7558" y="16469"/>
                  </a:lnTo>
                  <a:cubicBezTo>
                    <a:pt x="8255" y="16690"/>
                    <a:pt x="8913" y="16621"/>
                    <a:pt x="9321" y="16193"/>
                  </a:cubicBezTo>
                  <a:cubicBezTo>
                    <a:pt x="10043" y="15490"/>
                    <a:pt x="9730" y="14014"/>
                    <a:pt x="8664" y="12966"/>
                  </a:cubicBezTo>
                  <a:cubicBezTo>
                    <a:pt x="7574" y="11903"/>
                    <a:pt x="6131" y="11600"/>
                    <a:pt x="5426" y="12303"/>
                  </a:cubicBezTo>
                  <a:cubicBezTo>
                    <a:pt x="5025" y="12731"/>
                    <a:pt x="4953" y="13393"/>
                    <a:pt x="5154" y="14055"/>
                  </a:cubicBezTo>
                  <a:lnTo>
                    <a:pt x="4520" y="14676"/>
                  </a:lnTo>
                  <a:lnTo>
                    <a:pt x="0" y="10193"/>
                  </a:lnTo>
                  <a:lnTo>
                    <a:pt x="3887" y="6303"/>
                  </a:lnTo>
                  <a:lnTo>
                    <a:pt x="3214" y="5641"/>
                  </a:lnTo>
                  <a:cubicBezTo>
                    <a:pt x="2509" y="5876"/>
                    <a:pt x="1851" y="5793"/>
                    <a:pt x="1451" y="5366"/>
                  </a:cubicBezTo>
                  <a:cubicBezTo>
                    <a:pt x="721" y="4662"/>
                    <a:pt x="1018" y="3186"/>
                    <a:pt x="2084" y="2138"/>
                  </a:cubicBezTo>
                  <a:cubicBezTo>
                    <a:pt x="3142" y="1090"/>
                    <a:pt x="4593" y="772"/>
                    <a:pt x="5314" y="1476"/>
                  </a:cubicBezTo>
                  <a:cubicBezTo>
                    <a:pt x="5723" y="1903"/>
                    <a:pt x="5811" y="2566"/>
                    <a:pt x="5586" y="3228"/>
                  </a:cubicBezTo>
                  <a:lnTo>
                    <a:pt x="6268" y="3890"/>
                  </a:lnTo>
                  <a:lnTo>
                    <a:pt x="10155" y="0"/>
                  </a:lnTo>
                  <a:lnTo>
                    <a:pt x="14683" y="4469"/>
                  </a:lnTo>
                  <a:lnTo>
                    <a:pt x="14026" y="5131"/>
                  </a:lnTo>
                  <a:cubicBezTo>
                    <a:pt x="13321" y="4897"/>
                    <a:pt x="12663" y="4979"/>
                    <a:pt x="12263" y="5407"/>
                  </a:cubicBezTo>
                  <a:cubicBezTo>
                    <a:pt x="11557" y="6110"/>
                    <a:pt x="11854" y="7586"/>
                    <a:pt x="12912" y="8634"/>
                  </a:cubicBezTo>
                  <a:cubicBezTo>
                    <a:pt x="14002" y="9683"/>
                    <a:pt x="15453" y="10000"/>
                    <a:pt x="16150" y="9297"/>
                  </a:cubicBezTo>
                  <a:cubicBezTo>
                    <a:pt x="16559" y="8869"/>
                    <a:pt x="16623" y="8248"/>
                    <a:pt x="16422" y="7545"/>
                  </a:cubicBezTo>
                  <a:lnTo>
                    <a:pt x="17080" y="6883"/>
                  </a:lnTo>
                  <a:lnTo>
                    <a:pt x="21600" y="11366"/>
                  </a:lnTo>
                  <a:lnTo>
                    <a:pt x="17713" y="15255"/>
                  </a:lnTo>
                  <a:lnTo>
                    <a:pt x="18386" y="15917"/>
                  </a:lnTo>
                  <a:cubicBezTo>
                    <a:pt x="19091" y="15683"/>
                    <a:pt x="19749" y="15766"/>
                    <a:pt x="20157" y="16193"/>
                  </a:cubicBezTo>
                  <a:cubicBezTo>
                    <a:pt x="20879" y="16924"/>
                    <a:pt x="20582" y="18372"/>
                    <a:pt x="19500" y="19462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8" name="Shape 1399"/>
            <p:cNvSpPr/>
            <p:nvPr/>
          </p:nvSpPr>
          <p:spPr>
            <a:xfrm>
              <a:off x="1100353" y="940525"/>
              <a:ext cx="38475" cy="97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086" y="16639"/>
                  </a:lnTo>
                  <a:lnTo>
                    <a:pt x="0" y="21600"/>
                  </a:lnTo>
                  <a:lnTo>
                    <a:pt x="0" y="4961"/>
                  </a:lnTo>
                  <a:lnTo>
                    <a:pt x="21600" y="0"/>
                  </a:lnTo>
                </a:path>
              </a:pathLst>
            </a:custGeom>
            <a:solidFill>
              <a:srgbClr val="4751A3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9" name="Shape 1400"/>
            <p:cNvSpPr/>
            <p:nvPr/>
          </p:nvSpPr>
          <p:spPr>
            <a:xfrm>
              <a:off x="829875" y="930280"/>
              <a:ext cx="280259" cy="1839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6781"/>
                  </a:moveTo>
                  <a:lnTo>
                    <a:pt x="21600" y="15749"/>
                  </a:lnTo>
                  <a:cubicBezTo>
                    <a:pt x="21600" y="16077"/>
                    <a:pt x="21600" y="16241"/>
                    <a:pt x="21492" y="16514"/>
                  </a:cubicBezTo>
                  <a:cubicBezTo>
                    <a:pt x="21492" y="16678"/>
                    <a:pt x="21492" y="16678"/>
                    <a:pt x="21385" y="16843"/>
                  </a:cubicBezTo>
                  <a:lnTo>
                    <a:pt x="21385" y="17007"/>
                  </a:lnTo>
                  <a:cubicBezTo>
                    <a:pt x="21385" y="17007"/>
                    <a:pt x="21385" y="17116"/>
                    <a:pt x="21277" y="17116"/>
                  </a:cubicBezTo>
                  <a:cubicBezTo>
                    <a:pt x="21169" y="17280"/>
                    <a:pt x="21169" y="17608"/>
                    <a:pt x="21062" y="17772"/>
                  </a:cubicBezTo>
                  <a:cubicBezTo>
                    <a:pt x="21062" y="17772"/>
                    <a:pt x="21062" y="17936"/>
                    <a:pt x="20990" y="17936"/>
                  </a:cubicBezTo>
                  <a:cubicBezTo>
                    <a:pt x="20990" y="18046"/>
                    <a:pt x="20990" y="18046"/>
                    <a:pt x="20882" y="18046"/>
                  </a:cubicBezTo>
                  <a:cubicBezTo>
                    <a:pt x="20775" y="18210"/>
                    <a:pt x="20775" y="18210"/>
                    <a:pt x="20775" y="18374"/>
                  </a:cubicBezTo>
                  <a:cubicBezTo>
                    <a:pt x="20667" y="18538"/>
                    <a:pt x="20559" y="18866"/>
                    <a:pt x="20380" y="18975"/>
                  </a:cubicBezTo>
                  <a:cubicBezTo>
                    <a:pt x="20380" y="18975"/>
                    <a:pt x="20272" y="18975"/>
                    <a:pt x="20272" y="19139"/>
                  </a:cubicBezTo>
                  <a:cubicBezTo>
                    <a:pt x="20057" y="19467"/>
                    <a:pt x="19878" y="19631"/>
                    <a:pt x="19662" y="19905"/>
                  </a:cubicBezTo>
                  <a:cubicBezTo>
                    <a:pt x="19662" y="19905"/>
                    <a:pt x="19555" y="19905"/>
                    <a:pt x="19555" y="20069"/>
                  </a:cubicBezTo>
                  <a:cubicBezTo>
                    <a:pt x="19340" y="20233"/>
                    <a:pt x="19160" y="20397"/>
                    <a:pt x="18945" y="20561"/>
                  </a:cubicBezTo>
                  <a:cubicBezTo>
                    <a:pt x="18837" y="20561"/>
                    <a:pt x="18765" y="20670"/>
                    <a:pt x="18765" y="20670"/>
                  </a:cubicBezTo>
                  <a:cubicBezTo>
                    <a:pt x="18658" y="20834"/>
                    <a:pt x="18443" y="20834"/>
                    <a:pt x="18335" y="20998"/>
                  </a:cubicBezTo>
                  <a:cubicBezTo>
                    <a:pt x="18335" y="20998"/>
                    <a:pt x="18335" y="20998"/>
                    <a:pt x="18227" y="20998"/>
                  </a:cubicBezTo>
                  <a:cubicBezTo>
                    <a:pt x="17940" y="21163"/>
                    <a:pt x="17546" y="21327"/>
                    <a:pt x="17223" y="21491"/>
                  </a:cubicBezTo>
                  <a:lnTo>
                    <a:pt x="16828" y="21491"/>
                  </a:lnTo>
                  <a:cubicBezTo>
                    <a:pt x="16613" y="21491"/>
                    <a:pt x="16505" y="21600"/>
                    <a:pt x="16326" y="21600"/>
                  </a:cubicBezTo>
                  <a:lnTo>
                    <a:pt x="12989" y="21600"/>
                  </a:lnTo>
                  <a:cubicBezTo>
                    <a:pt x="12773" y="21600"/>
                    <a:pt x="12558" y="21491"/>
                    <a:pt x="12379" y="21491"/>
                  </a:cubicBezTo>
                  <a:lnTo>
                    <a:pt x="11948" y="21491"/>
                  </a:lnTo>
                  <a:cubicBezTo>
                    <a:pt x="11661" y="21491"/>
                    <a:pt x="11446" y="21327"/>
                    <a:pt x="11159" y="21327"/>
                  </a:cubicBezTo>
                  <a:cubicBezTo>
                    <a:pt x="11051" y="21327"/>
                    <a:pt x="10944" y="21327"/>
                    <a:pt x="10836" y="21163"/>
                  </a:cubicBezTo>
                  <a:lnTo>
                    <a:pt x="10764" y="21163"/>
                  </a:lnTo>
                  <a:cubicBezTo>
                    <a:pt x="10334" y="20998"/>
                    <a:pt x="9831" y="20834"/>
                    <a:pt x="9437" y="20670"/>
                  </a:cubicBezTo>
                  <a:lnTo>
                    <a:pt x="9329" y="20670"/>
                  </a:lnTo>
                  <a:cubicBezTo>
                    <a:pt x="9221" y="20670"/>
                    <a:pt x="9221" y="20561"/>
                    <a:pt x="9221" y="20561"/>
                  </a:cubicBezTo>
                  <a:cubicBezTo>
                    <a:pt x="8611" y="20233"/>
                    <a:pt x="8001" y="19905"/>
                    <a:pt x="7391" y="19631"/>
                  </a:cubicBezTo>
                  <a:lnTo>
                    <a:pt x="7320" y="19631"/>
                  </a:lnTo>
                  <a:cubicBezTo>
                    <a:pt x="7212" y="19631"/>
                    <a:pt x="7212" y="19467"/>
                    <a:pt x="7104" y="19467"/>
                  </a:cubicBezTo>
                  <a:cubicBezTo>
                    <a:pt x="6817" y="19303"/>
                    <a:pt x="6494" y="18975"/>
                    <a:pt x="6207" y="18866"/>
                  </a:cubicBezTo>
                  <a:cubicBezTo>
                    <a:pt x="6100" y="18702"/>
                    <a:pt x="5992" y="18702"/>
                    <a:pt x="5884" y="18538"/>
                  </a:cubicBezTo>
                  <a:cubicBezTo>
                    <a:pt x="5490" y="18210"/>
                    <a:pt x="5095" y="17936"/>
                    <a:pt x="4772" y="17608"/>
                  </a:cubicBezTo>
                  <a:cubicBezTo>
                    <a:pt x="1722" y="14983"/>
                    <a:pt x="0" y="11593"/>
                    <a:pt x="0" y="8804"/>
                  </a:cubicBezTo>
                  <a:lnTo>
                    <a:pt x="0" y="0"/>
                  </a:lnTo>
                  <a:cubicBezTo>
                    <a:pt x="0" y="2789"/>
                    <a:pt x="1650" y="6015"/>
                    <a:pt x="4772" y="8804"/>
                  </a:cubicBezTo>
                  <a:cubicBezTo>
                    <a:pt x="5167" y="9132"/>
                    <a:pt x="5490" y="9406"/>
                    <a:pt x="5884" y="9734"/>
                  </a:cubicBezTo>
                  <a:cubicBezTo>
                    <a:pt x="5992" y="9898"/>
                    <a:pt x="6100" y="9898"/>
                    <a:pt x="6207" y="10062"/>
                  </a:cubicBezTo>
                  <a:cubicBezTo>
                    <a:pt x="6494" y="10335"/>
                    <a:pt x="6817" y="10499"/>
                    <a:pt x="7104" y="10663"/>
                  </a:cubicBezTo>
                  <a:cubicBezTo>
                    <a:pt x="7212" y="10663"/>
                    <a:pt x="7320" y="10827"/>
                    <a:pt x="7391" y="10827"/>
                  </a:cubicBezTo>
                  <a:cubicBezTo>
                    <a:pt x="8001" y="11101"/>
                    <a:pt x="8611" y="11429"/>
                    <a:pt x="9221" y="11757"/>
                  </a:cubicBezTo>
                  <a:cubicBezTo>
                    <a:pt x="9329" y="11757"/>
                    <a:pt x="9329" y="11921"/>
                    <a:pt x="9437" y="11921"/>
                  </a:cubicBezTo>
                  <a:cubicBezTo>
                    <a:pt x="9831" y="12030"/>
                    <a:pt x="10334" y="12194"/>
                    <a:pt x="10764" y="12358"/>
                  </a:cubicBezTo>
                  <a:cubicBezTo>
                    <a:pt x="10836" y="12358"/>
                    <a:pt x="10944" y="12523"/>
                    <a:pt x="11051" y="12523"/>
                  </a:cubicBezTo>
                  <a:cubicBezTo>
                    <a:pt x="11374" y="12687"/>
                    <a:pt x="11553" y="12687"/>
                    <a:pt x="11876" y="12687"/>
                  </a:cubicBezTo>
                  <a:cubicBezTo>
                    <a:pt x="11948" y="12687"/>
                    <a:pt x="12163" y="12687"/>
                    <a:pt x="12271" y="12796"/>
                  </a:cubicBezTo>
                  <a:cubicBezTo>
                    <a:pt x="12486" y="12796"/>
                    <a:pt x="12666" y="12960"/>
                    <a:pt x="12881" y="12960"/>
                  </a:cubicBezTo>
                  <a:cubicBezTo>
                    <a:pt x="13096" y="12960"/>
                    <a:pt x="13168" y="13124"/>
                    <a:pt x="13276" y="13124"/>
                  </a:cubicBezTo>
                  <a:lnTo>
                    <a:pt x="15608" y="13124"/>
                  </a:lnTo>
                  <a:cubicBezTo>
                    <a:pt x="15823" y="13124"/>
                    <a:pt x="15895" y="13124"/>
                    <a:pt x="16003" y="12960"/>
                  </a:cubicBezTo>
                  <a:cubicBezTo>
                    <a:pt x="16074" y="12796"/>
                    <a:pt x="16326" y="12796"/>
                    <a:pt x="16505" y="12796"/>
                  </a:cubicBezTo>
                  <a:cubicBezTo>
                    <a:pt x="16613" y="12796"/>
                    <a:pt x="16828" y="12796"/>
                    <a:pt x="16936" y="12687"/>
                  </a:cubicBezTo>
                  <a:cubicBezTo>
                    <a:pt x="17330" y="12523"/>
                    <a:pt x="17653" y="12358"/>
                    <a:pt x="17940" y="12194"/>
                  </a:cubicBezTo>
                  <a:cubicBezTo>
                    <a:pt x="18155" y="12030"/>
                    <a:pt x="18227" y="12030"/>
                    <a:pt x="18335" y="11921"/>
                  </a:cubicBezTo>
                  <a:cubicBezTo>
                    <a:pt x="18443" y="11921"/>
                    <a:pt x="18443" y="11757"/>
                    <a:pt x="18550" y="11757"/>
                  </a:cubicBezTo>
                  <a:cubicBezTo>
                    <a:pt x="18765" y="11593"/>
                    <a:pt x="18945" y="11429"/>
                    <a:pt x="19160" y="11265"/>
                  </a:cubicBezTo>
                  <a:cubicBezTo>
                    <a:pt x="19447" y="10991"/>
                    <a:pt x="19662" y="10827"/>
                    <a:pt x="19878" y="10499"/>
                  </a:cubicBezTo>
                  <a:cubicBezTo>
                    <a:pt x="19878" y="10499"/>
                    <a:pt x="19950" y="10499"/>
                    <a:pt x="19950" y="10335"/>
                  </a:cubicBezTo>
                  <a:cubicBezTo>
                    <a:pt x="20165" y="10062"/>
                    <a:pt x="20380" y="9734"/>
                    <a:pt x="20488" y="9406"/>
                  </a:cubicBezTo>
                  <a:cubicBezTo>
                    <a:pt x="20488" y="9296"/>
                    <a:pt x="20488" y="9296"/>
                    <a:pt x="20559" y="9296"/>
                  </a:cubicBezTo>
                  <a:cubicBezTo>
                    <a:pt x="20667" y="8968"/>
                    <a:pt x="20775" y="8640"/>
                    <a:pt x="20882" y="8367"/>
                  </a:cubicBezTo>
                  <a:lnTo>
                    <a:pt x="20882" y="8203"/>
                  </a:lnTo>
                  <a:cubicBezTo>
                    <a:pt x="21385" y="7601"/>
                    <a:pt x="21492" y="7273"/>
                    <a:pt x="21600" y="6781"/>
                  </a:cubicBezTo>
                </a:path>
              </a:pathLst>
            </a:custGeom>
            <a:solidFill>
              <a:srgbClr val="474E8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0" name="Shape 1401"/>
            <p:cNvSpPr/>
            <p:nvPr/>
          </p:nvSpPr>
          <p:spPr>
            <a:xfrm>
              <a:off x="131140" y="563495"/>
              <a:ext cx="40506" cy="978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961"/>
                  </a:moveTo>
                  <a:lnTo>
                    <a:pt x="21600" y="21600"/>
                  </a:lnTo>
                  <a:lnTo>
                    <a:pt x="0" y="16329"/>
                  </a:lnTo>
                  <a:lnTo>
                    <a:pt x="0" y="0"/>
                  </a:lnTo>
                  <a:lnTo>
                    <a:pt x="21600" y="4961"/>
                  </a:lnTo>
                </a:path>
              </a:pathLst>
            </a:custGeom>
            <a:solidFill>
              <a:srgbClr val="DE1C3A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1" name="Shape 1402"/>
            <p:cNvSpPr/>
            <p:nvPr/>
          </p:nvSpPr>
          <p:spPr>
            <a:xfrm>
              <a:off x="149582" y="982562"/>
              <a:ext cx="91744" cy="423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525" extrusionOk="0">
                  <a:moveTo>
                    <a:pt x="11403" y="1514"/>
                  </a:moveTo>
                  <a:cubicBezTo>
                    <a:pt x="14254" y="5789"/>
                    <a:pt x="16995" y="5789"/>
                    <a:pt x="19736" y="10964"/>
                  </a:cubicBezTo>
                  <a:cubicBezTo>
                    <a:pt x="20065" y="11639"/>
                    <a:pt x="21600" y="13439"/>
                    <a:pt x="21600" y="14789"/>
                  </a:cubicBezTo>
                  <a:cubicBezTo>
                    <a:pt x="21052" y="18614"/>
                    <a:pt x="17653" y="21089"/>
                    <a:pt x="16118" y="20414"/>
                  </a:cubicBezTo>
                  <a:cubicBezTo>
                    <a:pt x="13596" y="19739"/>
                    <a:pt x="11403" y="18614"/>
                    <a:pt x="8662" y="17939"/>
                  </a:cubicBezTo>
                  <a:cubicBezTo>
                    <a:pt x="6798" y="17264"/>
                    <a:pt x="2741" y="17264"/>
                    <a:pt x="877" y="16139"/>
                  </a:cubicBezTo>
                  <a:cubicBezTo>
                    <a:pt x="0" y="14789"/>
                    <a:pt x="0" y="10289"/>
                    <a:pt x="0" y="7814"/>
                  </a:cubicBezTo>
                  <a:cubicBezTo>
                    <a:pt x="0" y="6464"/>
                    <a:pt x="1206" y="3989"/>
                    <a:pt x="1206" y="3989"/>
                  </a:cubicBezTo>
                  <a:cubicBezTo>
                    <a:pt x="2741" y="5339"/>
                    <a:pt x="3399" y="6464"/>
                    <a:pt x="5592" y="5789"/>
                  </a:cubicBezTo>
                  <a:cubicBezTo>
                    <a:pt x="5811" y="5339"/>
                    <a:pt x="6469" y="5339"/>
                    <a:pt x="7127" y="5339"/>
                  </a:cubicBezTo>
                  <a:cubicBezTo>
                    <a:pt x="8991" y="839"/>
                    <a:pt x="10197" y="-511"/>
                    <a:pt x="10855" y="164"/>
                  </a:cubicBezTo>
                  <a:cubicBezTo>
                    <a:pt x="10855" y="164"/>
                    <a:pt x="11074" y="839"/>
                    <a:pt x="11403" y="1514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2" name="Shape 1403"/>
            <p:cNvSpPr/>
            <p:nvPr/>
          </p:nvSpPr>
          <p:spPr>
            <a:xfrm>
              <a:off x="59423" y="918935"/>
              <a:ext cx="88540" cy="4162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21" h="21118" extrusionOk="0">
                  <a:moveTo>
                    <a:pt x="11520" y="1376"/>
                  </a:moveTo>
                  <a:cubicBezTo>
                    <a:pt x="14400" y="6021"/>
                    <a:pt x="17169" y="6021"/>
                    <a:pt x="19938" y="11363"/>
                  </a:cubicBezTo>
                  <a:cubicBezTo>
                    <a:pt x="20271" y="11828"/>
                    <a:pt x="21600" y="15776"/>
                    <a:pt x="21268" y="17170"/>
                  </a:cubicBezTo>
                  <a:cubicBezTo>
                    <a:pt x="20935" y="21118"/>
                    <a:pt x="17502" y="21118"/>
                    <a:pt x="16283" y="21118"/>
                  </a:cubicBezTo>
                  <a:cubicBezTo>
                    <a:pt x="13735" y="20421"/>
                    <a:pt x="11520" y="19260"/>
                    <a:pt x="8751" y="18563"/>
                  </a:cubicBezTo>
                  <a:cubicBezTo>
                    <a:pt x="6868" y="17866"/>
                    <a:pt x="2769" y="17866"/>
                    <a:pt x="886" y="16473"/>
                  </a:cubicBezTo>
                  <a:cubicBezTo>
                    <a:pt x="0" y="15312"/>
                    <a:pt x="0" y="10666"/>
                    <a:pt x="0" y="8112"/>
                  </a:cubicBezTo>
                  <a:cubicBezTo>
                    <a:pt x="0" y="6718"/>
                    <a:pt x="1218" y="4163"/>
                    <a:pt x="1218" y="4163"/>
                  </a:cubicBezTo>
                  <a:cubicBezTo>
                    <a:pt x="2769" y="5324"/>
                    <a:pt x="3434" y="6718"/>
                    <a:pt x="5649" y="6021"/>
                  </a:cubicBezTo>
                  <a:cubicBezTo>
                    <a:pt x="5871" y="5324"/>
                    <a:pt x="6535" y="5324"/>
                    <a:pt x="7200" y="5324"/>
                  </a:cubicBezTo>
                  <a:cubicBezTo>
                    <a:pt x="9083" y="679"/>
                    <a:pt x="10302" y="-482"/>
                    <a:pt x="10966" y="215"/>
                  </a:cubicBezTo>
                  <a:cubicBezTo>
                    <a:pt x="10966" y="-482"/>
                    <a:pt x="11188" y="679"/>
                    <a:pt x="11520" y="1376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3" name="Shape 1404"/>
            <p:cNvSpPr/>
            <p:nvPr/>
          </p:nvSpPr>
          <p:spPr>
            <a:xfrm>
              <a:off x="178269" y="618820"/>
              <a:ext cx="137525" cy="1039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0" h="20382" extrusionOk="0">
                  <a:moveTo>
                    <a:pt x="0" y="2370"/>
                  </a:moveTo>
                  <a:lnTo>
                    <a:pt x="6285" y="0"/>
                  </a:lnTo>
                  <a:lnTo>
                    <a:pt x="7080" y="4192"/>
                  </a:lnTo>
                  <a:cubicBezTo>
                    <a:pt x="7080" y="4192"/>
                    <a:pt x="14015" y="11119"/>
                    <a:pt x="16688" y="13397"/>
                  </a:cubicBezTo>
                  <a:cubicBezTo>
                    <a:pt x="16688" y="13397"/>
                    <a:pt x="21600" y="14400"/>
                    <a:pt x="21383" y="17772"/>
                  </a:cubicBezTo>
                  <a:cubicBezTo>
                    <a:pt x="21383" y="21144"/>
                    <a:pt x="17338" y="21600"/>
                    <a:pt x="14448" y="17043"/>
                  </a:cubicBezTo>
                  <a:cubicBezTo>
                    <a:pt x="14448" y="17043"/>
                    <a:pt x="6068" y="12668"/>
                    <a:pt x="4262" y="10299"/>
                  </a:cubicBezTo>
                  <a:cubicBezTo>
                    <a:pt x="2601" y="8020"/>
                    <a:pt x="0" y="2370"/>
                    <a:pt x="0" y="237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4" name="Shape 1405"/>
            <p:cNvSpPr/>
            <p:nvPr/>
          </p:nvSpPr>
          <p:spPr>
            <a:xfrm>
              <a:off x="158344" y="555911"/>
              <a:ext cx="68636" cy="849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29" h="19153" extrusionOk="0">
                  <a:moveTo>
                    <a:pt x="3479" y="279"/>
                  </a:moveTo>
                  <a:cubicBezTo>
                    <a:pt x="11804" y="-2447"/>
                    <a:pt x="16529" y="15693"/>
                    <a:pt x="16529" y="15693"/>
                  </a:cubicBezTo>
                  <a:cubicBezTo>
                    <a:pt x="16529" y="15693"/>
                    <a:pt x="15291" y="16846"/>
                    <a:pt x="11804" y="18000"/>
                  </a:cubicBezTo>
                  <a:cubicBezTo>
                    <a:pt x="7979" y="19153"/>
                    <a:pt x="4829" y="19153"/>
                    <a:pt x="4829" y="19153"/>
                  </a:cubicBezTo>
                  <a:cubicBezTo>
                    <a:pt x="4829" y="19153"/>
                    <a:pt x="-5071" y="2901"/>
                    <a:pt x="3479" y="279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5" name="Shape 1406"/>
            <p:cNvSpPr/>
            <p:nvPr/>
          </p:nvSpPr>
          <p:spPr>
            <a:xfrm>
              <a:off x="63521" y="751222"/>
              <a:ext cx="116331" cy="1849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150" extrusionOk="0">
                  <a:moveTo>
                    <a:pt x="9802" y="123"/>
                  </a:moveTo>
                  <a:cubicBezTo>
                    <a:pt x="12058" y="-584"/>
                    <a:pt x="21600" y="1990"/>
                    <a:pt x="21600" y="1990"/>
                  </a:cubicBezTo>
                  <a:cubicBezTo>
                    <a:pt x="21600" y="1990"/>
                    <a:pt x="15701" y="11780"/>
                    <a:pt x="13966" y="13345"/>
                  </a:cubicBezTo>
                  <a:cubicBezTo>
                    <a:pt x="12058" y="14909"/>
                    <a:pt x="7373" y="19603"/>
                    <a:pt x="7373" y="19603"/>
                  </a:cubicBezTo>
                  <a:cubicBezTo>
                    <a:pt x="7373" y="19603"/>
                    <a:pt x="1475" y="21016"/>
                    <a:pt x="0" y="19300"/>
                  </a:cubicBezTo>
                  <a:cubicBezTo>
                    <a:pt x="0" y="19300"/>
                    <a:pt x="1475" y="13496"/>
                    <a:pt x="4945" y="11074"/>
                  </a:cubicBezTo>
                  <a:cubicBezTo>
                    <a:pt x="4945" y="11074"/>
                    <a:pt x="7894" y="880"/>
                    <a:pt x="9802" y="123"/>
                  </a:cubicBezTo>
                </a:path>
              </a:pathLst>
            </a:custGeom>
            <a:solidFill>
              <a:srgbClr val="47645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6" name="Shape 1407"/>
            <p:cNvSpPr/>
            <p:nvPr/>
          </p:nvSpPr>
          <p:spPr>
            <a:xfrm>
              <a:off x="90585" y="764305"/>
              <a:ext cx="109757" cy="2345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23" h="21177" extrusionOk="0">
                  <a:moveTo>
                    <a:pt x="13473" y="713"/>
                  </a:moveTo>
                  <a:cubicBezTo>
                    <a:pt x="13473" y="713"/>
                    <a:pt x="18063" y="8976"/>
                    <a:pt x="18873" y="10611"/>
                  </a:cubicBezTo>
                  <a:cubicBezTo>
                    <a:pt x="19593" y="12289"/>
                    <a:pt x="21123" y="20551"/>
                    <a:pt x="21123" y="20551"/>
                  </a:cubicBezTo>
                  <a:cubicBezTo>
                    <a:pt x="17343" y="21600"/>
                    <a:pt x="12753" y="21013"/>
                    <a:pt x="12753" y="21013"/>
                  </a:cubicBezTo>
                  <a:lnTo>
                    <a:pt x="8433" y="10485"/>
                  </a:lnTo>
                  <a:cubicBezTo>
                    <a:pt x="8433" y="10485"/>
                    <a:pt x="3573" y="5662"/>
                    <a:pt x="1593" y="3901"/>
                  </a:cubicBezTo>
                  <a:cubicBezTo>
                    <a:pt x="-477" y="2013"/>
                    <a:pt x="63" y="0"/>
                    <a:pt x="63" y="0"/>
                  </a:cubicBezTo>
                  <a:lnTo>
                    <a:pt x="13473" y="713"/>
                  </a:lnTo>
                </a:path>
              </a:pathLst>
            </a:custGeom>
            <a:solidFill>
              <a:srgbClr val="4773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7" name="Shape 1408"/>
            <p:cNvSpPr/>
            <p:nvPr/>
          </p:nvSpPr>
          <p:spPr>
            <a:xfrm>
              <a:off x="84011" y="550935"/>
              <a:ext cx="114285" cy="2299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9429" extrusionOk="0">
                  <a:moveTo>
                    <a:pt x="21600" y="2581"/>
                  </a:moveTo>
                  <a:lnTo>
                    <a:pt x="19580" y="18644"/>
                  </a:lnTo>
                  <a:cubicBezTo>
                    <a:pt x="10712" y="20411"/>
                    <a:pt x="0" y="18644"/>
                    <a:pt x="0" y="18644"/>
                  </a:cubicBezTo>
                  <a:lnTo>
                    <a:pt x="0" y="2228"/>
                  </a:lnTo>
                  <a:cubicBezTo>
                    <a:pt x="8254" y="-1189"/>
                    <a:pt x="18351" y="343"/>
                    <a:pt x="18351" y="343"/>
                  </a:cubicBezTo>
                  <a:cubicBezTo>
                    <a:pt x="20898" y="892"/>
                    <a:pt x="21600" y="2581"/>
                    <a:pt x="21600" y="2581"/>
                  </a:cubicBezTo>
                </a:path>
              </a:pathLst>
            </a:custGeom>
            <a:solidFill>
              <a:srgbClr val="476A6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8" name="Shape 1409"/>
            <p:cNvSpPr/>
            <p:nvPr/>
          </p:nvSpPr>
          <p:spPr>
            <a:xfrm>
              <a:off x="116797" y="534808"/>
              <a:ext cx="50179" cy="512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189" h="18788" extrusionOk="0">
                  <a:moveTo>
                    <a:pt x="14560" y="0"/>
                  </a:moveTo>
                  <a:lnTo>
                    <a:pt x="14560" y="6293"/>
                  </a:lnTo>
                  <a:cubicBezTo>
                    <a:pt x="14560" y="6293"/>
                    <a:pt x="21600" y="14797"/>
                    <a:pt x="12640" y="18198"/>
                  </a:cubicBezTo>
                  <a:cubicBezTo>
                    <a:pt x="3520" y="21600"/>
                    <a:pt x="0" y="9184"/>
                    <a:pt x="0" y="9184"/>
                  </a:cubicBezTo>
                  <a:lnTo>
                    <a:pt x="5920" y="2891"/>
                  </a:lnTo>
                  <a:lnTo>
                    <a:pt x="14560" y="0"/>
                  </a:lnTo>
                </a:path>
              </a:pathLst>
            </a:custGeom>
            <a:solidFill>
              <a:srgbClr val="FFE98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9" name="Shape 1410"/>
            <p:cNvSpPr/>
            <p:nvPr/>
          </p:nvSpPr>
          <p:spPr>
            <a:xfrm>
              <a:off x="90159" y="639311"/>
              <a:ext cx="137525" cy="1036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0" h="20324" extrusionOk="0">
                  <a:moveTo>
                    <a:pt x="0" y="2278"/>
                  </a:moveTo>
                  <a:lnTo>
                    <a:pt x="6285" y="0"/>
                  </a:lnTo>
                  <a:lnTo>
                    <a:pt x="7152" y="4101"/>
                  </a:lnTo>
                  <a:cubicBezTo>
                    <a:pt x="7152" y="4101"/>
                    <a:pt x="14015" y="11028"/>
                    <a:pt x="16688" y="13306"/>
                  </a:cubicBezTo>
                  <a:cubicBezTo>
                    <a:pt x="16688" y="13306"/>
                    <a:pt x="21600" y="14400"/>
                    <a:pt x="21383" y="17681"/>
                  </a:cubicBezTo>
                  <a:cubicBezTo>
                    <a:pt x="21383" y="21053"/>
                    <a:pt x="17338" y="21600"/>
                    <a:pt x="14448" y="16952"/>
                  </a:cubicBezTo>
                  <a:cubicBezTo>
                    <a:pt x="14448" y="16952"/>
                    <a:pt x="6068" y="12577"/>
                    <a:pt x="4262" y="10299"/>
                  </a:cubicBezTo>
                  <a:cubicBezTo>
                    <a:pt x="2601" y="7929"/>
                    <a:pt x="0" y="2278"/>
                    <a:pt x="0" y="2278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0" name="Shape 1411"/>
            <p:cNvSpPr/>
            <p:nvPr/>
          </p:nvSpPr>
          <p:spPr>
            <a:xfrm>
              <a:off x="70234" y="576020"/>
              <a:ext cx="68636" cy="853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29" h="19239" extrusionOk="0">
                  <a:moveTo>
                    <a:pt x="3479" y="260"/>
                  </a:moveTo>
                  <a:cubicBezTo>
                    <a:pt x="11804" y="-2361"/>
                    <a:pt x="16529" y="15674"/>
                    <a:pt x="16529" y="15674"/>
                  </a:cubicBezTo>
                  <a:cubicBezTo>
                    <a:pt x="16529" y="15674"/>
                    <a:pt x="15291" y="16827"/>
                    <a:pt x="11804" y="17981"/>
                  </a:cubicBezTo>
                  <a:cubicBezTo>
                    <a:pt x="7979" y="19239"/>
                    <a:pt x="4829" y="19239"/>
                    <a:pt x="4829" y="19239"/>
                  </a:cubicBezTo>
                  <a:cubicBezTo>
                    <a:pt x="4829" y="19239"/>
                    <a:pt x="-5071" y="2987"/>
                    <a:pt x="3479" y="260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1" name="Shape 1412"/>
            <p:cNvSpPr/>
            <p:nvPr/>
          </p:nvSpPr>
          <p:spPr>
            <a:xfrm>
              <a:off x="98355" y="479483"/>
              <a:ext cx="85595" cy="896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900"/>
                  </a:moveTo>
                  <a:cubicBezTo>
                    <a:pt x="0" y="9225"/>
                    <a:pt x="354" y="8887"/>
                    <a:pt x="354" y="7987"/>
                  </a:cubicBezTo>
                  <a:lnTo>
                    <a:pt x="354" y="7650"/>
                  </a:lnTo>
                  <a:cubicBezTo>
                    <a:pt x="590" y="7313"/>
                    <a:pt x="590" y="6975"/>
                    <a:pt x="944" y="6975"/>
                  </a:cubicBezTo>
                  <a:lnTo>
                    <a:pt x="1652" y="6975"/>
                  </a:lnTo>
                  <a:cubicBezTo>
                    <a:pt x="2007" y="6975"/>
                    <a:pt x="2243" y="7313"/>
                    <a:pt x="2597" y="7650"/>
                  </a:cubicBezTo>
                  <a:lnTo>
                    <a:pt x="2951" y="7987"/>
                  </a:lnTo>
                  <a:cubicBezTo>
                    <a:pt x="3659" y="8550"/>
                    <a:pt x="4013" y="9900"/>
                    <a:pt x="4249" y="11137"/>
                  </a:cubicBezTo>
                  <a:cubicBezTo>
                    <a:pt x="4957" y="11475"/>
                    <a:pt x="5311" y="11812"/>
                    <a:pt x="5666" y="11812"/>
                  </a:cubicBezTo>
                  <a:cubicBezTo>
                    <a:pt x="5666" y="11475"/>
                    <a:pt x="5902" y="10800"/>
                    <a:pt x="5902" y="9900"/>
                  </a:cubicBezTo>
                  <a:lnTo>
                    <a:pt x="5902" y="6413"/>
                  </a:lnTo>
                  <a:lnTo>
                    <a:pt x="4603" y="4163"/>
                  </a:lnTo>
                  <a:cubicBezTo>
                    <a:pt x="4603" y="3150"/>
                    <a:pt x="4957" y="2250"/>
                    <a:pt x="5666" y="1350"/>
                  </a:cubicBezTo>
                  <a:cubicBezTo>
                    <a:pt x="5902" y="675"/>
                    <a:pt x="6610" y="338"/>
                    <a:pt x="7318" y="0"/>
                  </a:cubicBezTo>
                  <a:lnTo>
                    <a:pt x="8262" y="0"/>
                  </a:lnTo>
                  <a:cubicBezTo>
                    <a:pt x="9325" y="338"/>
                    <a:pt x="10269" y="1013"/>
                    <a:pt x="11921" y="1913"/>
                  </a:cubicBezTo>
                  <a:cubicBezTo>
                    <a:pt x="13574" y="2925"/>
                    <a:pt x="15344" y="3150"/>
                    <a:pt x="16997" y="3150"/>
                  </a:cubicBezTo>
                  <a:cubicBezTo>
                    <a:pt x="18649" y="3150"/>
                    <a:pt x="19593" y="2925"/>
                    <a:pt x="20302" y="2250"/>
                  </a:cubicBezTo>
                  <a:cubicBezTo>
                    <a:pt x="20892" y="1575"/>
                    <a:pt x="21246" y="1350"/>
                    <a:pt x="21246" y="1013"/>
                  </a:cubicBezTo>
                  <a:cubicBezTo>
                    <a:pt x="21600" y="1913"/>
                    <a:pt x="21600" y="2588"/>
                    <a:pt x="21600" y="3150"/>
                  </a:cubicBezTo>
                  <a:lnTo>
                    <a:pt x="21600" y="7650"/>
                  </a:lnTo>
                  <a:cubicBezTo>
                    <a:pt x="21600" y="11137"/>
                    <a:pt x="21246" y="13725"/>
                    <a:pt x="20656" y="15300"/>
                  </a:cubicBezTo>
                  <a:cubicBezTo>
                    <a:pt x="19948" y="16875"/>
                    <a:pt x="19239" y="18113"/>
                    <a:pt x="18649" y="18787"/>
                  </a:cubicBezTo>
                  <a:cubicBezTo>
                    <a:pt x="18649" y="19125"/>
                    <a:pt x="18295" y="19350"/>
                    <a:pt x="17941" y="19687"/>
                  </a:cubicBezTo>
                  <a:cubicBezTo>
                    <a:pt x="17941" y="20025"/>
                    <a:pt x="17587" y="20025"/>
                    <a:pt x="17233" y="20362"/>
                  </a:cubicBezTo>
                  <a:cubicBezTo>
                    <a:pt x="17233" y="20700"/>
                    <a:pt x="17233" y="20700"/>
                    <a:pt x="16997" y="20700"/>
                  </a:cubicBezTo>
                  <a:cubicBezTo>
                    <a:pt x="16643" y="20700"/>
                    <a:pt x="16643" y="20700"/>
                    <a:pt x="16289" y="21037"/>
                  </a:cubicBezTo>
                  <a:cubicBezTo>
                    <a:pt x="15934" y="21262"/>
                    <a:pt x="15934" y="21262"/>
                    <a:pt x="15580" y="21262"/>
                  </a:cubicBezTo>
                  <a:cubicBezTo>
                    <a:pt x="15344" y="21600"/>
                    <a:pt x="14636" y="21600"/>
                    <a:pt x="13928" y="21600"/>
                  </a:cubicBezTo>
                  <a:cubicBezTo>
                    <a:pt x="12984" y="21600"/>
                    <a:pt x="11921" y="21600"/>
                    <a:pt x="10977" y="21262"/>
                  </a:cubicBezTo>
                  <a:cubicBezTo>
                    <a:pt x="9679" y="21037"/>
                    <a:pt x="8262" y="20025"/>
                    <a:pt x="6964" y="18787"/>
                  </a:cubicBezTo>
                  <a:cubicBezTo>
                    <a:pt x="6256" y="17775"/>
                    <a:pt x="5311" y="16875"/>
                    <a:pt x="4603" y="15637"/>
                  </a:cubicBezTo>
                  <a:lnTo>
                    <a:pt x="3659" y="13725"/>
                  </a:lnTo>
                  <a:cubicBezTo>
                    <a:pt x="3659" y="13725"/>
                    <a:pt x="3659" y="13950"/>
                    <a:pt x="3305" y="13950"/>
                  </a:cubicBezTo>
                  <a:lnTo>
                    <a:pt x="2951" y="13950"/>
                  </a:lnTo>
                  <a:cubicBezTo>
                    <a:pt x="2243" y="13950"/>
                    <a:pt x="1652" y="13725"/>
                    <a:pt x="944" y="12375"/>
                  </a:cubicBezTo>
                  <a:cubicBezTo>
                    <a:pt x="590" y="11475"/>
                    <a:pt x="354" y="10800"/>
                    <a:pt x="0" y="990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2" name="Shape 1413"/>
            <p:cNvSpPr/>
            <p:nvPr/>
          </p:nvSpPr>
          <p:spPr>
            <a:xfrm>
              <a:off x="98702" y="458992"/>
              <a:ext cx="93449" cy="753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20" h="21600" extrusionOk="0">
                  <a:moveTo>
                    <a:pt x="4708" y="8956"/>
                  </a:moveTo>
                  <a:cubicBezTo>
                    <a:pt x="4070" y="10010"/>
                    <a:pt x="3751" y="10800"/>
                    <a:pt x="3751" y="12249"/>
                  </a:cubicBezTo>
                  <a:lnTo>
                    <a:pt x="5240" y="15278"/>
                  </a:lnTo>
                  <a:cubicBezTo>
                    <a:pt x="5240" y="15673"/>
                    <a:pt x="4389" y="20810"/>
                    <a:pt x="4389" y="21600"/>
                  </a:cubicBezTo>
                  <a:cubicBezTo>
                    <a:pt x="4070" y="21600"/>
                    <a:pt x="3751" y="21205"/>
                    <a:pt x="3219" y="20810"/>
                  </a:cubicBezTo>
                  <a:cubicBezTo>
                    <a:pt x="2899" y="19361"/>
                    <a:pt x="2580" y="17912"/>
                    <a:pt x="1942" y="17122"/>
                  </a:cubicBezTo>
                  <a:lnTo>
                    <a:pt x="1622" y="16727"/>
                  </a:lnTo>
                  <a:cubicBezTo>
                    <a:pt x="1410" y="16332"/>
                    <a:pt x="1090" y="16068"/>
                    <a:pt x="771" y="16068"/>
                  </a:cubicBezTo>
                  <a:lnTo>
                    <a:pt x="133" y="16068"/>
                  </a:lnTo>
                  <a:cubicBezTo>
                    <a:pt x="-80" y="13434"/>
                    <a:pt x="-80" y="11590"/>
                    <a:pt x="452" y="9746"/>
                  </a:cubicBezTo>
                  <a:cubicBezTo>
                    <a:pt x="1410" y="3820"/>
                    <a:pt x="4070" y="395"/>
                    <a:pt x="8326" y="0"/>
                  </a:cubicBezTo>
                  <a:cubicBezTo>
                    <a:pt x="13114" y="0"/>
                    <a:pt x="16093" y="1580"/>
                    <a:pt x="17583" y="4873"/>
                  </a:cubicBezTo>
                  <a:cubicBezTo>
                    <a:pt x="17902" y="5268"/>
                    <a:pt x="18753" y="6717"/>
                    <a:pt x="19073" y="7112"/>
                  </a:cubicBezTo>
                  <a:cubicBezTo>
                    <a:pt x="19392" y="7902"/>
                    <a:pt x="21201" y="7902"/>
                    <a:pt x="21520" y="8561"/>
                  </a:cubicBezTo>
                  <a:cubicBezTo>
                    <a:pt x="21520" y="8956"/>
                    <a:pt x="21094" y="9220"/>
                    <a:pt x="20562" y="10010"/>
                  </a:cubicBezTo>
                  <a:cubicBezTo>
                    <a:pt x="19924" y="10668"/>
                    <a:pt x="19073" y="12249"/>
                    <a:pt x="17583" y="12249"/>
                  </a:cubicBezTo>
                  <a:cubicBezTo>
                    <a:pt x="16093" y="12249"/>
                    <a:pt x="11837" y="11590"/>
                    <a:pt x="10348" y="10800"/>
                  </a:cubicBezTo>
                  <a:cubicBezTo>
                    <a:pt x="8858" y="9746"/>
                    <a:pt x="8007" y="8166"/>
                    <a:pt x="7049" y="7507"/>
                  </a:cubicBezTo>
                  <a:lnTo>
                    <a:pt x="6198" y="7507"/>
                  </a:lnTo>
                  <a:cubicBezTo>
                    <a:pt x="5879" y="7507"/>
                    <a:pt x="5240" y="7902"/>
                    <a:pt x="4708" y="8956"/>
                  </a:cubicBezTo>
                </a:path>
              </a:pathLst>
            </a:custGeom>
            <a:solidFill>
              <a:srgbClr val="DECB2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3" name="Shape 1414"/>
            <p:cNvSpPr/>
            <p:nvPr/>
          </p:nvSpPr>
          <p:spPr>
            <a:xfrm>
              <a:off x="380900" y="643409"/>
              <a:ext cx="16393" cy="1019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788" y="0"/>
                  </a:moveTo>
                  <a:cubicBezTo>
                    <a:pt x="17788" y="297"/>
                    <a:pt x="17788" y="594"/>
                    <a:pt x="21600" y="594"/>
                  </a:cubicBezTo>
                  <a:cubicBezTo>
                    <a:pt x="21600" y="1090"/>
                    <a:pt x="17788" y="1387"/>
                    <a:pt x="17788" y="1684"/>
                  </a:cubicBezTo>
                  <a:lnTo>
                    <a:pt x="17788" y="0"/>
                  </a:lnTo>
                  <a:close/>
                  <a:moveTo>
                    <a:pt x="17788" y="15952"/>
                  </a:moveTo>
                  <a:lnTo>
                    <a:pt x="17788" y="16547"/>
                  </a:lnTo>
                  <a:cubicBezTo>
                    <a:pt x="17788" y="16844"/>
                    <a:pt x="17788" y="17042"/>
                    <a:pt x="13976" y="17637"/>
                  </a:cubicBezTo>
                  <a:lnTo>
                    <a:pt x="13976" y="18231"/>
                  </a:lnTo>
                  <a:cubicBezTo>
                    <a:pt x="10165" y="18429"/>
                    <a:pt x="10165" y="19024"/>
                    <a:pt x="10165" y="19321"/>
                  </a:cubicBezTo>
                  <a:lnTo>
                    <a:pt x="10165" y="19916"/>
                  </a:lnTo>
                  <a:lnTo>
                    <a:pt x="0" y="21600"/>
                  </a:lnTo>
                  <a:lnTo>
                    <a:pt x="0" y="5648"/>
                  </a:lnTo>
                  <a:lnTo>
                    <a:pt x="10165" y="3963"/>
                  </a:lnTo>
                  <a:cubicBezTo>
                    <a:pt x="10165" y="3666"/>
                    <a:pt x="10165" y="3666"/>
                    <a:pt x="13976" y="3369"/>
                  </a:cubicBezTo>
                  <a:cubicBezTo>
                    <a:pt x="17788" y="3072"/>
                    <a:pt x="17788" y="2576"/>
                    <a:pt x="17788" y="2279"/>
                  </a:cubicBezTo>
                  <a:lnTo>
                    <a:pt x="17788" y="15952"/>
                  </a:lnTo>
                  <a:close/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4" name="Shape 1415"/>
            <p:cNvSpPr/>
            <p:nvPr/>
          </p:nvSpPr>
          <p:spPr>
            <a:xfrm>
              <a:off x="870857" y="711029"/>
              <a:ext cx="38475" cy="958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6567"/>
                  </a:lnTo>
                  <a:lnTo>
                    <a:pt x="0" y="21600"/>
                  </a:lnTo>
                  <a:lnTo>
                    <a:pt x="0" y="5033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5" name="Shape 1416"/>
            <p:cNvSpPr/>
            <p:nvPr/>
          </p:nvSpPr>
          <p:spPr>
            <a:xfrm>
              <a:off x="116797" y="702833"/>
              <a:ext cx="128628" cy="1245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7979"/>
                  </a:moveTo>
                  <a:lnTo>
                    <a:pt x="21600" y="20955"/>
                  </a:lnTo>
                  <a:lnTo>
                    <a:pt x="21366" y="20955"/>
                  </a:lnTo>
                  <a:cubicBezTo>
                    <a:pt x="20430" y="21116"/>
                    <a:pt x="19339" y="21116"/>
                    <a:pt x="18481" y="21358"/>
                  </a:cubicBezTo>
                  <a:lnTo>
                    <a:pt x="17389" y="21358"/>
                  </a:lnTo>
                  <a:cubicBezTo>
                    <a:pt x="16921" y="21358"/>
                    <a:pt x="16531" y="21600"/>
                    <a:pt x="16064" y="21600"/>
                  </a:cubicBezTo>
                  <a:lnTo>
                    <a:pt x="13412" y="21600"/>
                  </a:lnTo>
                  <a:cubicBezTo>
                    <a:pt x="12788" y="21600"/>
                    <a:pt x="12321" y="21600"/>
                    <a:pt x="11853" y="21358"/>
                  </a:cubicBezTo>
                  <a:lnTo>
                    <a:pt x="11697" y="21358"/>
                  </a:lnTo>
                  <a:cubicBezTo>
                    <a:pt x="11229" y="21358"/>
                    <a:pt x="10527" y="21116"/>
                    <a:pt x="10137" y="21116"/>
                  </a:cubicBezTo>
                  <a:lnTo>
                    <a:pt x="9279" y="21116"/>
                  </a:lnTo>
                  <a:cubicBezTo>
                    <a:pt x="9045" y="21116"/>
                    <a:pt x="8812" y="21116"/>
                    <a:pt x="8578" y="20955"/>
                  </a:cubicBezTo>
                  <a:cubicBezTo>
                    <a:pt x="8344" y="20955"/>
                    <a:pt x="7954" y="20713"/>
                    <a:pt x="7720" y="20713"/>
                  </a:cubicBezTo>
                  <a:cubicBezTo>
                    <a:pt x="7486" y="20713"/>
                    <a:pt x="7486" y="20713"/>
                    <a:pt x="7252" y="20472"/>
                  </a:cubicBezTo>
                  <a:lnTo>
                    <a:pt x="7018" y="20472"/>
                  </a:lnTo>
                  <a:cubicBezTo>
                    <a:pt x="6394" y="20230"/>
                    <a:pt x="5926" y="19988"/>
                    <a:pt x="5536" y="19988"/>
                  </a:cubicBezTo>
                  <a:cubicBezTo>
                    <a:pt x="4835" y="19827"/>
                    <a:pt x="4367" y="19585"/>
                    <a:pt x="3743" y="19101"/>
                  </a:cubicBezTo>
                  <a:cubicBezTo>
                    <a:pt x="1092" y="17490"/>
                    <a:pt x="0" y="15475"/>
                    <a:pt x="0" y="12976"/>
                  </a:cubicBezTo>
                  <a:lnTo>
                    <a:pt x="0" y="0"/>
                  </a:lnTo>
                  <a:cubicBezTo>
                    <a:pt x="0" y="2499"/>
                    <a:pt x="1326" y="4513"/>
                    <a:pt x="3743" y="6125"/>
                  </a:cubicBezTo>
                  <a:cubicBezTo>
                    <a:pt x="4211" y="6367"/>
                    <a:pt x="4835" y="6851"/>
                    <a:pt x="5536" y="7093"/>
                  </a:cubicBezTo>
                  <a:cubicBezTo>
                    <a:pt x="6160" y="7254"/>
                    <a:pt x="6628" y="7496"/>
                    <a:pt x="7252" y="7737"/>
                  </a:cubicBezTo>
                  <a:cubicBezTo>
                    <a:pt x="7486" y="7737"/>
                    <a:pt x="7486" y="7737"/>
                    <a:pt x="7720" y="7979"/>
                  </a:cubicBezTo>
                  <a:cubicBezTo>
                    <a:pt x="8110" y="8221"/>
                    <a:pt x="8578" y="8221"/>
                    <a:pt x="9279" y="8382"/>
                  </a:cubicBezTo>
                  <a:lnTo>
                    <a:pt x="9669" y="8382"/>
                  </a:lnTo>
                  <a:cubicBezTo>
                    <a:pt x="10371" y="8624"/>
                    <a:pt x="10995" y="8624"/>
                    <a:pt x="11697" y="8624"/>
                  </a:cubicBezTo>
                  <a:cubicBezTo>
                    <a:pt x="11697" y="8624"/>
                    <a:pt x="11697" y="8624"/>
                    <a:pt x="11853" y="8624"/>
                  </a:cubicBezTo>
                  <a:lnTo>
                    <a:pt x="16064" y="8624"/>
                  </a:lnTo>
                  <a:cubicBezTo>
                    <a:pt x="16531" y="8624"/>
                    <a:pt x="16921" y="8624"/>
                    <a:pt x="17389" y="8382"/>
                  </a:cubicBezTo>
                  <a:cubicBezTo>
                    <a:pt x="17857" y="8382"/>
                    <a:pt x="18013" y="8382"/>
                    <a:pt x="18481" y="8221"/>
                  </a:cubicBezTo>
                  <a:cubicBezTo>
                    <a:pt x="19339" y="7979"/>
                    <a:pt x="20274" y="7979"/>
                    <a:pt x="21366" y="7737"/>
                  </a:cubicBezTo>
                  <a:cubicBezTo>
                    <a:pt x="21366" y="7737"/>
                    <a:pt x="21600" y="7737"/>
                    <a:pt x="21600" y="7979"/>
                  </a:cubicBezTo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6" name="Shape 1417"/>
            <p:cNvSpPr/>
            <p:nvPr/>
          </p:nvSpPr>
          <p:spPr>
            <a:xfrm>
              <a:off x="245888" y="747912"/>
              <a:ext cx="38476" cy="958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985"/>
                  </a:moveTo>
                  <a:lnTo>
                    <a:pt x="21600" y="21600"/>
                  </a:lnTo>
                  <a:lnTo>
                    <a:pt x="0" y="16719"/>
                  </a:lnTo>
                  <a:lnTo>
                    <a:pt x="0" y="0"/>
                  </a:lnTo>
                  <a:lnTo>
                    <a:pt x="21600" y="4985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7" name="Shape 1418"/>
            <p:cNvSpPr/>
            <p:nvPr/>
          </p:nvSpPr>
          <p:spPr>
            <a:xfrm>
              <a:off x="747912" y="727421"/>
              <a:ext cx="128627" cy="12248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713" y="14727"/>
                  </a:moveTo>
                  <a:cubicBezTo>
                    <a:pt x="5478" y="14727"/>
                    <a:pt x="5243" y="14973"/>
                    <a:pt x="5243" y="14973"/>
                  </a:cubicBezTo>
                  <a:cubicBezTo>
                    <a:pt x="4852" y="15218"/>
                    <a:pt x="4148" y="15464"/>
                    <a:pt x="3757" y="15709"/>
                  </a:cubicBezTo>
                  <a:cubicBezTo>
                    <a:pt x="3052" y="16118"/>
                    <a:pt x="2661" y="16609"/>
                    <a:pt x="2191" y="16855"/>
                  </a:cubicBezTo>
                  <a:cubicBezTo>
                    <a:pt x="1722" y="17264"/>
                    <a:pt x="1330" y="17755"/>
                    <a:pt x="1096" y="18245"/>
                  </a:cubicBezTo>
                  <a:cubicBezTo>
                    <a:pt x="1096" y="18491"/>
                    <a:pt x="1096" y="18491"/>
                    <a:pt x="861" y="18491"/>
                  </a:cubicBezTo>
                  <a:cubicBezTo>
                    <a:pt x="626" y="18818"/>
                    <a:pt x="391" y="19309"/>
                    <a:pt x="157" y="19800"/>
                  </a:cubicBezTo>
                  <a:lnTo>
                    <a:pt x="157" y="19964"/>
                  </a:lnTo>
                  <a:cubicBezTo>
                    <a:pt x="0" y="20455"/>
                    <a:pt x="0" y="21109"/>
                    <a:pt x="0" y="21600"/>
                  </a:cubicBezTo>
                  <a:lnTo>
                    <a:pt x="0" y="8264"/>
                  </a:lnTo>
                  <a:cubicBezTo>
                    <a:pt x="0" y="7855"/>
                    <a:pt x="0" y="7609"/>
                    <a:pt x="157" y="7118"/>
                  </a:cubicBezTo>
                  <a:cubicBezTo>
                    <a:pt x="157" y="6873"/>
                    <a:pt x="157" y="6873"/>
                    <a:pt x="391" y="6709"/>
                  </a:cubicBezTo>
                  <a:lnTo>
                    <a:pt x="391" y="6464"/>
                  </a:lnTo>
                  <a:cubicBezTo>
                    <a:pt x="391" y="6464"/>
                    <a:pt x="391" y="6218"/>
                    <a:pt x="626" y="6218"/>
                  </a:cubicBezTo>
                  <a:cubicBezTo>
                    <a:pt x="861" y="5973"/>
                    <a:pt x="861" y="5564"/>
                    <a:pt x="1096" y="5318"/>
                  </a:cubicBezTo>
                  <a:cubicBezTo>
                    <a:pt x="1096" y="5318"/>
                    <a:pt x="1096" y="5073"/>
                    <a:pt x="1330" y="5073"/>
                  </a:cubicBezTo>
                  <a:cubicBezTo>
                    <a:pt x="1330" y="4827"/>
                    <a:pt x="1330" y="4827"/>
                    <a:pt x="1487" y="4827"/>
                  </a:cubicBezTo>
                  <a:cubicBezTo>
                    <a:pt x="1722" y="4582"/>
                    <a:pt x="1722" y="4582"/>
                    <a:pt x="1722" y="4336"/>
                  </a:cubicBezTo>
                  <a:cubicBezTo>
                    <a:pt x="1957" y="4173"/>
                    <a:pt x="2191" y="3682"/>
                    <a:pt x="2661" y="3436"/>
                  </a:cubicBezTo>
                  <a:cubicBezTo>
                    <a:pt x="3052" y="3027"/>
                    <a:pt x="3522" y="2782"/>
                    <a:pt x="4148" y="2291"/>
                  </a:cubicBezTo>
                  <a:lnTo>
                    <a:pt x="4383" y="2291"/>
                  </a:lnTo>
                  <a:cubicBezTo>
                    <a:pt x="4852" y="2045"/>
                    <a:pt x="5243" y="1800"/>
                    <a:pt x="5948" y="1636"/>
                  </a:cubicBezTo>
                  <a:cubicBezTo>
                    <a:pt x="6183" y="1636"/>
                    <a:pt x="6417" y="1391"/>
                    <a:pt x="6417" y="1391"/>
                  </a:cubicBezTo>
                  <a:cubicBezTo>
                    <a:pt x="6574" y="1145"/>
                    <a:pt x="6809" y="1145"/>
                    <a:pt x="7043" y="1145"/>
                  </a:cubicBezTo>
                  <a:lnTo>
                    <a:pt x="7513" y="1145"/>
                  </a:lnTo>
                  <a:cubicBezTo>
                    <a:pt x="8139" y="900"/>
                    <a:pt x="8609" y="655"/>
                    <a:pt x="9235" y="655"/>
                  </a:cubicBezTo>
                  <a:cubicBezTo>
                    <a:pt x="9470" y="655"/>
                    <a:pt x="9470" y="409"/>
                    <a:pt x="9704" y="409"/>
                  </a:cubicBezTo>
                  <a:lnTo>
                    <a:pt x="9939" y="409"/>
                  </a:lnTo>
                  <a:cubicBezTo>
                    <a:pt x="10096" y="409"/>
                    <a:pt x="10330" y="409"/>
                    <a:pt x="10565" y="245"/>
                  </a:cubicBezTo>
                  <a:cubicBezTo>
                    <a:pt x="11035" y="245"/>
                    <a:pt x="11270" y="0"/>
                    <a:pt x="11661" y="0"/>
                  </a:cubicBezTo>
                  <a:lnTo>
                    <a:pt x="17452" y="0"/>
                  </a:lnTo>
                  <a:cubicBezTo>
                    <a:pt x="17609" y="0"/>
                    <a:pt x="18078" y="0"/>
                    <a:pt x="18313" y="245"/>
                  </a:cubicBezTo>
                  <a:cubicBezTo>
                    <a:pt x="18783" y="245"/>
                    <a:pt x="18939" y="245"/>
                    <a:pt x="19409" y="409"/>
                  </a:cubicBezTo>
                  <a:lnTo>
                    <a:pt x="19878" y="409"/>
                  </a:lnTo>
                  <a:cubicBezTo>
                    <a:pt x="20504" y="409"/>
                    <a:pt x="20974" y="655"/>
                    <a:pt x="21600" y="655"/>
                  </a:cubicBezTo>
                  <a:lnTo>
                    <a:pt x="21600" y="13827"/>
                  </a:lnTo>
                  <a:cubicBezTo>
                    <a:pt x="20974" y="13582"/>
                    <a:pt x="20270" y="13582"/>
                    <a:pt x="19409" y="13418"/>
                  </a:cubicBezTo>
                  <a:cubicBezTo>
                    <a:pt x="18939" y="13418"/>
                    <a:pt x="18783" y="13418"/>
                    <a:pt x="18313" y="13173"/>
                  </a:cubicBezTo>
                  <a:cubicBezTo>
                    <a:pt x="17843" y="13173"/>
                    <a:pt x="17452" y="13173"/>
                    <a:pt x="16983" y="12927"/>
                  </a:cubicBezTo>
                  <a:lnTo>
                    <a:pt x="11896" y="12927"/>
                  </a:lnTo>
                  <a:cubicBezTo>
                    <a:pt x="11426" y="12927"/>
                    <a:pt x="11035" y="13173"/>
                    <a:pt x="10565" y="13173"/>
                  </a:cubicBezTo>
                  <a:cubicBezTo>
                    <a:pt x="10330" y="13173"/>
                    <a:pt x="10096" y="13173"/>
                    <a:pt x="9939" y="13418"/>
                  </a:cubicBezTo>
                  <a:cubicBezTo>
                    <a:pt x="9704" y="13418"/>
                    <a:pt x="9470" y="13418"/>
                    <a:pt x="9235" y="13582"/>
                  </a:cubicBezTo>
                  <a:cubicBezTo>
                    <a:pt x="8609" y="13827"/>
                    <a:pt x="8139" y="13827"/>
                    <a:pt x="7513" y="14073"/>
                  </a:cubicBezTo>
                  <a:cubicBezTo>
                    <a:pt x="6417" y="14564"/>
                    <a:pt x="5948" y="14727"/>
                    <a:pt x="5713" y="14727"/>
                  </a:cubicBez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8" name="Shape 1419"/>
            <p:cNvSpPr/>
            <p:nvPr/>
          </p:nvSpPr>
          <p:spPr>
            <a:xfrm>
              <a:off x="1006915" y="813482"/>
              <a:ext cx="16394" cy="999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350"/>
                  </a:moveTo>
                  <a:lnTo>
                    <a:pt x="21600" y="21600"/>
                  </a:lnTo>
                  <a:cubicBezTo>
                    <a:pt x="21600" y="20692"/>
                    <a:pt x="21600" y="19884"/>
                    <a:pt x="16971" y="18976"/>
                  </a:cubicBezTo>
                  <a:cubicBezTo>
                    <a:pt x="12343" y="18168"/>
                    <a:pt x="7714" y="17260"/>
                    <a:pt x="0" y="16150"/>
                  </a:cubicBezTo>
                  <a:lnTo>
                    <a:pt x="0" y="0"/>
                  </a:lnTo>
                  <a:cubicBezTo>
                    <a:pt x="12343" y="2019"/>
                    <a:pt x="21600" y="3735"/>
                    <a:pt x="21600" y="5350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9" name="Shape 1420"/>
            <p:cNvSpPr/>
            <p:nvPr/>
          </p:nvSpPr>
          <p:spPr>
            <a:xfrm>
              <a:off x="356539" y="958967"/>
              <a:ext cx="267966" cy="1839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2851"/>
                  </a:moveTo>
                  <a:lnTo>
                    <a:pt x="21600" y="21600"/>
                  </a:lnTo>
                  <a:cubicBezTo>
                    <a:pt x="21600" y="18866"/>
                    <a:pt x="19918" y="15585"/>
                    <a:pt x="16667" y="12851"/>
                  </a:cubicBezTo>
                  <a:cubicBezTo>
                    <a:pt x="16219" y="12523"/>
                    <a:pt x="15920" y="12194"/>
                    <a:pt x="15509" y="11921"/>
                  </a:cubicBezTo>
                  <a:cubicBezTo>
                    <a:pt x="15397" y="11757"/>
                    <a:pt x="15284" y="11757"/>
                    <a:pt x="15172" y="11593"/>
                  </a:cubicBezTo>
                  <a:cubicBezTo>
                    <a:pt x="14873" y="11265"/>
                    <a:pt x="14537" y="11155"/>
                    <a:pt x="14238" y="10991"/>
                  </a:cubicBezTo>
                  <a:cubicBezTo>
                    <a:pt x="14126" y="10991"/>
                    <a:pt x="14014" y="10827"/>
                    <a:pt x="13902" y="10827"/>
                  </a:cubicBezTo>
                  <a:lnTo>
                    <a:pt x="11996" y="9898"/>
                  </a:lnTo>
                  <a:cubicBezTo>
                    <a:pt x="11921" y="9898"/>
                    <a:pt x="11921" y="9898"/>
                    <a:pt x="11809" y="9734"/>
                  </a:cubicBezTo>
                  <a:cubicBezTo>
                    <a:pt x="11361" y="9570"/>
                    <a:pt x="10837" y="9406"/>
                    <a:pt x="10426" y="9296"/>
                  </a:cubicBezTo>
                  <a:cubicBezTo>
                    <a:pt x="10314" y="9296"/>
                    <a:pt x="10202" y="9132"/>
                    <a:pt x="10127" y="9132"/>
                  </a:cubicBezTo>
                  <a:cubicBezTo>
                    <a:pt x="9791" y="8968"/>
                    <a:pt x="9567" y="8968"/>
                    <a:pt x="9268" y="8968"/>
                  </a:cubicBezTo>
                  <a:cubicBezTo>
                    <a:pt x="9156" y="8968"/>
                    <a:pt x="8969" y="8968"/>
                    <a:pt x="8857" y="8804"/>
                  </a:cubicBezTo>
                  <a:cubicBezTo>
                    <a:pt x="8633" y="8804"/>
                    <a:pt x="8408" y="8640"/>
                    <a:pt x="8221" y="8640"/>
                  </a:cubicBezTo>
                  <a:cubicBezTo>
                    <a:pt x="7997" y="8640"/>
                    <a:pt x="7885" y="8531"/>
                    <a:pt x="7773" y="8531"/>
                  </a:cubicBezTo>
                  <a:lnTo>
                    <a:pt x="5381" y="8531"/>
                  </a:lnTo>
                  <a:cubicBezTo>
                    <a:pt x="5157" y="8531"/>
                    <a:pt x="5045" y="8531"/>
                    <a:pt x="4933" y="8640"/>
                  </a:cubicBezTo>
                  <a:cubicBezTo>
                    <a:pt x="4821" y="8804"/>
                    <a:pt x="4634" y="8804"/>
                    <a:pt x="4410" y="8804"/>
                  </a:cubicBezTo>
                  <a:cubicBezTo>
                    <a:pt x="4298" y="8804"/>
                    <a:pt x="4111" y="8804"/>
                    <a:pt x="3999" y="8968"/>
                  </a:cubicBezTo>
                  <a:cubicBezTo>
                    <a:pt x="3588" y="9132"/>
                    <a:pt x="3251" y="9296"/>
                    <a:pt x="2952" y="9406"/>
                  </a:cubicBezTo>
                  <a:cubicBezTo>
                    <a:pt x="2728" y="9570"/>
                    <a:pt x="2616" y="9570"/>
                    <a:pt x="2504" y="9734"/>
                  </a:cubicBezTo>
                  <a:cubicBezTo>
                    <a:pt x="2429" y="9734"/>
                    <a:pt x="2317" y="9898"/>
                    <a:pt x="2317" y="9898"/>
                  </a:cubicBezTo>
                  <a:lnTo>
                    <a:pt x="1682" y="10335"/>
                  </a:lnTo>
                  <a:lnTo>
                    <a:pt x="1570" y="10499"/>
                  </a:lnTo>
                  <a:cubicBezTo>
                    <a:pt x="1345" y="10827"/>
                    <a:pt x="1046" y="10991"/>
                    <a:pt x="934" y="11265"/>
                  </a:cubicBezTo>
                  <a:lnTo>
                    <a:pt x="635" y="11757"/>
                  </a:lnTo>
                  <a:cubicBezTo>
                    <a:pt x="523" y="11757"/>
                    <a:pt x="523" y="11921"/>
                    <a:pt x="523" y="11921"/>
                  </a:cubicBezTo>
                  <a:cubicBezTo>
                    <a:pt x="523" y="12030"/>
                    <a:pt x="411" y="12030"/>
                    <a:pt x="411" y="12194"/>
                  </a:cubicBezTo>
                  <a:cubicBezTo>
                    <a:pt x="411" y="12358"/>
                    <a:pt x="299" y="12358"/>
                    <a:pt x="299" y="12523"/>
                  </a:cubicBezTo>
                  <a:cubicBezTo>
                    <a:pt x="187" y="12687"/>
                    <a:pt x="187" y="12687"/>
                    <a:pt x="187" y="12851"/>
                  </a:cubicBezTo>
                  <a:cubicBezTo>
                    <a:pt x="187" y="12960"/>
                    <a:pt x="187" y="12960"/>
                    <a:pt x="75" y="13124"/>
                  </a:cubicBezTo>
                  <a:cubicBezTo>
                    <a:pt x="75" y="13288"/>
                    <a:pt x="0" y="13452"/>
                    <a:pt x="0" y="13452"/>
                  </a:cubicBezTo>
                  <a:lnTo>
                    <a:pt x="0" y="4648"/>
                  </a:lnTo>
                  <a:cubicBezTo>
                    <a:pt x="0" y="4484"/>
                    <a:pt x="75" y="4320"/>
                    <a:pt x="75" y="4320"/>
                  </a:cubicBezTo>
                  <a:lnTo>
                    <a:pt x="75" y="4047"/>
                  </a:lnTo>
                  <a:cubicBezTo>
                    <a:pt x="75" y="3883"/>
                    <a:pt x="187" y="3883"/>
                    <a:pt x="187" y="3718"/>
                  </a:cubicBezTo>
                  <a:cubicBezTo>
                    <a:pt x="187" y="3718"/>
                    <a:pt x="187" y="3554"/>
                    <a:pt x="299" y="3554"/>
                  </a:cubicBezTo>
                  <a:lnTo>
                    <a:pt x="299" y="3390"/>
                  </a:lnTo>
                  <a:cubicBezTo>
                    <a:pt x="299" y="3281"/>
                    <a:pt x="411" y="3281"/>
                    <a:pt x="411" y="3117"/>
                  </a:cubicBezTo>
                  <a:lnTo>
                    <a:pt x="523" y="2953"/>
                  </a:lnTo>
                  <a:lnTo>
                    <a:pt x="822" y="2461"/>
                  </a:lnTo>
                  <a:cubicBezTo>
                    <a:pt x="1046" y="2187"/>
                    <a:pt x="1271" y="2023"/>
                    <a:pt x="1457" y="1695"/>
                  </a:cubicBezTo>
                  <a:lnTo>
                    <a:pt x="1570" y="1695"/>
                  </a:lnTo>
                  <a:cubicBezTo>
                    <a:pt x="1570" y="1695"/>
                    <a:pt x="1682" y="1695"/>
                    <a:pt x="1682" y="1586"/>
                  </a:cubicBezTo>
                  <a:lnTo>
                    <a:pt x="2317" y="1094"/>
                  </a:lnTo>
                  <a:cubicBezTo>
                    <a:pt x="2429" y="1094"/>
                    <a:pt x="2504" y="930"/>
                    <a:pt x="2504" y="930"/>
                  </a:cubicBezTo>
                  <a:cubicBezTo>
                    <a:pt x="2616" y="766"/>
                    <a:pt x="2840" y="766"/>
                    <a:pt x="2952" y="656"/>
                  </a:cubicBezTo>
                  <a:lnTo>
                    <a:pt x="3027" y="656"/>
                  </a:lnTo>
                  <a:cubicBezTo>
                    <a:pt x="3363" y="492"/>
                    <a:pt x="3774" y="328"/>
                    <a:pt x="4111" y="164"/>
                  </a:cubicBezTo>
                  <a:lnTo>
                    <a:pt x="4522" y="164"/>
                  </a:lnTo>
                  <a:cubicBezTo>
                    <a:pt x="4746" y="164"/>
                    <a:pt x="4821" y="0"/>
                    <a:pt x="5045" y="0"/>
                  </a:cubicBezTo>
                  <a:lnTo>
                    <a:pt x="8520" y="0"/>
                  </a:lnTo>
                  <a:cubicBezTo>
                    <a:pt x="8745" y="0"/>
                    <a:pt x="8969" y="164"/>
                    <a:pt x="9156" y="164"/>
                  </a:cubicBezTo>
                  <a:lnTo>
                    <a:pt x="9567" y="164"/>
                  </a:lnTo>
                  <a:cubicBezTo>
                    <a:pt x="9903" y="164"/>
                    <a:pt x="10127" y="328"/>
                    <a:pt x="10426" y="328"/>
                  </a:cubicBezTo>
                  <a:cubicBezTo>
                    <a:pt x="10538" y="328"/>
                    <a:pt x="10651" y="328"/>
                    <a:pt x="10763" y="492"/>
                  </a:cubicBezTo>
                  <a:lnTo>
                    <a:pt x="10837" y="492"/>
                  </a:lnTo>
                  <a:cubicBezTo>
                    <a:pt x="11286" y="656"/>
                    <a:pt x="11809" y="766"/>
                    <a:pt x="12220" y="930"/>
                  </a:cubicBezTo>
                  <a:lnTo>
                    <a:pt x="12332" y="930"/>
                  </a:lnTo>
                  <a:cubicBezTo>
                    <a:pt x="12444" y="930"/>
                    <a:pt x="12444" y="1094"/>
                    <a:pt x="12444" y="1094"/>
                  </a:cubicBezTo>
                  <a:lnTo>
                    <a:pt x="14313" y="2023"/>
                  </a:lnTo>
                  <a:lnTo>
                    <a:pt x="14425" y="2023"/>
                  </a:lnTo>
                  <a:cubicBezTo>
                    <a:pt x="14537" y="2023"/>
                    <a:pt x="14537" y="2187"/>
                    <a:pt x="14649" y="2187"/>
                  </a:cubicBezTo>
                  <a:cubicBezTo>
                    <a:pt x="14948" y="2351"/>
                    <a:pt x="15284" y="2625"/>
                    <a:pt x="15583" y="2789"/>
                  </a:cubicBezTo>
                  <a:cubicBezTo>
                    <a:pt x="15696" y="2953"/>
                    <a:pt x="15808" y="2953"/>
                    <a:pt x="15920" y="3117"/>
                  </a:cubicBezTo>
                  <a:cubicBezTo>
                    <a:pt x="16331" y="3390"/>
                    <a:pt x="16742" y="3718"/>
                    <a:pt x="17078" y="4047"/>
                  </a:cubicBezTo>
                  <a:cubicBezTo>
                    <a:pt x="19918" y="6671"/>
                    <a:pt x="21600" y="9898"/>
                    <a:pt x="21600" y="12851"/>
                  </a:cubicBez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0" name="Shape 1421"/>
            <p:cNvSpPr/>
            <p:nvPr/>
          </p:nvSpPr>
          <p:spPr>
            <a:xfrm>
              <a:off x="321704" y="1028636"/>
              <a:ext cx="40506" cy="97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6639"/>
                  </a:lnTo>
                  <a:lnTo>
                    <a:pt x="0" y="21600"/>
                  </a:lnTo>
                  <a:lnTo>
                    <a:pt x="0" y="4961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1" name="Shape 1422"/>
            <p:cNvSpPr/>
            <p:nvPr/>
          </p:nvSpPr>
          <p:spPr>
            <a:xfrm>
              <a:off x="59423" y="901593"/>
              <a:ext cx="261818" cy="2249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4444"/>
                  </a:moveTo>
                  <a:lnTo>
                    <a:pt x="21600" y="21600"/>
                  </a:lnTo>
                  <a:lnTo>
                    <a:pt x="0" y="7156"/>
                  </a:lnTo>
                  <a:lnTo>
                    <a:pt x="0" y="0"/>
                  </a:lnTo>
                  <a:lnTo>
                    <a:pt x="21600" y="14444"/>
                  </a:ln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2" name="Shape 1423"/>
            <p:cNvSpPr/>
            <p:nvPr/>
          </p:nvSpPr>
          <p:spPr>
            <a:xfrm>
              <a:off x="1086010" y="942574"/>
              <a:ext cx="224935" cy="2064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7850"/>
                  </a:lnTo>
                  <a:lnTo>
                    <a:pt x="0" y="21600"/>
                  </a:lnTo>
                  <a:lnTo>
                    <a:pt x="0" y="13750"/>
                  </a:lnTo>
                  <a:lnTo>
                    <a:pt x="21600" y="0"/>
                  </a:lnTo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3" name="Shape 1424"/>
            <p:cNvSpPr/>
            <p:nvPr/>
          </p:nvSpPr>
          <p:spPr>
            <a:xfrm>
              <a:off x="948721" y="1153629"/>
              <a:ext cx="40506" cy="97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271"/>
                  </a:moveTo>
                  <a:lnTo>
                    <a:pt x="21600" y="21600"/>
                  </a:lnTo>
                  <a:lnTo>
                    <a:pt x="0" y="16639"/>
                  </a:lnTo>
                  <a:lnTo>
                    <a:pt x="0" y="0"/>
                  </a:lnTo>
                  <a:lnTo>
                    <a:pt x="21600" y="5271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4" name="Shape 1425"/>
            <p:cNvSpPr/>
            <p:nvPr/>
          </p:nvSpPr>
          <p:spPr>
            <a:xfrm>
              <a:off x="979458" y="1139285"/>
              <a:ext cx="271717" cy="183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2" h="21600" extrusionOk="0">
                  <a:moveTo>
                    <a:pt x="21490" y="0"/>
                  </a:moveTo>
                  <a:cubicBezTo>
                    <a:pt x="21600" y="271"/>
                    <a:pt x="21600" y="597"/>
                    <a:pt x="21490" y="1357"/>
                  </a:cubicBezTo>
                  <a:lnTo>
                    <a:pt x="21490" y="0"/>
                  </a:lnTo>
                  <a:close/>
                  <a:moveTo>
                    <a:pt x="21490" y="8738"/>
                  </a:moveTo>
                  <a:lnTo>
                    <a:pt x="21490" y="8846"/>
                  </a:lnTo>
                  <a:cubicBezTo>
                    <a:pt x="21490" y="9172"/>
                    <a:pt x="21490" y="9497"/>
                    <a:pt x="21416" y="9660"/>
                  </a:cubicBezTo>
                  <a:cubicBezTo>
                    <a:pt x="21416" y="9769"/>
                    <a:pt x="21416" y="9769"/>
                    <a:pt x="21306" y="9932"/>
                  </a:cubicBezTo>
                  <a:cubicBezTo>
                    <a:pt x="21195" y="10257"/>
                    <a:pt x="21195" y="10420"/>
                    <a:pt x="21195" y="10529"/>
                  </a:cubicBezTo>
                  <a:lnTo>
                    <a:pt x="21195" y="10691"/>
                  </a:lnTo>
                  <a:cubicBezTo>
                    <a:pt x="21085" y="10854"/>
                    <a:pt x="21085" y="11017"/>
                    <a:pt x="20974" y="11180"/>
                  </a:cubicBezTo>
                  <a:cubicBezTo>
                    <a:pt x="20864" y="11343"/>
                    <a:pt x="20864" y="11451"/>
                    <a:pt x="20864" y="11614"/>
                  </a:cubicBezTo>
                  <a:cubicBezTo>
                    <a:pt x="20864" y="11614"/>
                    <a:pt x="20864" y="11777"/>
                    <a:pt x="20790" y="11777"/>
                  </a:cubicBezTo>
                  <a:cubicBezTo>
                    <a:pt x="20680" y="12103"/>
                    <a:pt x="20459" y="12374"/>
                    <a:pt x="20349" y="12699"/>
                  </a:cubicBezTo>
                  <a:cubicBezTo>
                    <a:pt x="20349" y="12862"/>
                    <a:pt x="20275" y="12862"/>
                    <a:pt x="20275" y="13025"/>
                  </a:cubicBezTo>
                  <a:lnTo>
                    <a:pt x="20165" y="13134"/>
                  </a:lnTo>
                  <a:cubicBezTo>
                    <a:pt x="19944" y="13459"/>
                    <a:pt x="19834" y="13785"/>
                    <a:pt x="19650" y="13948"/>
                  </a:cubicBezTo>
                  <a:lnTo>
                    <a:pt x="19429" y="14219"/>
                  </a:lnTo>
                  <a:lnTo>
                    <a:pt x="19208" y="14545"/>
                  </a:lnTo>
                  <a:lnTo>
                    <a:pt x="19024" y="14870"/>
                  </a:lnTo>
                  <a:cubicBezTo>
                    <a:pt x="18803" y="15142"/>
                    <a:pt x="18583" y="15305"/>
                    <a:pt x="18399" y="15630"/>
                  </a:cubicBezTo>
                  <a:cubicBezTo>
                    <a:pt x="18288" y="15739"/>
                    <a:pt x="18067" y="15902"/>
                    <a:pt x="17957" y="16064"/>
                  </a:cubicBezTo>
                  <a:cubicBezTo>
                    <a:pt x="17663" y="16390"/>
                    <a:pt x="17442" y="16553"/>
                    <a:pt x="17148" y="16824"/>
                  </a:cubicBezTo>
                  <a:cubicBezTo>
                    <a:pt x="17037" y="16987"/>
                    <a:pt x="16927" y="16987"/>
                    <a:pt x="16816" y="17150"/>
                  </a:cubicBezTo>
                  <a:cubicBezTo>
                    <a:pt x="16743" y="17313"/>
                    <a:pt x="16632" y="17313"/>
                    <a:pt x="16632" y="17421"/>
                  </a:cubicBezTo>
                  <a:cubicBezTo>
                    <a:pt x="16007" y="18072"/>
                    <a:pt x="15381" y="18507"/>
                    <a:pt x="14645" y="18832"/>
                  </a:cubicBezTo>
                  <a:lnTo>
                    <a:pt x="14535" y="18832"/>
                  </a:lnTo>
                  <a:cubicBezTo>
                    <a:pt x="13909" y="19266"/>
                    <a:pt x="13210" y="19592"/>
                    <a:pt x="12585" y="19918"/>
                  </a:cubicBezTo>
                  <a:cubicBezTo>
                    <a:pt x="12474" y="19918"/>
                    <a:pt x="12474" y="19918"/>
                    <a:pt x="12364" y="20026"/>
                  </a:cubicBezTo>
                  <a:cubicBezTo>
                    <a:pt x="12070" y="20189"/>
                    <a:pt x="11628" y="20352"/>
                    <a:pt x="11334" y="20515"/>
                  </a:cubicBezTo>
                  <a:cubicBezTo>
                    <a:pt x="11223" y="20677"/>
                    <a:pt x="11113" y="20677"/>
                    <a:pt x="10929" y="20677"/>
                  </a:cubicBezTo>
                  <a:cubicBezTo>
                    <a:pt x="10598" y="20840"/>
                    <a:pt x="10303" y="20949"/>
                    <a:pt x="9972" y="20949"/>
                  </a:cubicBezTo>
                  <a:cubicBezTo>
                    <a:pt x="9862" y="20949"/>
                    <a:pt x="9751" y="20949"/>
                    <a:pt x="9751" y="21112"/>
                  </a:cubicBezTo>
                  <a:lnTo>
                    <a:pt x="9678" y="21112"/>
                  </a:lnTo>
                  <a:cubicBezTo>
                    <a:pt x="9236" y="21274"/>
                    <a:pt x="8721" y="21274"/>
                    <a:pt x="8316" y="21437"/>
                  </a:cubicBezTo>
                  <a:lnTo>
                    <a:pt x="7911" y="21437"/>
                  </a:lnTo>
                  <a:cubicBezTo>
                    <a:pt x="7691" y="21437"/>
                    <a:pt x="7470" y="21600"/>
                    <a:pt x="7175" y="21600"/>
                  </a:cubicBezTo>
                  <a:lnTo>
                    <a:pt x="5299" y="21600"/>
                  </a:lnTo>
                  <a:cubicBezTo>
                    <a:pt x="5188" y="21600"/>
                    <a:pt x="5078" y="21600"/>
                    <a:pt x="4894" y="21437"/>
                  </a:cubicBezTo>
                  <a:lnTo>
                    <a:pt x="4563" y="21437"/>
                  </a:lnTo>
                  <a:cubicBezTo>
                    <a:pt x="4379" y="21437"/>
                    <a:pt x="4158" y="21274"/>
                    <a:pt x="3937" y="21274"/>
                  </a:cubicBezTo>
                  <a:lnTo>
                    <a:pt x="3864" y="21274"/>
                  </a:lnTo>
                  <a:cubicBezTo>
                    <a:pt x="3643" y="21274"/>
                    <a:pt x="3422" y="21112"/>
                    <a:pt x="3312" y="21112"/>
                  </a:cubicBezTo>
                  <a:lnTo>
                    <a:pt x="3238" y="21112"/>
                  </a:lnTo>
                  <a:cubicBezTo>
                    <a:pt x="3128" y="21112"/>
                    <a:pt x="3017" y="20949"/>
                    <a:pt x="2907" y="20949"/>
                  </a:cubicBezTo>
                  <a:cubicBezTo>
                    <a:pt x="2797" y="20949"/>
                    <a:pt x="2723" y="20840"/>
                    <a:pt x="2613" y="20840"/>
                  </a:cubicBezTo>
                  <a:lnTo>
                    <a:pt x="2502" y="20840"/>
                  </a:lnTo>
                  <a:cubicBezTo>
                    <a:pt x="2171" y="20677"/>
                    <a:pt x="1987" y="20515"/>
                    <a:pt x="1766" y="20352"/>
                  </a:cubicBezTo>
                  <a:cubicBezTo>
                    <a:pt x="515" y="19266"/>
                    <a:pt x="0" y="17910"/>
                    <a:pt x="0" y="16227"/>
                  </a:cubicBezTo>
                  <a:lnTo>
                    <a:pt x="0" y="7489"/>
                  </a:lnTo>
                  <a:cubicBezTo>
                    <a:pt x="0" y="9172"/>
                    <a:pt x="626" y="10529"/>
                    <a:pt x="1766" y="11614"/>
                  </a:cubicBezTo>
                  <a:cubicBezTo>
                    <a:pt x="1987" y="11777"/>
                    <a:pt x="2281" y="11940"/>
                    <a:pt x="2502" y="12103"/>
                  </a:cubicBezTo>
                  <a:cubicBezTo>
                    <a:pt x="2613" y="12265"/>
                    <a:pt x="2723" y="12265"/>
                    <a:pt x="2907" y="12265"/>
                  </a:cubicBezTo>
                  <a:cubicBezTo>
                    <a:pt x="3017" y="12265"/>
                    <a:pt x="3128" y="12374"/>
                    <a:pt x="3238" y="12374"/>
                  </a:cubicBezTo>
                  <a:cubicBezTo>
                    <a:pt x="3422" y="12537"/>
                    <a:pt x="3643" y="12537"/>
                    <a:pt x="3864" y="12699"/>
                  </a:cubicBezTo>
                  <a:lnTo>
                    <a:pt x="3937" y="12699"/>
                  </a:lnTo>
                  <a:cubicBezTo>
                    <a:pt x="4158" y="12862"/>
                    <a:pt x="4489" y="12862"/>
                    <a:pt x="4673" y="12862"/>
                  </a:cubicBezTo>
                  <a:lnTo>
                    <a:pt x="4894" y="12862"/>
                  </a:lnTo>
                  <a:cubicBezTo>
                    <a:pt x="5078" y="12862"/>
                    <a:pt x="5299" y="13025"/>
                    <a:pt x="5409" y="13025"/>
                  </a:cubicBezTo>
                  <a:lnTo>
                    <a:pt x="7065" y="13025"/>
                  </a:lnTo>
                  <a:cubicBezTo>
                    <a:pt x="7286" y="13025"/>
                    <a:pt x="7470" y="13025"/>
                    <a:pt x="7801" y="12862"/>
                  </a:cubicBezTo>
                  <a:lnTo>
                    <a:pt x="8206" y="12862"/>
                  </a:lnTo>
                  <a:cubicBezTo>
                    <a:pt x="8611" y="12699"/>
                    <a:pt x="9163" y="12699"/>
                    <a:pt x="9567" y="12537"/>
                  </a:cubicBezTo>
                  <a:cubicBezTo>
                    <a:pt x="9678" y="12537"/>
                    <a:pt x="9751" y="12537"/>
                    <a:pt x="9862" y="12374"/>
                  </a:cubicBezTo>
                  <a:cubicBezTo>
                    <a:pt x="10193" y="12265"/>
                    <a:pt x="10487" y="12265"/>
                    <a:pt x="10818" y="12103"/>
                  </a:cubicBezTo>
                  <a:cubicBezTo>
                    <a:pt x="10929" y="11940"/>
                    <a:pt x="11002" y="11940"/>
                    <a:pt x="11223" y="11940"/>
                  </a:cubicBezTo>
                  <a:cubicBezTo>
                    <a:pt x="11518" y="11777"/>
                    <a:pt x="11959" y="11614"/>
                    <a:pt x="12253" y="11451"/>
                  </a:cubicBezTo>
                  <a:cubicBezTo>
                    <a:pt x="12364" y="11451"/>
                    <a:pt x="12364" y="11451"/>
                    <a:pt x="12474" y="11343"/>
                  </a:cubicBezTo>
                  <a:cubicBezTo>
                    <a:pt x="13100" y="11017"/>
                    <a:pt x="13836" y="10691"/>
                    <a:pt x="14425" y="10257"/>
                  </a:cubicBezTo>
                  <a:lnTo>
                    <a:pt x="14535" y="10257"/>
                  </a:lnTo>
                  <a:cubicBezTo>
                    <a:pt x="15160" y="9769"/>
                    <a:pt x="15896" y="9335"/>
                    <a:pt x="16522" y="8846"/>
                  </a:cubicBezTo>
                  <a:cubicBezTo>
                    <a:pt x="16743" y="8738"/>
                    <a:pt x="16816" y="8575"/>
                    <a:pt x="17037" y="8412"/>
                  </a:cubicBezTo>
                  <a:cubicBezTo>
                    <a:pt x="17332" y="8086"/>
                    <a:pt x="17552" y="7978"/>
                    <a:pt x="17883" y="7652"/>
                  </a:cubicBezTo>
                  <a:cubicBezTo>
                    <a:pt x="17957" y="7489"/>
                    <a:pt x="18178" y="7327"/>
                    <a:pt x="18288" y="7164"/>
                  </a:cubicBezTo>
                  <a:cubicBezTo>
                    <a:pt x="18509" y="6892"/>
                    <a:pt x="18693" y="6730"/>
                    <a:pt x="18914" y="6404"/>
                  </a:cubicBezTo>
                  <a:cubicBezTo>
                    <a:pt x="19024" y="6241"/>
                    <a:pt x="19208" y="6133"/>
                    <a:pt x="19319" y="5970"/>
                  </a:cubicBezTo>
                  <a:lnTo>
                    <a:pt x="19539" y="5644"/>
                  </a:lnTo>
                  <a:cubicBezTo>
                    <a:pt x="19723" y="5373"/>
                    <a:pt x="19834" y="5047"/>
                    <a:pt x="20055" y="4884"/>
                  </a:cubicBezTo>
                  <a:cubicBezTo>
                    <a:pt x="20165" y="4884"/>
                    <a:pt x="20165" y="4722"/>
                    <a:pt x="20165" y="4722"/>
                  </a:cubicBezTo>
                  <a:lnTo>
                    <a:pt x="20349" y="4450"/>
                  </a:lnTo>
                  <a:cubicBezTo>
                    <a:pt x="20459" y="4125"/>
                    <a:pt x="20680" y="3799"/>
                    <a:pt x="20790" y="3528"/>
                  </a:cubicBezTo>
                  <a:cubicBezTo>
                    <a:pt x="20864" y="3365"/>
                    <a:pt x="20864" y="3202"/>
                    <a:pt x="20974" y="2876"/>
                  </a:cubicBezTo>
                  <a:cubicBezTo>
                    <a:pt x="21085" y="2768"/>
                    <a:pt x="21085" y="2605"/>
                    <a:pt x="21195" y="2442"/>
                  </a:cubicBezTo>
                  <a:cubicBezTo>
                    <a:pt x="21306" y="2117"/>
                    <a:pt x="21306" y="1954"/>
                    <a:pt x="21416" y="1682"/>
                  </a:cubicBezTo>
                  <a:cubicBezTo>
                    <a:pt x="21416" y="1520"/>
                    <a:pt x="21490" y="1520"/>
                    <a:pt x="21490" y="1357"/>
                  </a:cubicBezTo>
                  <a:lnTo>
                    <a:pt x="21490" y="8738"/>
                  </a:lnTo>
                  <a:close/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5" name="Shape 1426"/>
            <p:cNvSpPr/>
            <p:nvPr/>
          </p:nvSpPr>
          <p:spPr>
            <a:xfrm>
              <a:off x="723323" y="1153629"/>
              <a:ext cx="224936" cy="2064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7850"/>
                  </a:lnTo>
                  <a:lnTo>
                    <a:pt x="0" y="21600"/>
                  </a:lnTo>
                  <a:lnTo>
                    <a:pt x="0" y="13750"/>
                  </a:lnTo>
                  <a:lnTo>
                    <a:pt x="21600" y="0"/>
                  </a:lnTo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6" name="Shape 1427"/>
            <p:cNvSpPr/>
            <p:nvPr/>
          </p:nvSpPr>
          <p:spPr>
            <a:xfrm>
              <a:off x="461042" y="1133138"/>
              <a:ext cx="261819" cy="2249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4430"/>
                  </a:moveTo>
                  <a:lnTo>
                    <a:pt x="21600" y="21600"/>
                  </a:lnTo>
                  <a:lnTo>
                    <a:pt x="0" y="7037"/>
                  </a:lnTo>
                  <a:lnTo>
                    <a:pt x="115" y="0"/>
                  </a:lnTo>
                  <a:lnTo>
                    <a:pt x="21600" y="14430"/>
                  </a:ln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7" name="Shape 1428"/>
            <p:cNvSpPr/>
            <p:nvPr/>
          </p:nvSpPr>
          <p:spPr>
            <a:xfrm>
              <a:off x="57374" y="559397"/>
              <a:ext cx="1251521" cy="7249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24" y="19457"/>
                  </a:moveTo>
                  <a:cubicBezTo>
                    <a:pt x="18458" y="20508"/>
                    <a:pt x="17007" y="20826"/>
                    <a:pt x="16286" y="20120"/>
                  </a:cubicBezTo>
                  <a:cubicBezTo>
                    <a:pt x="15877" y="19692"/>
                    <a:pt x="15789" y="19069"/>
                    <a:pt x="16014" y="18364"/>
                  </a:cubicBezTo>
                  <a:lnTo>
                    <a:pt x="15332" y="17700"/>
                  </a:lnTo>
                  <a:lnTo>
                    <a:pt x="11445" y="21600"/>
                  </a:lnTo>
                  <a:lnTo>
                    <a:pt x="6925" y="17106"/>
                  </a:lnTo>
                  <a:lnTo>
                    <a:pt x="7574" y="16456"/>
                  </a:lnTo>
                  <a:cubicBezTo>
                    <a:pt x="8279" y="16677"/>
                    <a:pt x="8937" y="16608"/>
                    <a:pt x="9345" y="16179"/>
                  </a:cubicBezTo>
                  <a:cubicBezTo>
                    <a:pt x="10067" y="15474"/>
                    <a:pt x="9746" y="13994"/>
                    <a:pt x="8688" y="12943"/>
                  </a:cubicBezTo>
                  <a:cubicBezTo>
                    <a:pt x="7598" y="11879"/>
                    <a:pt x="6155" y="11574"/>
                    <a:pt x="5450" y="12280"/>
                  </a:cubicBezTo>
                  <a:cubicBezTo>
                    <a:pt x="5041" y="12708"/>
                    <a:pt x="4977" y="13372"/>
                    <a:pt x="5178" y="14036"/>
                  </a:cubicBezTo>
                  <a:lnTo>
                    <a:pt x="4520" y="14700"/>
                  </a:lnTo>
                  <a:lnTo>
                    <a:pt x="0" y="10205"/>
                  </a:lnTo>
                  <a:lnTo>
                    <a:pt x="3887" y="6320"/>
                  </a:lnTo>
                  <a:lnTo>
                    <a:pt x="3214" y="5656"/>
                  </a:lnTo>
                  <a:cubicBezTo>
                    <a:pt x="2509" y="5891"/>
                    <a:pt x="1851" y="5808"/>
                    <a:pt x="1451" y="5379"/>
                  </a:cubicBezTo>
                  <a:cubicBezTo>
                    <a:pt x="721" y="4674"/>
                    <a:pt x="1018" y="3194"/>
                    <a:pt x="2084" y="2143"/>
                  </a:cubicBezTo>
                  <a:cubicBezTo>
                    <a:pt x="3142" y="1092"/>
                    <a:pt x="4593" y="774"/>
                    <a:pt x="5314" y="1480"/>
                  </a:cubicBezTo>
                  <a:cubicBezTo>
                    <a:pt x="5723" y="1908"/>
                    <a:pt x="5811" y="2572"/>
                    <a:pt x="5586" y="3236"/>
                  </a:cubicBezTo>
                  <a:lnTo>
                    <a:pt x="6268" y="3900"/>
                  </a:lnTo>
                  <a:lnTo>
                    <a:pt x="10155" y="0"/>
                  </a:lnTo>
                  <a:lnTo>
                    <a:pt x="14683" y="4480"/>
                  </a:lnTo>
                  <a:lnTo>
                    <a:pt x="14026" y="5144"/>
                  </a:lnTo>
                  <a:cubicBezTo>
                    <a:pt x="13321" y="4909"/>
                    <a:pt x="12663" y="4992"/>
                    <a:pt x="12263" y="5421"/>
                  </a:cubicBezTo>
                  <a:cubicBezTo>
                    <a:pt x="11557" y="6126"/>
                    <a:pt x="11854" y="7606"/>
                    <a:pt x="12912" y="8643"/>
                  </a:cubicBezTo>
                  <a:cubicBezTo>
                    <a:pt x="14002" y="9694"/>
                    <a:pt x="15453" y="10012"/>
                    <a:pt x="16150" y="9307"/>
                  </a:cubicBezTo>
                  <a:cubicBezTo>
                    <a:pt x="16559" y="8878"/>
                    <a:pt x="16623" y="8256"/>
                    <a:pt x="16422" y="7564"/>
                  </a:cubicBezTo>
                  <a:lnTo>
                    <a:pt x="17080" y="6900"/>
                  </a:lnTo>
                  <a:lnTo>
                    <a:pt x="21600" y="11381"/>
                  </a:lnTo>
                  <a:lnTo>
                    <a:pt x="17713" y="15280"/>
                  </a:lnTo>
                  <a:lnTo>
                    <a:pt x="18386" y="15944"/>
                  </a:lnTo>
                  <a:cubicBezTo>
                    <a:pt x="19091" y="15709"/>
                    <a:pt x="19749" y="15792"/>
                    <a:pt x="20157" y="16221"/>
                  </a:cubicBezTo>
                  <a:cubicBezTo>
                    <a:pt x="20903" y="16912"/>
                    <a:pt x="20606" y="18406"/>
                    <a:pt x="19524" y="19457"/>
                  </a:cubicBezTo>
                </a:path>
              </a:pathLst>
            </a:custGeom>
            <a:solidFill>
              <a:srgbClr val="FAFFE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8" name="Shape 1429"/>
            <p:cNvSpPr/>
            <p:nvPr/>
          </p:nvSpPr>
          <p:spPr>
            <a:xfrm>
              <a:off x="1309359" y="1565493"/>
              <a:ext cx="34364" cy="487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8514"/>
                  </a:moveTo>
                  <a:lnTo>
                    <a:pt x="0" y="15634"/>
                  </a:lnTo>
                  <a:cubicBezTo>
                    <a:pt x="0" y="15634"/>
                    <a:pt x="5918" y="12754"/>
                    <a:pt x="5030" y="6994"/>
                  </a:cubicBezTo>
                  <a:cubicBezTo>
                    <a:pt x="5030" y="1234"/>
                    <a:pt x="11540" y="0"/>
                    <a:pt x="11540" y="0"/>
                  </a:cubicBezTo>
                  <a:lnTo>
                    <a:pt x="16570" y="2263"/>
                  </a:lnTo>
                  <a:lnTo>
                    <a:pt x="21600" y="11726"/>
                  </a:lnTo>
                  <a:lnTo>
                    <a:pt x="8581" y="21600"/>
                  </a:lnTo>
                  <a:lnTo>
                    <a:pt x="0" y="18514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9" name="Shape 1430"/>
            <p:cNvSpPr/>
            <p:nvPr/>
          </p:nvSpPr>
          <p:spPr>
            <a:xfrm>
              <a:off x="1298343" y="1561395"/>
              <a:ext cx="63828" cy="610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76" h="21600" extrusionOk="0">
                  <a:moveTo>
                    <a:pt x="9913" y="4710"/>
                  </a:moveTo>
                  <a:cubicBezTo>
                    <a:pt x="9450" y="974"/>
                    <a:pt x="13307" y="0"/>
                    <a:pt x="13307" y="0"/>
                  </a:cubicBezTo>
                  <a:cubicBezTo>
                    <a:pt x="13307" y="0"/>
                    <a:pt x="17319" y="2111"/>
                    <a:pt x="18553" y="5197"/>
                  </a:cubicBezTo>
                  <a:cubicBezTo>
                    <a:pt x="19942" y="8445"/>
                    <a:pt x="19942" y="11044"/>
                    <a:pt x="21176" y="12830"/>
                  </a:cubicBezTo>
                  <a:lnTo>
                    <a:pt x="17627" y="15266"/>
                  </a:lnTo>
                  <a:lnTo>
                    <a:pt x="15467" y="13805"/>
                  </a:lnTo>
                  <a:cubicBezTo>
                    <a:pt x="15467" y="13805"/>
                    <a:pt x="15467" y="15591"/>
                    <a:pt x="13770" y="17540"/>
                  </a:cubicBezTo>
                  <a:cubicBezTo>
                    <a:pt x="12073" y="19326"/>
                    <a:pt x="3896" y="21600"/>
                    <a:pt x="3896" y="21600"/>
                  </a:cubicBezTo>
                  <a:cubicBezTo>
                    <a:pt x="3896" y="21600"/>
                    <a:pt x="502" y="21113"/>
                    <a:pt x="39" y="18839"/>
                  </a:cubicBezTo>
                  <a:cubicBezTo>
                    <a:pt x="-424" y="16078"/>
                    <a:pt x="3433" y="13317"/>
                    <a:pt x="3433" y="13317"/>
                  </a:cubicBezTo>
                  <a:cubicBezTo>
                    <a:pt x="3433" y="13317"/>
                    <a:pt x="5285" y="16078"/>
                    <a:pt x="7445" y="14292"/>
                  </a:cubicBezTo>
                  <a:cubicBezTo>
                    <a:pt x="8987" y="12830"/>
                    <a:pt x="10685" y="7795"/>
                    <a:pt x="9913" y="4710"/>
                  </a:cubicBezTo>
                </a:path>
              </a:pathLst>
            </a:custGeom>
            <a:solidFill>
              <a:srgbClr val="6F7C76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0" name="Shape 1431"/>
            <p:cNvSpPr/>
            <p:nvPr/>
          </p:nvSpPr>
          <p:spPr>
            <a:xfrm>
              <a:off x="1139285" y="1609980"/>
              <a:ext cx="42564" cy="390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9821" extrusionOk="0">
                  <a:moveTo>
                    <a:pt x="0" y="13175"/>
                  </a:moveTo>
                  <a:lnTo>
                    <a:pt x="2136" y="10326"/>
                  </a:lnTo>
                  <a:cubicBezTo>
                    <a:pt x="2136" y="10326"/>
                    <a:pt x="7596" y="10326"/>
                    <a:pt x="10919" y="4392"/>
                  </a:cubicBezTo>
                  <a:cubicBezTo>
                    <a:pt x="14242" y="-1779"/>
                    <a:pt x="19464" y="357"/>
                    <a:pt x="19464" y="357"/>
                  </a:cubicBezTo>
                  <a:lnTo>
                    <a:pt x="21600" y="5105"/>
                  </a:lnTo>
                  <a:lnTo>
                    <a:pt x="18989" y="16498"/>
                  </a:lnTo>
                  <a:lnTo>
                    <a:pt x="4035" y="19821"/>
                  </a:lnTo>
                  <a:lnTo>
                    <a:pt x="0" y="13175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1" name="Shape 1432"/>
            <p:cNvSpPr/>
            <p:nvPr/>
          </p:nvSpPr>
          <p:spPr>
            <a:xfrm>
              <a:off x="1127130" y="1615586"/>
              <a:ext cx="69245" cy="443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04" h="19663" extrusionOk="0">
                  <a:moveTo>
                    <a:pt x="14120" y="2632"/>
                  </a:moveTo>
                  <a:cubicBezTo>
                    <a:pt x="14803" y="-1314"/>
                    <a:pt x="18768" y="348"/>
                    <a:pt x="18768" y="348"/>
                  </a:cubicBezTo>
                  <a:cubicBezTo>
                    <a:pt x="18768" y="348"/>
                    <a:pt x="20955" y="5748"/>
                    <a:pt x="20271" y="9694"/>
                  </a:cubicBezTo>
                  <a:cubicBezTo>
                    <a:pt x="19451" y="13848"/>
                    <a:pt x="17947" y="16755"/>
                    <a:pt x="18358" y="19663"/>
                  </a:cubicBezTo>
                  <a:lnTo>
                    <a:pt x="14803" y="19663"/>
                  </a:lnTo>
                  <a:lnTo>
                    <a:pt x="14120" y="16755"/>
                  </a:lnTo>
                  <a:cubicBezTo>
                    <a:pt x="14120" y="16755"/>
                    <a:pt x="13299" y="18001"/>
                    <a:pt x="10975" y="19040"/>
                  </a:cubicBezTo>
                  <a:cubicBezTo>
                    <a:pt x="8651" y="20286"/>
                    <a:pt x="1679" y="16132"/>
                    <a:pt x="1679" y="16132"/>
                  </a:cubicBezTo>
                  <a:cubicBezTo>
                    <a:pt x="1679" y="16132"/>
                    <a:pt x="-645" y="12601"/>
                    <a:pt x="175" y="9694"/>
                  </a:cubicBezTo>
                  <a:cubicBezTo>
                    <a:pt x="996" y="6786"/>
                    <a:pt x="5233" y="6786"/>
                    <a:pt x="5233" y="6786"/>
                  </a:cubicBezTo>
                  <a:cubicBezTo>
                    <a:pt x="5233" y="6786"/>
                    <a:pt x="5233" y="10940"/>
                    <a:pt x="7558" y="10940"/>
                  </a:cubicBezTo>
                  <a:cubicBezTo>
                    <a:pt x="9882" y="10940"/>
                    <a:pt x="12889" y="6786"/>
                    <a:pt x="14120" y="2632"/>
                  </a:cubicBezTo>
                </a:path>
              </a:pathLst>
            </a:custGeom>
            <a:solidFill>
              <a:srgbClr val="6F7C76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2" name="Shape 1433"/>
            <p:cNvSpPr/>
            <p:nvPr/>
          </p:nvSpPr>
          <p:spPr>
            <a:xfrm>
              <a:off x="1234429" y="1333948"/>
              <a:ext cx="113397" cy="2513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90" h="21064" extrusionOk="0">
                  <a:moveTo>
                    <a:pt x="2321" y="2098"/>
                  </a:moveTo>
                  <a:lnTo>
                    <a:pt x="10740" y="0"/>
                  </a:lnTo>
                  <a:cubicBezTo>
                    <a:pt x="10740" y="0"/>
                    <a:pt x="14567" y="2331"/>
                    <a:pt x="12101" y="4196"/>
                  </a:cubicBezTo>
                  <a:cubicBezTo>
                    <a:pt x="9975" y="5711"/>
                    <a:pt x="10230" y="8896"/>
                    <a:pt x="10230" y="9557"/>
                  </a:cubicBezTo>
                  <a:cubicBezTo>
                    <a:pt x="10230" y="9557"/>
                    <a:pt x="11676" y="10528"/>
                    <a:pt x="12866" y="11732"/>
                  </a:cubicBezTo>
                  <a:cubicBezTo>
                    <a:pt x="14057" y="12937"/>
                    <a:pt x="19244" y="18647"/>
                    <a:pt x="20690" y="19424"/>
                  </a:cubicBezTo>
                  <a:cubicBezTo>
                    <a:pt x="20690" y="19424"/>
                    <a:pt x="17373" y="21600"/>
                    <a:pt x="14567" y="20940"/>
                  </a:cubicBezTo>
                  <a:cubicBezTo>
                    <a:pt x="14567" y="20940"/>
                    <a:pt x="3427" y="12859"/>
                    <a:pt x="1301" y="11965"/>
                  </a:cubicBezTo>
                  <a:cubicBezTo>
                    <a:pt x="-910" y="11072"/>
                    <a:pt x="366" y="4740"/>
                    <a:pt x="366" y="4740"/>
                  </a:cubicBezTo>
                  <a:lnTo>
                    <a:pt x="2321" y="2098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3" name="Shape 1434"/>
            <p:cNvSpPr/>
            <p:nvPr/>
          </p:nvSpPr>
          <p:spPr>
            <a:xfrm>
              <a:off x="1158191" y="1350197"/>
              <a:ext cx="105562" cy="2719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951" h="19936" extrusionOk="0">
                  <a:moveTo>
                    <a:pt x="19369" y="563"/>
                  </a:moveTo>
                  <a:cubicBezTo>
                    <a:pt x="21125" y="2604"/>
                    <a:pt x="18579" y="4611"/>
                    <a:pt x="16120" y="5189"/>
                  </a:cubicBezTo>
                  <a:cubicBezTo>
                    <a:pt x="13662" y="5767"/>
                    <a:pt x="8920" y="9407"/>
                    <a:pt x="8920" y="9407"/>
                  </a:cubicBezTo>
                  <a:cubicBezTo>
                    <a:pt x="9974" y="11414"/>
                    <a:pt x="7954" y="16210"/>
                    <a:pt x="6988" y="17469"/>
                  </a:cubicBezTo>
                  <a:cubicBezTo>
                    <a:pt x="6023" y="18795"/>
                    <a:pt x="6725" y="19782"/>
                    <a:pt x="6725" y="19782"/>
                  </a:cubicBezTo>
                  <a:cubicBezTo>
                    <a:pt x="4003" y="20258"/>
                    <a:pt x="52" y="19476"/>
                    <a:pt x="52" y="19476"/>
                  </a:cubicBezTo>
                  <a:cubicBezTo>
                    <a:pt x="52" y="19476"/>
                    <a:pt x="315" y="16108"/>
                    <a:pt x="315" y="13931"/>
                  </a:cubicBezTo>
                  <a:cubicBezTo>
                    <a:pt x="491" y="11618"/>
                    <a:pt x="-475" y="9611"/>
                    <a:pt x="315" y="8046"/>
                  </a:cubicBezTo>
                  <a:cubicBezTo>
                    <a:pt x="1018" y="6618"/>
                    <a:pt x="6198" y="2196"/>
                    <a:pt x="6198" y="2196"/>
                  </a:cubicBezTo>
                  <a:cubicBezTo>
                    <a:pt x="6198" y="2196"/>
                    <a:pt x="17613" y="-1342"/>
                    <a:pt x="19369" y="563"/>
                  </a:cubicBezTo>
                </a:path>
              </a:pathLst>
            </a:custGeom>
            <a:solidFill>
              <a:srgbClr val="52858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4" name="Shape 1435"/>
            <p:cNvSpPr/>
            <p:nvPr/>
          </p:nvSpPr>
          <p:spPr>
            <a:xfrm>
              <a:off x="1233543" y="1180267"/>
              <a:ext cx="26172" cy="220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6300"/>
                  </a:moveTo>
                  <a:lnTo>
                    <a:pt x="18514" y="0"/>
                  </a:lnTo>
                  <a:lnTo>
                    <a:pt x="21600" y="16650"/>
                  </a:lnTo>
                  <a:lnTo>
                    <a:pt x="1157" y="21600"/>
                  </a:lnTo>
                  <a:lnTo>
                    <a:pt x="0" y="6300"/>
                  </a:lnTo>
                </a:path>
              </a:pathLst>
            </a:custGeom>
            <a:solidFill>
              <a:srgbClr val="FFFF7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5" name="Shape 1436"/>
            <p:cNvSpPr/>
            <p:nvPr/>
          </p:nvSpPr>
          <p:spPr>
            <a:xfrm>
              <a:off x="1192848" y="1194611"/>
              <a:ext cx="114000" cy="1942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46" h="19922" extrusionOk="0">
                  <a:moveTo>
                    <a:pt x="17871" y="10800"/>
                  </a:moveTo>
                  <a:cubicBezTo>
                    <a:pt x="17871" y="12425"/>
                    <a:pt x="20446" y="16726"/>
                    <a:pt x="20446" y="16726"/>
                  </a:cubicBezTo>
                  <a:cubicBezTo>
                    <a:pt x="15295" y="21600"/>
                    <a:pt x="923" y="19450"/>
                    <a:pt x="923" y="19450"/>
                  </a:cubicBezTo>
                  <a:cubicBezTo>
                    <a:pt x="923" y="19450"/>
                    <a:pt x="-1154" y="19688"/>
                    <a:pt x="923" y="17825"/>
                  </a:cubicBezTo>
                  <a:cubicBezTo>
                    <a:pt x="3083" y="16057"/>
                    <a:pt x="4911" y="11612"/>
                    <a:pt x="2834" y="7168"/>
                  </a:cubicBezTo>
                  <a:cubicBezTo>
                    <a:pt x="923" y="2724"/>
                    <a:pt x="923" y="4444"/>
                    <a:pt x="2335" y="2963"/>
                  </a:cubicBezTo>
                  <a:cubicBezTo>
                    <a:pt x="3581" y="1768"/>
                    <a:pt x="7569" y="0"/>
                    <a:pt x="11474" y="0"/>
                  </a:cubicBezTo>
                  <a:cubicBezTo>
                    <a:pt x="15711" y="0"/>
                    <a:pt x="18120" y="1912"/>
                    <a:pt x="18120" y="1912"/>
                  </a:cubicBezTo>
                  <a:cubicBezTo>
                    <a:pt x="18286" y="3393"/>
                    <a:pt x="17871" y="9175"/>
                    <a:pt x="17871" y="10800"/>
                  </a:cubicBezTo>
                </a:path>
              </a:pathLst>
            </a:custGeom>
            <a:solidFill>
              <a:srgbClr val="699A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6" name="Shape 1437"/>
            <p:cNvSpPr/>
            <p:nvPr/>
          </p:nvSpPr>
          <p:spPr>
            <a:xfrm>
              <a:off x="1115176" y="1212667"/>
              <a:ext cx="124217" cy="1147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15" h="19577" extrusionOk="0">
                  <a:moveTo>
                    <a:pt x="20021" y="5570"/>
                  </a:moveTo>
                  <a:cubicBezTo>
                    <a:pt x="18960" y="10034"/>
                    <a:pt x="17217" y="10512"/>
                    <a:pt x="16383" y="12026"/>
                  </a:cubicBezTo>
                  <a:cubicBezTo>
                    <a:pt x="13428" y="16968"/>
                    <a:pt x="11457" y="18562"/>
                    <a:pt x="5091" y="19518"/>
                  </a:cubicBezTo>
                  <a:cubicBezTo>
                    <a:pt x="2287" y="19917"/>
                    <a:pt x="-745" y="18163"/>
                    <a:pt x="164" y="17924"/>
                  </a:cubicBezTo>
                  <a:cubicBezTo>
                    <a:pt x="4863" y="16569"/>
                    <a:pt x="9790" y="13142"/>
                    <a:pt x="10396" y="10910"/>
                  </a:cubicBezTo>
                  <a:cubicBezTo>
                    <a:pt x="10623" y="10512"/>
                    <a:pt x="11912" y="8041"/>
                    <a:pt x="12367" y="7085"/>
                  </a:cubicBezTo>
                  <a:cubicBezTo>
                    <a:pt x="13200" y="5092"/>
                    <a:pt x="14489" y="-1683"/>
                    <a:pt x="18733" y="389"/>
                  </a:cubicBezTo>
                  <a:cubicBezTo>
                    <a:pt x="18733" y="389"/>
                    <a:pt x="20855" y="1505"/>
                    <a:pt x="20021" y="557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7" name="Shape 1438"/>
            <p:cNvSpPr/>
            <p:nvPr/>
          </p:nvSpPr>
          <p:spPr>
            <a:xfrm>
              <a:off x="1213717" y="1141334"/>
              <a:ext cx="45366" cy="552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860" h="19572" extrusionOk="0">
                  <a:moveTo>
                    <a:pt x="12202" y="0"/>
                  </a:moveTo>
                  <a:lnTo>
                    <a:pt x="17829" y="8182"/>
                  </a:lnTo>
                  <a:cubicBezTo>
                    <a:pt x="17829" y="8182"/>
                    <a:pt x="18918" y="21600"/>
                    <a:pt x="8209" y="19309"/>
                  </a:cubicBezTo>
                  <a:cubicBezTo>
                    <a:pt x="-2682" y="17018"/>
                    <a:pt x="404" y="2291"/>
                    <a:pt x="404" y="2291"/>
                  </a:cubicBezTo>
                  <a:lnTo>
                    <a:pt x="12202" y="0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8" name="Shape 1439"/>
            <p:cNvSpPr/>
            <p:nvPr/>
          </p:nvSpPr>
          <p:spPr>
            <a:xfrm>
              <a:off x="1213052" y="1105460"/>
              <a:ext cx="84202" cy="1541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48" h="19400" extrusionOk="0">
                  <a:moveTo>
                    <a:pt x="0" y="4869"/>
                  </a:moveTo>
                  <a:cubicBezTo>
                    <a:pt x="0" y="4694"/>
                    <a:pt x="0" y="432"/>
                    <a:pt x="7630" y="82"/>
                  </a:cubicBezTo>
                  <a:cubicBezTo>
                    <a:pt x="14322" y="-385"/>
                    <a:pt x="20896" y="1074"/>
                    <a:pt x="21248" y="6037"/>
                  </a:cubicBezTo>
                  <a:lnTo>
                    <a:pt x="21248" y="6854"/>
                  </a:lnTo>
                  <a:cubicBezTo>
                    <a:pt x="21248" y="7379"/>
                    <a:pt x="20896" y="7846"/>
                    <a:pt x="20543" y="8372"/>
                  </a:cubicBezTo>
                  <a:cubicBezTo>
                    <a:pt x="19252" y="11291"/>
                    <a:pt x="21600" y="17070"/>
                    <a:pt x="20896" y="17245"/>
                  </a:cubicBezTo>
                  <a:cubicBezTo>
                    <a:pt x="14909" y="17887"/>
                    <a:pt x="11270" y="21215"/>
                    <a:pt x="5635" y="18063"/>
                  </a:cubicBezTo>
                  <a:cubicBezTo>
                    <a:pt x="5400" y="17887"/>
                    <a:pt x="5635" y="16895"/>
                    <a:pt x="4696" y="13918"/>
                  </a:cubicBezTo>
                  <a:cubicBezTo>
                    <a:pt x="4696" y="13918"/>
                    <a:pt x="5400" y="12458"/>
                    <a:pt x="5635" y="11466"/>
                  </a:cubicBezTo>
                  <a:cubicBezTo>
                    <a:pt x="5400" y="11466"/>
                    <a:pt x="5400" y="11466"/>
                    <a:pt x="5400" y="11466"/>
                  </a:cubicBezTo>
                  <a:cubicBezTo>
                    <a:pt x="5400" y="11466"/>
                    <a:pt x="6691" y="9539"/>
                    <a:pt x="6691" y="8021"/>
                  </a:cubicBezTo>
                  <a:cubicBezTo>
                    <a:pt x="6691" y="6562"/>
                    <a:pt x="5400" y="5570"/>
                    <a:pt x="4343" y="7671"/>
                  </a:cubicBezTo>
                  <a:cubicBezTo>
                    <a:pt x="4343" y="7671"/>
                    <a:pt x="1057" y="6212"/>
                    <a:pt x="0" y="4869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9" name="Shape 1440"/>
            <p:cNvSpPr/>
            <p:nvPr/>
          </p:nvSpPr>
          <p:spPr>
            <a:xfrm>
              <a:off x="802996" y="1233322"/>
              <a:ext cx="16393" cy="163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900" y="2400"/>
                  </a:moveTo>
                  <a:cubicBezTo>
                    <a:pt x="18900" y="1200"/>
                    <a:pt x="20250" y="600"/>
                    <a:pt x="21600" y="0"/>
                  </a:cubicBezTo>
                  <a:cubicBezTo>
                    <a:pt x="21600" y="600"/>
                    <a:pt x="20250" y="1200"/>
                    <a:pt x="18900" y="2400"/>
                  </a:cubicBezTo>
                  <a:close/>
                  <a:moveTo>
                    <a:pt x="10800" y="10800"/>
                  </a:moveTo>
                  <a:lnTo>
                    <a:pt x="10800" y="9000"/>
                  </a:lnTo>
                  <a:cubicBezTo>
                    <a:pt x="14850" y="10800"/>
                    <a:pt x="10800" y="10800"/>
                    <a:pt x="10800" y="10800"/>
                  </a:cubicBezTo>
                  <a:close/>
                  <a:moveTo>
                    <a:pt x="2700" y="21000"/>
                  </a:moveTo>
                  <a:cubicBezTo>
                    <a:pt x="2700" y="21000"/>
                    <a:pt x="1350" y="21000"/>
                    <a:pt x="0" y="21600"/>
                  </a:cubicBezTo>
                  <a:cubicBezTo>
                    <a:pt x="1350" y="21000"/>
                    <a:pt x="1350" y="21000"/>
                    <a:pt x="2700" y="21000"/>
                  </a:cubicBezTo>
                  <a:close/>
                </a:path>
              </a:pathLst>
            </a:custGeom>
            <a:solidFill>
              <a:srgbClr val="C7FFD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0" name="Shape 1441"/>
            <p:cNvSpPr/>
            <p:nvPr/>
          </p:nvSpPr>
          <p:spPr>
            <a:xfrm>
              <a:off x="1550922" y="131140"/>
              <a:ext cx="16394" cy="2001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788" y="2571"/>
                  </a:moveTo>
                  <a:cubicBezTo>
                    <a:pt x="17788" y="1543"/>
                    <a:pt x="21600" y="1543"/>
                    <a:pt x="21600" y="0"/>
                  </a:cubicBezTo>
                  <a:cubicBezTo>
                    <a:pt x="21600" y="2057"/>
                    <a:pt x="20329" y="2571"/>
                    <a:pt x="17788" y="2571"/>
                  </a:cubicBezTo>
                  <a:close/>
                  <a:moveTo>
                    <a:pt x="10165" y="11314"/>
                  </a:moveTo>
                  <a:lnTo>
                    <a:pt x="10165" y="10286"/>
                  </a:lnTo>
                  <a:cubicBezTo>
                    <a:pt x="13976" y="10286"/>
                    <a:pt x="10165" y="11314"/>
                    <a:pt x="10165" y="11314"/>
                  </a:cubicBezTo>
                  <a:close/>
                  <a:moveTo>
                    <a:pt x="0" y="21600"/>
                  </a:moveTo>
                  <a:cubicBezTo>
                    <a:pt x="0" y="20057"/>
                    <a:pt x="0" y="20057"/>
                    <a:pt x="3812" y="20057"/>
                  </a:cubicBezTo>
                  <a:cubicBezTo>
                    <a:pt x="3812" y="20057"/>
                    <a:pt x="0" y="20057"/>
                    <a:pt x="0" y="21600"/>
                  </a:cubicBezTo>
                  <a:close/>
                </a:path>
              </a:pathLst>
            </a:custGeom>
            <a:solidFill>
              <a:srgbClr val="C7FFD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1" name="Shape 1442"/>
            <p:cNvSpPr/>
            <p:nvPr/>
          </p:nvSpPr>
          <p:spPr>
            <a:xfrm>
              <a:off x="1885510" y="247593"/>
              <a:ext cx="346809" cy="2011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5" extrusionOk="0">
                  <a:moveTo>
                    <a:pt x="2851" y="16804"/>
                  </a:moveTo>
                  <a:cubicBezTo>
                    <a:pt x="-951" y="12931"/>
                    <a:pt x="-951" y="6779"/>
                    <a:pt x="2851" y="2905"/>
                  </a:cubicBezTo>
                  <a:cubicBezTo>
                    <a:pt x="6707" y="-968"/>
                    <a:pt x="12912" y="-968"/>
                    <a:pt x="16767" y="2905"/>
                  </a:cubicBezTo>
                  <a:cubicBezTo>
                    <a:pt x="20649" y="6779"/>
                    <a:pt x="20649" y="12931"/>
                    <a:pt x="16767" y="16804"/>
                  </a:cubicBezTo>
                  <a:cubicBezTo>
                    <a:pt x="12912" y="20632"/>
                    <a:pt x="6707" y="20632"/>
                    <a:pt x="2851" y="16804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2" name="Shape 1443"/>
            <p:cNvSpPr/>
            <p:nvPr/>
          </p:nvSpPr>
          <p:spPr>
            <a:xfrm>
              <a:off x="909789" y="174171"/>
              <a:ext cx="1251522" cy="7249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1368"/>
                  </a:moveTo>
                  <a:lnTo>
                    <a:pt x="17705" y="15272"/>
                  </a:lnTo>
                  <a:lnTo>
                    <a:pt x="17032" y="14608"/>
                  </a:lnTo>
                  <a:cubicBezTo>
                    <a:pt x="17256" y="13915"/>
                    <a:pt x="17160" y="13251"/>
                    <a:pt x="16759" y="12849"/>
                  </a:cubicBezTo>
                  <a:cubicBezTo>
                    <a:pt x="16030" y="12157"/>
                    <a:pt x="14587" y="12420"/>
                    <a:pt x="13521" y="13514"/>
                  </a:cubicBezTo>
                  <a:cubicBezTo>
                    <a:pt x="12455" y="14608"/>
                    <a:pt x="12167" y="16062"/>
                    <a:pt x="12888" y="16768"/>
                  </a:cubicBezTo>
                  <a:cubicBezTo>
                    <a:pt x="13297" y="17197"/>
                    <a:pt x="13978" y="17266"/>
                    <a:pt x="14651" y="17031"/>
                  </a:cubicBezTo>
                  <a:lnTo>
                    <a:pt x="15332" y="17695"/>
                  </a:lnTo>
                  <a:lnTo>
                    <a:pt x="11437" y="21600"/>
                  </a:lnTo>
                  <a:lnTo>
                    <a:pt x="6925" y="17114"/>
                  </a:lnTo>
                  <a:lnTo>
                    <a:pt x="6268" y="17778"/>
                  </a:lnTo>
                  <a:cubicBezTo>
                    <a:pt x="6492" y="18485"/>
                    <a:pt x="6428" y="19149"/>
                    <a:pt x="5995" y="19537"/>
                  </a:cubicBezTo>
                  <a:cubicBezTo>
                    <a:pt x="5274" y="20229"/>
                    <a:pt x="3823" y="19952"/>
                    <a:pt x="2765" y="18872"/>
                  </a:cubicBezTo>
                  <a:cubicBezTo>
                    <a:pt x="1675" y="17778"/>
                    <a:pt x="1387" y="16338"/>
                    <a:pt x="2108" y="15632"/>
                  </a:cubicBezTo>
                  <a:cubicBezTo>
                    <a:pt x="2517" y="15203"/>
                    <a:pt x="3190" y="15120"/>
                    <a:pt x="3871" y="15355"/>
                  </a:cubicBezTo>
                  <a:lnTo>
                    <a:pt x="4528" y="14691"/>
                  </a:lnTo>
                  <a:lnTo>
                    <a:pt x="0" y="10191"/>
                  </a:lnTo>
                  <a:lnTo>
                    <a:pt x="3895" y="6328"/>
                  </a:lnTo>
                  <a:lnTo>
                    <a:pt x="4576" y="6992"/>
                  </a:lnTo>
                  <a:cubicBezTo>
                    <a:pt x="4368" y="7698"/>
                    <a:pt x="4440" y="8363"/>
                    <a:pt x="4841" y="8751"/>
                  </a:cubicBezTo>
                  <a:cubicBezTo>
                    <a:pt x="5570" y="9457"/>
                    <a:pt x="7013" y="9180"/>
                    <a:pt x="8071" y="8086"/>
                  </a:cubicBezTo>
                  <a:cubicBezTo>
                    <a:pt x="9137" y="6992"/>
                    <a:pt x="9425" y="5552"/>
                    <a:pt x="8704" y="4846"/>
                  </a:cubicBezTo>
                  <a:cubicBezTo>
                    <a:pt x="8295" y="4417"/>
                    <a:pt x="7614" y="4334"/>
                    <a:pt x="6949" y="4569"/>
                  </a:cubicBezTo>
                  <a:lnTo>
                    <a:pt x="6268" y="3905"/>
                  </a:lnTo>
                  <a:lnTo>
                    <a:pt x="10155" y="0"/>
                  </a:lnTo>
                  <a:lnTo>
                    <a:pt x="14675" y="4486"/>
                  </a:lnTo>
                  <a:lnTo>
                    <a:pt x="15332" y="3822"/>
                  </a:lnTo>
                  <a:cubicBezTo>
                    <a:pt x="15108" y="3129"/>
                    <a:pt x="15172" y="2465"/>
                    <a:pt x="15605" y="2063"/>
                  </a:cubicBezTo>
                  <a:cubicBezTo>
                    <a:pt x="16326" y="1371"/>
                    <a:pt x="17777" y="1634"/>
                    <a:pt x="18835" y="2728"/>
                  </a:cubicBezTo>
                  <a:cubicBezTo>
                    <a:pt x="19925" y="3822"/>
                    <a:pt x="20213" y="5275"/>
                    <a:pt x="19492" y="5982"/>
                  </a:cubicBezTo>
                  <a:cubicBezTo>
                    <a:pt x="19083" y="6411"/>
                    <a:pt x="18426" y="6480"/>
                    <a:pt x="17729" y="6245"/>
                  </a:cubicBezTo>
                  <a:lnTo>
                    <a:pt x="17072" y="6909"/>
                  </a:lnTo>
                  <a:lnTo>
                    <a:pt x="21600" y="11368"/>
                  </a:ln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3" name="Shape 1444"/>
            <p:cNvSpPr/>
            <p:nvPr/>
          </p:nvSpPr>
          <p:spPr>
            <a:xfrm>
              <a:off x="917985" y="648355"/>
              <a:ext cx="91744" cy="4294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792" extrusionOk="0">
                  <a:moveTo>
                    <a:pt x="11403" y="1615"/>
                  </a:moveTo>
                  <a:cubicBezTo>
                    <a:pt x="14144" y="6115"/>
                    <a:pt x="16995" y="6115"/>
                    <a:pt x="19736" y="11065"/>
                  </a:cubicBezTo>
                  <a:cubicBezTo>
                    <a:pt x="20065" y="11740"/>
                    <a:pt x="21600" y="13765"/>
                    <a:pt x="21600" y="14890"/>
                  </a:cubicBezTo>
                  <a:cubicBezTo>
                    <a:pt x="20942" y="18715"/>
                    <a:pt x="17543" y="21190"/>
                    <a:pt x="16008" y="20740"/>
                  </a:cubicBezTo>
                  <a:cubicBezTo>
                    <a:pt x="13596" y="20065"/>
                    <a:pt x="11403" y="18715"/>
                    <a:pt x="8662" y="18040"/>
                  </a:cubicBezTo>
                  <a:cubicBezTo>
                    <a:pt x="6798" y="17590"/>
                    <a:pt x="2741" y="17590"/>
                    <a:pt x="877" y="16240"/>
                  </a:cubicBezTo>
                  <a:cubicBezTo>
                    <a:pt x="0" y="14890"/>
                    <a:pt x="0" y="10390"/>
                    <a:pt x="0" y="7915"/>
                  </a:cubicBezTo>
                  <a:cubicBezTo>
                    <a:pt x="0" y="6790"/>
                    <a:pt x="1206" y="4090"/>
                    <a:pt x="1206" y="4090"/>
                  </a:cubicBezTo>
                  <a:cubicBezTo>
                    <a:pt x="2741" y="5440"/>
                    <a:pt x="3399" y="6790"/>
                    <a:pt x="5482" y="6115"/>
                  </a:cubicBezTo>
                  <a:cubicBezTo>
                    <a:pt x="5811" y="5440"/>
                    <a:pt x="6469" y="5440"/>
                    <a:pt x="7017" y="5440"/>
                  </a:cubicBezTo>
                  <a:cubicBezTo>
                    <a:pt x="8881" y="940"/>
                    <a:pt x="10197" y="-410"/>
                    <a:pt x="10745" y="265"/>
                  </a:cubicBezTo>
                  <a:cubicBezTo>
                    <a:pt x="10745" y="-410"/>
                    <a:pt x="11074" y="265"/>
                    <a:pt x="11403" y="1615"/>
                  </a:cubicBezTo>
                </a:path>
              </a:pathLst>
            </a:custGeom>
            <a:solidFill>
              <a:srgbClr val="47766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4" name="Shape 1445"/>
            <p:cNvSpPr/>
            <p:nvPr/>
          </p:nvSpPr>
          <p:spPr>
            <a:xfrm>
              <a:off x="827826" y="584820"/>
              <a:ext cx="88885" cy="417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04" h="21177" extrusionOk="0">
                  <a:moveTo>
                    <a:pt x="11579" y="1667"/>
                  </a:moveTo>
                  <a:cubicBezTo>
                    <a:pt x="14363" y="6080"/>
                    <a:pt x="17258" y="6080"/>
                    <a:pt x="20041" y="11422"/>
                  </a:cubicBezTo>
                  <a:cubicBezTo>
                    <a:pt x="20375" y="12119"/>
                    <a:pt x="21600" y="16067"/>
                    <a:pt x="21377" y="17229"/>
                  </a:cubicBezTo>
                  <a:cubicBezTo>
                    <a:pt x="21043" y="21177"/>
                    <a:pt x="17592" y="21177"/>
                    <a:pt x="16256" y="21177"/>
                  </a:cubicBezTo>
                  <a:cubicBezTo>
                    <a:pt x="13806" y="20712"/>
                    <a:pt x="11579" y="19319"/>
                    <a:pt x="8796" y="18622"/>
                  </a:cubicBezTo>
                  <a:cubicBezTo>
                    <a:pt x="6903" y="17925"/>
                    <a:pt x="2784" y="17925"/>
                    <a:pt x="891" y="16764"/>
                  </a:cubicBezTo>
                  <a:cubicBezTo>
                    <a:pt x="0" y="15371"/>
                    <a:pt x="0" y="10725"/>
                    <a:pt x="0" y="8171"/>
                  </a:cubicBezTo>
                  <a:cubicBezTo>
                    <a:pt x="0" y="6777"/>
                    <a:pt x="1225" y="4222"/>
                    <a:pt x="1225" y="4222"/>
                  </a:cubicBezTo>
                  <a:cubicBezTo>
                    <a:pt x="2784" y="5616"/>
                    <a:pt x="3452" y="6777"/>
                    <a:pt x="5567" y="6080"/>
                  </a:cubicBezTo>
                  <a:cubicBezTo>
                    <a:pt x="5901" y="5616"/>
                    <a:pt x="6569" y="5616"/>
                    <a:pt x="7237" y="5616"/>
                  </a:cubicBezTo>
                  <a:cubicBezTo>
                    <a:pt x="9019" y="971"/>
                    <a:pt x="10355" y="-423"/>
                    <a:pt x="10911" y="274"/>
                  </a:cubicBezTo>
                  <a:cubicBezTo>
                    <a:pt x="10689" y="-423"/>
                    <a:pt x="10911" y="274"/>
                    <a:pt x="11579" y="1667"/>
                  </a:cubicBezTo>
                </a:path>
              </a:pathLst>
            </a:custGeom>
            <a:solidFill>
              <a:srgbClr val="47766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5" name="Shape 1446"/>
            <p:cNvSpPr/>
            <p:nvPr/>
          </p:nvSpPr>
          <p:spPr>
            <a:xfrm>
              <a:off x="946672" y="284821"/>
              <a:ext cx="137531" cy="1037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1" h="20336" extrusionOk="0">
                  <a:moveTo>
                    <a:pt x="0" y="2278"/>
                  </a:moveTo>
                  <a:lnTo>
                    <a:pt x="6336" y="0"/>
                  </a:lnTo>
                  <a:lnTo>
                    <a:pt x="7128" y="4101"/>
                  </a:lnTo>
                  <a:cubicBezTo>
                    <a:pt x="7128" y="4101"/>
                    <a:pt x="14040" y="11028"/>
                    <a:pt x="16704" y="13397"/>
                  </a:cubicBezTo>
                  <a:cubicBezTo>
                    <a:pt x="16704" y="13397"/>
                    <a:pt x="21600" y="14400"/>
                    <a:pt x="21384" y="17772"/>
                  </a:cubicBezTo>
                  <a:cubicBezTo>
                    <a:pt x="21384" y="21053"/>
                    <a:pt x="17280" y="21600"/>
                    <a:pt x="14472" y="16952"/>
                  </a:cubicBezTo>
                  <a:cubicBezTo>
                    <a:pt x="14472" y="16952"/>
                    <a:pt x="6120" y="12577"/>
                    <a:pt x="4320" y="10299"/>
                  </a:cubicBezTo>
                  <a:cubicBezTo>
                    <a:pt x="2664" y="7929"/>
                    <a:pt x="0" y="2278"/>
                    <a:pt x="0" y="2278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6" name="Shape 1447"/>
            <p:cNvSpPr/>
            <p:nvPr/>
          </p:nvSpPr>
          <p:spPr>
            <a:xfrm>
              <a:off x="928694" y="221530"/>
              <a:ext cx="68739" cy="853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54" h="19239" extrusionOk="0">
                  <a:moveTo>
                    <a:pt x="3504" y="260"/>
                  </a:moveTo>
                  <a:cubicBezTo>
                    <a:pt x="11829" y="-2361"/>
                    <a:pt x="16554" y="15674"/>
                    <a:pt x="16554" y="15674"/>
                  </a:cubicBezTo>
                  <a:cubicBezTo>
                    <a:pt x="16554" y="15674"/>
                    <a:pt x="15316" y="16827"/>
                    <a:pt x="11829" y="17981"/>
                  </a:cubicBezTo>
                  <a:cubicBezTo>
                    <a:pt x="8004" y="19239"/>
                    <a:pt x="4742" y="19239"/>
                    <a:pt x="4742" y="19239"/>
                  </a:cubicBezTo>
                  <a:cubicBezTo>
                    <a:pt x="4742" y="19239"/>
                    <a:pt x="-5046" y="2987"/>
                    <a:pt x="3504" y="260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7" name="Shape 1448"/>
            <p:cNvSpPr/>
            <p:nvPr/>
          </p:nvSpPr>
          <p:spPr>
            <a:xfrm>
              <a:off x="831924" y="417266"/>
              <a:ext cx="114289" cy="1867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138" extrusionOk="0">
                  <a:moveTo>
                    <a:pt x="9842" y="123"/>
                  </a:moveTo>
                  <a:cubicBezTo>
                    <a:pt x="12019" y="-582"/>
                    <a:pt x="21600" y="1986"/>
                    <a:pt x="21600" y="1986"/>
                  </a:cubicBezTo>
                  <a:cubicBezTo>
                    <a:pt x="21600" y="1986"/>
                    <a:pt x="15765" y="11754"/>
                    <a:pt x="14023" y="13315"/>
                  </a:cubicBezTo>
                  <a:cubicBezTo>
                    <a:pt x="12019" y="14875"/>
                    <a:pt x="7403" y="19558"/>
                    <a:pt x="7403" y="19558"/>
                  </a:cubicBezTo>
                  <a:cubicBezTo>
                    <a:pt x="7403" y="19558"/>
                    <a:pt x="1481" y="21018"/>
                    <a:pt x="0" y="19306"/>
                  </a:cubicBezTo>
                  <a:cubicBezTo>
                    <a:pt x="0" y="19306"/>
                    <a:pt x="1481" y="13466"/>
                    <a:pt x="4965" y="11049"/>
                  </a:cubicBezTo>
                  <a:cubicBezTo>
                    <a:pt x="4965" y="11049"/>
                    <a:pt x="7839" y="828"/>
                    <a:pt x="9842" y="123"/>
                  </a:cubicBezTo>
                </a:path>
              </a:pathLst>
            </a:custGeom>
            <a:solidFill>
              <a:srgbClr val="4773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8" name="Shape 1449"/>
            <p:cNvSpPr/>
            <p:nvPr/>
          </p:nvSpPr>
          <p:spPr>
            <a:xfrm>
              <a:off x="858970" y="430305"/>
              <a:ext cx="109776" cy="2345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27" h="21172" extrusionOk="0">
                  <a:moveTo>
                    <a:pt x="13477" y="710"/>
                  </a:moveTo>
                  <a:cubicBezTo>
                    <a:pt x="13477" y="710"/>
                    <a:pt x="17977" y="8941"/>
                    <a:pt x="18787" y="10612"/>
                  </a:cubicBezTo>
                  <a:cubicBezTo>
                    <a:pt x="19507" y="12241"/>
                    <a:pt x="21127" y="20514"/>
                    <a:pt x="21127" y="20514"/>
                  </a:cubicBezTo>
                  <a:cubicBezTo>
                    <a:pt x="17257" y="21600"/>
                    <a:pt x="12757" y="21015"/>
                    <a:pt x="12757" y="21015"/>
                  </a:cubicBezTo>
                  <a:lnTo>
                    <a:pt x="8437" y="10487"/>
                  </a:lnTo>
                  <a:cubicBezTo>
                    <a:pt x="8437" y="10487"/>
                    <a:pt x="3577" y="5682"/>
                    <a:pt x="1507" y="3885"/>
                  </a:cubicBezTo>
                  <a:cubicBezTo>
                    <a:pt x="-473" y="2005"/>
                    <a:pt x="67" y="0"/>
                    <a:pt x="67" y="0"/>
                  </a:cubicBezTo>
                  <a:lnTo>
                    <a:pt x="13477" y="71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9" name="Shape 1450"/>
            <p:cNvSpPr/>
            <p:nvPr/>
          </p:nvSpPr>
          <p:spPr>
            <a:xfrm>
              <a:off x="852415" y="215186"/>
              <a:ext cx="114285" cy="2296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9403" extrusionOk="0">
                  <a:moveTo>
                    <a:pt x="21600" y="2555"/>
                  </a:moveTo>
                  <a:lnTo>
                    <a:pt x="19580" y="18618"/>
                  </a:lnTo>
                  <a:cubicBezTo>
                    <a:pt x="10712" y="20385"/>
                    <a:pt x="0" y="18618"/>
                    <a:pt x="0" y="18618"/>
                  </a:cubicBezTo>
                  <a:lnTo>
                    <a:pt x="0" y="2241"/>
                  </a:lnTo>
                  <a:cubicBezTo>
                    <a:pt x="8166" y="-1215"/>
                    <a:pt x="18351" y="356"/>
                    <a:pt x="18351" y="356"/>
                  </a:cubicBezTo>
                  <a:cubicBezTo>
                    <a:pt x="20810" y="1024"/>
                    <a:pt x="21600" y="2673"/>
                    <a:pt x="21600" y="2555"/>
                  </a:cubicBezTo>
                </a:path>
              </a:pathLst>
            </a:custGeom>
            <a:solidFill>
              <a:srgbClr val="52838D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0" name="Shape 1451"/>
            <p:cNvSpPr/>
            <p:nvPr/>
          </p:nvSpPr>
          <p:spPr>
            <a:xfrm>
              <a:off x="858562" y="305312"/>
              <a:ext cx="137525" cy="1039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0" h="20371" extrusionOk="0">
                  <a:moveTo>
                    <a:pt x="0" y="2370"/>
                  </a:moveTo>
                  <a:lnTo>
                    <a:pt x="6285" y="0"/>
                  </a:lnTo>
                  <a:lnTo>
                    <a:pt x="7080" y="4101"/>
                  </a:lnTo>
                  <a:cubicBezTo>
                    <a:pt x="7080" y="4101"/>
                    <a:pt x="14015" y="11028"/>
                    <a:pt x="16688" y="13397"/>
                  </a:cubicBezTo>
                  <a:cubicBezTo>
                    <a:pt x="16688" y="13397"/>
                    <a:pt x="21600" y="14400"/>
                    <a:pt x="21383" y="17772"/>
                  </a:cubicBezTo>
                  <a:cubicBezTo>
                    <a:pt x="21383" y="21144"/>
                    <a:pt x="17266" y="21600"/>
                    <a:pt x="14448" y="16952"/>
                  </a:cubicBezTo>
                  <a:cubicBezTo>
                    <a:pt x="14448" y="16952"/>
                    <a:pt x="6068" y="12577"/>
                    <a:pt x="4262" y="10299"/>
                  </a:cubicBezTo>
                  <a:cubicBezTo>
                    <a:pt x="2601" y="8020"/>
                    <a:pt x="0" y="2370"/>
                    <a:pt x="0" y="237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1" name="Shape 1452"/>
            <p:cNvSpPr/>
            <p:nvPr/>
          </p:nvSpPr>
          <p:spPr>
            <a:xfrm>
              <a:off x="838637" y="240347"/>
              <a:ext cx="68636" cy="8499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29" h="19154" extrusionOk="0">
                  <a:moveTo>
                    <a:pt x="3479" y="280"/>
                  </a:moveTo>
                  <a:cubicBezTo>
                    <a:pt x="11804" y="-2446"/>
                    <a:pt x="16529" y="15589"/>
                    <a:pt x="16529" y="15589"/>
                  </a:cubicBezTo>
                  <a:cubicBezTo>
                    <a:pt x="16529" y="15589"/>
                    <a:pt x="15291" y="16847"/>
                    <a:pt x="11804" y="18001"/>
                  </a:cubicBezTo>
                  <a:cubicBezTo>
                    <a:pt x="7979" y="19154"/>
                    <a:pt x="4829" y="19154"/>
                    <a:pt x="4829" y="19154"/>
                  </a:cubicBezTo>
                  <a:cubicBezTo>
                    <a:pt x="4829" y="19154"/>
                    <a:pt x="-5071" y="2902"/>
                    <a:pt x="3479" y="280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2" name="Shape 1453"/>
            <p:cNvSpPr/>
            <p:nvPr/>
          </p:nvSpPr>
          <p:spPr>
            <a:xfrm>
              <a:off x="887249" y="188514"/>
              <a:ext cx="38255" cy="537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517" h="19015" extrusionOk="0">
                  <a:moveTo>
                    <a:pt x="16090" y="0"/>
                  </a:moveTo>
                  <a:lnTo>
                    <a:pt x="17412" y="8770"/>
                  </a:lnTo>
                  <a:cubicBezTo>
                    <a:pt x="17412" y="8770"/>
                    <a:pt x="21600" y="16078"/>
                    <a:pt x="13665" y="18352"/>
                  </a:cubicBezTo>
                  <a:cubicBezTo>
                    <a:pt x="1102" y="21600"/>
                    <a:pt x="0" y="11856"/>
                    <a:pt x="0" y="11856"/>
                  </a:cubicBezTo>
                  <a:lnTo>
                    <a:pt x="3747" y="2761"/>
                  </a:lnTo>
                  <a:lnTo>
                    <a:pt x="16090" y="0"/>
                  </a:lnTo>
                </a:path>
              </a:pathLst>
            </a:custGeom>
            <a:solidFill>
              <a:srgbClr val="FFE98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3" name="Shape 1454"/>
            <p:cNvSpPr/>
            <p:nvPr/>
          </p:nvSpPr>
          <p:spPr>
            <a:xfrm>
              <a:off x="860449" y="101691"/>
              <a:ext cx="94927" cy="1220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1" h="18710" extrusionOk="0">
                  <a:moveTo>
                    <a:pt x="5546" y="18465"/>
                  </a:moveTo>
                  <a:cubicBezTo>
                    <a:pt x="5546" y="20461"/>
                    <a:pt x="-2293" y="9768"/>
                    <a:pt x="668" y="5134"/>
                  </a:cubicBezTo>
                  <a:cubicBezTo>
                    <a:pt x="3368" y="714"/>
                    <a:pt x="9988" y="-1139"/>
                    <a:pt x="14691" y="714"/>
                  </a:cubicBezTo>
                  <a:cubicBezTo>
                    <a:pt x="19307" y="2497"/>
                    <a:pt x="17652" y="5990"/>
                    <a:pt x="17652" y="5990"/>
                  </a:cubicBezTo>
                  <a:cubicBezTo>
                    <a:pt x="17652" y="5990"/>
                    <a:pt x="7549" y="9198"/>
                    <a:pt x="5546" y="18465"/>
                  </a:cubicBezTo>
                </a:path>
              </a:pathLst>
            </a:custGeom>
            <a:solidFill>
              <a:srgbClr val="DFD85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4" name="Shape 1455"/>
            <p:cNvSpPr/>
            <p:nvPr/>
          </p:nvSpPr>
          <p:spPr>
            <a:xfrm>
              <a:off x="875141" y="124993"/>
              <a:ext cx="74100" cy="904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39" h="20836" extrusionOk="0">
                  <a:moveTo>
                    <a:pt x="3678" y="15797"/>
                  </a:moveTo>
                  <a:cubicBezTo>
                    <a:pt x="3307" y="15260"/>
                    <a:pt x="3307" y="14615"/>
                    <a:pt x="2690" y="13970"/>
                  </a:cubicBezTo>
                  <a:cubicBezTo>
                    <a:pt x="1333" y="12466"/>
                    <a:pt x="-1136" y="8275"/>
                    <a:pt x="592" y="6985"/>
                  </a:cubicBezTo>
                  <a:cubicBezTo>
                    <a:pt x="3678" y="4943"/>
                    <a:pt x="4418" y="9779"/>
                    <a:pt x="4418" y="9779"/>
                  </a:cubicBezTo>
                  <a:cubicBezTo>
                    <a:pt x="4789" y="6985"/>
                    <a:pt x="10713" y="5803"/>
                    <a:pt x="14539" y="4943"/>
                  </a:cubicBezTo>
                  <a:cubicBezTo>
                    <a:pt x="18366" y="3976"/>
                    <a:pt x="18736" y="0"/>
                    <a:pt x="18736" y="0"/>
                  </a:cubicBezTo>
                  <a:cubicBezTo>
                    <a:pt x="20464" y="2794"/>
                    <a:pt x="19353" y="8275"/>
                    <a:pt x="18366" y="13970"/>
                  </a:cubicBezTo>
                  <a:cubicBezTo>
                    <a:pt x="17995" y="17301"/>
                    <a:pt x="16638" y="18806"/>
                    <a:pt x="15527" y="20096"/>
                  </a:cubicBezTo>
                  <a:cubicBezTo>
                    <a:pt x="14539" y="20633"/>
                    <a:pt x="12071" y="21600"/>
                    <a:pt x="8985" y="19773"/>
                  </a:cubicBezTo>
                  <a:cubicBezTo>
                    <a:pt x="6887" y="18591"/>
                    <a:pt x="5159" y="17087"/>
                    <a:pt x="3678" y="15797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5" name="Shape 1456"/>
            <p:cNvSpPr/>
            <p:nvPr/>
          </p:nvSpPr>
          <p:spPr>
            <a:xfrm>
              <a:off x="1808103" y="73766"/>
              <a:ext cx="16394" cy="999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276"/>
                  </a:moveTo>
                  <a:lnTo>
                    <a:pt x="21600" y="21600"/>
                  </a:lnTo>
                  <a:cubicBezTo>
                    <a:pt x="4629" y="19908"/>
                    <a:pt x="0" y="17917"/>
                    <a:pt x="0" y="16225"/>
                  </a:cubicBezTo>
                  <a:lnTo>
                    <a:pt x="0" y="0"/>
                  </a:lnTo>
                  <a:cubicBezTo>
                    <a:pt x="0" y="1692"/>
                    <a:pt x="9257" y="3285"/>
                    <a:pt x="21600" y="5276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6" name="Shape 1457"/>
            <p:cNvSpPr/>
            <p:nvPr/>
          </p:nvSpPr>
          <p:spPr>
            <a:xfrm>
              <a:off x="1307310" y="157778"/>
              <a:ext cx="38470" cy="93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256"/>
                  </a:moveTo>
                  <a:lnTo>
                    <a:pt x="21600" y="21600"/>
                  </a:lnTo>
                  <a:lnTo>
                    <a:pt x="0" y="17450"/>
                  </a:lnTo>
                  <a:lnTo>
                    <a:pt x="0" y="0"/>
                  </a:lnTo>
                  <a:lnTo>
                    <a:pt x="21600" y="4256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7" name="Shape 1458"/>
            <p:cNvSpPr/>
            <p:nvPr/>
          </p:nvSpPr>
          <p:spPr>
            <a:xfrm>
              <a:off x="1344193" y="163926"/>
              <a:ext cx="122483" cy="12042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7816"/>
                  </a:moveTo>
                  <a:lnTo>
                    <a:pt x="21600" y="21600"/>
                  </a:lnTo>
                  <a:cubicBezTo>
                    <a:pt x="21600" y="18995"/>
                    <a:pt x="20214" y="16893"/>
                    <a:pt x="17688" y="15633"/>
                  </a:cubicBezTo>
                  <a:cubicBezTo>
                    <a:pt x="17198" y="15465"/>
                    <a:pt x="16546" y="15212"/>
                    <a:pt x="16057" y="14960"/>
                  </a:cubicBezTo>
                  <a:cubicBezTo>
                    <a:pt x="15568" y="14708"/>
                    <a:pt x="14916" y="14708"/>
                    <a:pt x="14427" y="14456"/>
                  </a:cubicBezTo>
                  <a:lnTo>
                    <a:pt x="14020" y="14456"/>
                  </a:lnTo>
                  <a:cubicBezTo>
                    <a:pt x="13531" y="14456"/>
                    <a:pt x="13042" y="14204"/>
                    <a:pt x="12389" y="14204"/>
                  </a:cubicBezTo>
                  <a:lnTo>
                    <a:pt x="9863" y="14204"/>
                  </a:lnTo>
                  <a:cubicBezTo>
                    <a:pt x="9129" y="14204"/>
                    <a:pt x="8477" y="14204"/>
                    <a:pt x="7988" y="14456"/>
                  </a:cubicBezTo>
                  <a:cubicBezTo>
                    <a:pt x="7825" y="14456"/>
                    <a:pt x="7580" y="14456"/>
                    <a:pt x="7091" y="14708"/>
                  </a:cubicBezTo>
                  <a:cubicBezTo>
                    <a:pt x="6602" y="14708"/>
                    <a:pt x="6195" y="14960"/>
                    <a:pt x="5706" y="14960"/>
                  </a:cubicBezTo>
                  <a:cubicBezTo>
                    <a:pt x="5217" y="14960"/>
                    <a:pt x="4809" y="15212"/>
                    <a:pt x="4320" y="15212"/>
                  </a:cubicBezTo>
                  <a:cubicBezTo>
                    <a:pt x="3912" y="15212"/>
                    <a:pt x="3668" y="15465"/>
                    <a:pt x="3179" y="15465"/>
                  </a:cubicBezTo>
                  <a:cubicBezTo>
                    <a:pt x="2282" y="15633"/>
                    <a:pt x="1304" y="15885"/>
                    <a:pt x="408" y="16137"/>
                  </a:cubicBezTo>
                  <a:cubicBezTo>
                    <a:pt x="163" y="16137"/>
                    <a:pt x="0" y="16389"/>
                    <a:pt x="0" y="16389"/>
                  </a:cubicBezTo>
                  <a:lnTo>
                    <a:pt x="0" y="2605"/>
                  </a:lnTo>
                  <a:lnTo>
                    <a:pt x="163" y="2605"/>
                  </a:lnTo>
                  <a:cubicBezTo>
                    <a:pt x="408" y="2605"/>
                    <a:pt x="408" y="2605"/>
                    <a:pt x="652" y="2353"/>
                  </a:cubicBezTo>
                  <a:cubicBezTo>
                    <a:pt x="1549" y="2185"/>
                    <a:pt x="2527" y="1933"/>
                    <a:pt x="3423" y="1681"/>
                  </a:cubicBezTo>
                  <a:cubicBezTo>
                    <a:pt x="3668" y="1681"/>
                    <a:pt x="3668" y="1429"/>
                    <a:pt x="3912" y="1429"/>
                  </a:cubicBezTo>
                  <a:cubicBezTo>
                    <a:pt x="4075" y="1429"/>
                    <a:pt x="4320" y="1429"/>
                    <a:pt x="4565" y="1177"/>
                  </a:cubicBezTo>
                  <a:cubicBezTo>
                    <a:pt x="5054" y="1177"/>
                    <a:pt x="5461" y="925"/>
                    <a:pt x="5950" y="925"/>
                  </a:cubicBezTo>
                  <a:cubicBezTo>
                    <a:pt x="6195" y="925"/>
                    <a:pt x="6439" y="756"/>
                    <a:pt x="6439" y="756"/>
                  </a:cubicBezTo>
                  <a:cubicBezTo>
                    <a:pt x="6602" y="756"/>
                    <a:pt x="6847" y="756"/>
                    <a:pt x="7336" y="504"/>
                  </a:cubicBezTo>
                  <a:cubicBezTo>
                    <a:pt x="7580" y="504"/>
                    <a:pt x="7825" y="252"/>
                    <a:pt x="8232" y="252"/>
                  </a:cubicBezTo>
                  <a:lnTo>
                    <a:pt x="8722" y="252"/>
                  </a:lnTo>
                  <a:cubicBezTo>
                    <a:pt x="9129" y="252"/>
                    <a:pt x="9863" y="0"/>
                    <a:pt x="10352" y="0"/>
                  </a:cubicBezTo>
                  <a:cubicBezTo>
                    <a:pt x="10352" y="0"/>
                    <a:pt x="10352" y="0"/>
                    <a:pt x="10515" y="0"/>
                  </a:cubicBezTo>
                  <a:lnTo>
                    <a:pt x="13775" y="0"/>
                  </a:lnTo>
                  <a:cubicBezTo>
                    <a:pt x="14264" y="0"/>
                    <a:pt x="14427" y="0"/>
                    <a:pt x="14672" y="252"/>
                  </a:cubicBezTo>
                  <a:lnTo>
                    <a:pt x="15405" y="252"/>
                  </a:lnTo>
                  <a:cubicBezTo>
                    <a:pt x="15813" y="252"/>
                    <a:pt x="16546" y="504"/>
                    <a:pt x="16954" y="756"/>
                  </a:cubicBezTo>
                  <a:cubicBezTo>
                    <a:pt x="17688" y="925"/>
                    <a:pt x="18177" y="1177"/>
                    <a:pt x="18584" y="1429"/>
                  </a:cubicBezTo>
                  <a:cubicBezTo>
                    <a:pt x="20214" y="3110"/>
                    <a:pt x="21600" y="5211"/>
                    <a:pt x="21600" y="7816"/>
                  </a:cubicBez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8" name="Shape 1459"/>
            <p:cNvSpPr/>
            <p:nvPr/>
          </p:nvSpPr>
          <p:spPr>
            <a:xfrm>
              <a:off x="1952768" y="104502"/>
              <a:ext cx="124530" cy="1388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2145"/>
                  </a:lnTo>
                  <a:cubicBezTo>
                    <a:pt x="21600" y="12509"/>
                    <a:pt x="21600" y="12727"/>
                    <a:pt x="21358" y="13164"/>
                  </a:cubicBezTo>
                  <a:cubicBezTo>
                    <a:pt x="21358" y="13382"/>
                    <a:pt x="21358" y="13382"/>
                    <a:pt x="21197" y="13600"/>
                  </a:cubicBezTo>
                  <a:lnTo>
                    <a:pt x="21197" y="14182"/>
                  </a:lnTo>
                  <a:cubicBezTo>
                    <a:pt x="20955" y="14618"/>
                    <a:pt x="20955" y="14836"/>
                    <a:pt x="20713" y="14982"/>
                  </a:cubicBezTo>
                  <a:cubicBezTo>
                    <a:pt x="20713" y="15200"/>
                    <a:pt x="20713" y="15200"/>
                    <a:pt x="20472" y="15200"/>
                  </a:cubicBezTo>
                  <a:cubicBezTo>
                    <a:pt x="20472" y="15200"/>
                    <a:pt x="20472" y="15418"/>
                    <a:pt x="20230" y="15418"/>
                  </a:cubicBezTo>
                  <a:cubicBezTo>
                    <a:pt x="19988" y="15636"/>
                    <a:pt x="19988" y="15636"/>
                    <a:pt x="19988" y="15855"/>
                  </a:cubicBezTo>
                  <a:cubicBezTo>
                    <a:pt x="19827" y="16218"/>
                    <a:pt x="19585" y="16436"/>
                    <a:pt x="19101" y="16655"/>
                  </a:cubicBezTo>
                  <a:lnTo>
                    <a:pt x="17731" y="17891"/>
                  </a:lnTo>
                  <a:cubicBezTo>
                    <a:pt x="17731" y="17891"/>
                    <a:pt x="17731" y="17891"/>
                    <a:pt x="17490" y="18109"/>
                  </a:cubicBezTo>
                  <a:cubicBezTo>
                    <a:pt x="17087" y="18473"/>
                    <a:pt x="16603" y="18691"/>
                    <a:pt x="15958" y="18909"/>
                  </a:cubicBezTo>
                  <a:cubicBezTo>
                    <a:pt x="15716" y="18909"/>
                    <a:pt x="15475" y="19127"/>
                    <a:pt x="15475" y="19127"/>
                  </a:cubicBezTo>
                  <a:cubicBezTo>
                    <a:pt x="15233" y="19345"/>
                    <a:pt x="14991" y="19345"/>
                    <a:pt x="14749" y="19491"/>
                  </a:cubicBezTo>
                  <a:cubicBezTo>
                    <a:pt x="14749" y="19491"/>
                    <a:pt x="14588" y="19491"/>
                    <a:pt x="14588" y="19709"/>
                  </a:cubicBezTo>
                  <a:cubicBezTo>
                    <a:pt x="14104" y="19927"/>
                    <a:pt x="13460" y="20145"/>
                    <a:pt x="12734" y="20364"/>
                  </a:cubicBezTo>
                  <a:cubicBezTo>
                    <a:pt x="12493" y="20364"/>
                    <a:pt x="12493" y="20582"/>
                    <a:pt x="12251" y="20582"/>
                  </a:cubicBezTo>
                  <a:lnTo>
                    <a:pt x="12090" y="20582"/>
                  </a:lnTo>
                  <a:cubicBezTo>
                    <a:pt x="11928" y="20582"/>
                    <a:pt x="11606" y="20727"/>
                    <a:pt x="11364" y="20727"/>
                  </a:cubicBezTo>
                  <a:cubicBezTo>
                    <a:pt x="10961" y="20945"/>
                    <a:pt x="10719" y="20945"/>
                    <a:pt x="10236" y="20945"/>
                  </a:cubicBezTo>
                  <a:lnTo>
                    <a:pt x="9994" y="20945"/>
                  </a:lnTo>
                  <a:cubicBezTo>
                    <a:pt x="9752" y="20945"/>
                    <a:pt x="9591" y="20945"/>
                    <a:pt x="9349" y="21164"/>
                  </a:cubicBezTo>
                  <a:cubicBezTo>
                    <a:pt x="9107" y="21164"/>
                    <a:pt x="8624" y="21382"/>
                    <a:pt x="8382" y="21382"/>
                  </a:cubicBezTo>
                  <a:lnTo>
                    <a:pt x="7979" y="21382"/>
                  </a:lnTo>
                  <a:cubicBezTo>
                    <a:pt x="7737" y="21382"/>
                    <a:pt x="7496" y="21382"/>
                    <a:pt x="7093" y="21600"/>
                  </a:cubicBezTo>
                  <a:lnTo>
                    <a:pt x="1854" y="21600"/>
                  </a:lnTo>
                  <a:cubicBezTo>
                    <a:pt x="1128" y="21600"/>
                    <a:pt x="725" y="21600"/>
                    <a:pt x="0" y="21382"/>
                  </a:cubicBezTo>
                  <a:lnTo>
                    <a:pt x="0" y="9455"/>
                  </a:lnTo>
                  <a:cubicBezTo>
                    <a:pt x="725" y="9455"/>
                    <a:pt x="1370" y="9673"/>
                    <a:pt x="2015" y="9673"/>
                  </a:cubicBezTo>
                  <a:lnTo>
                    <a:pt x="5481" y="9673"/>
                  </a:lnTo>
                  <a:cubicBezTo>
                    <a:pt x="5884" y="9673"/>
                    <a:pt x="6367" y="9673"/>
                    <a:pt x="6851" y="9455"/>
                  </a:cubicBezTo>
                  <a:cubicBezTo>
                    <a:pt x="7093" y="9455"/>
                    <a:pt x="7254" y="9455"/>
                    <a:pt x="7737" y="9236"/>
                  </a:cubicBezTo>
                  <a:cubicBezTo>
                    <a:pt x="8221" y="9236"/>
                    <a:pt x="8624" y="9091"/>
                    <a:pt x="9107" y="9091"/>
                  </a:cubicBezTo>
                  <a:cubicBezTo>
                    <a:pt x="9349" y="9091"/>
                    <a:pt x="9591" y="9091"/>
                    <a:pt x="9752" y="8873"/>
                  </a:cubicBezTo>
                  <a:cubicBezTo>
                    <a:pt x="10236" y="8655"/>
                    <a:pt x="10719" y="8655"/>
                    <a:pt x="11122" y="8436"/>
                  </a:cubicBezTo>
                  <a:cubicBezTo>
                    <a:pt x="11364" y="8436"/>
                    <a:pt x="11606" y="8218"/>
                    <a:pt x="11848" y="8218"/>
                  </a:cubicBezTo>
                  <a:cubicBezTo>
                    <a:pt x="12090" y="8218"/>
                    <a:pt x="12251" y="8000"/>
                    <a:pt x="12251" y="8000"/>
                  </a:cubicBezTo>
                  <a:cubicBezTo>
                    <a:pt x="12976" y="7855"/>
                    <a:pt x="13460" y="7636"/>
                    <a:pt x="14104" y="7418"/>
                  </a:cubicBezTo>
                  <a:cubicBezTo>
                    <a:pt x="14588" y="7200"/>
                    <a:pt x="14749" y="7200"/>
                    <a:pt x="15233" y="6982"/>
                  </a:cubicBezTo>
                  <a:cubicBezTo>
                    <a:pt x="15475" y="6982"/>
                    <a:pt x="15716" y="6764"/>
                    <a:pt x="15716" y="6764"/>
                  </a:cubicBezTo>
                  <a:cubicBezTo>
                    <a:pt x="16119" y="6618"/>
                    <a:pt x="16845" y="6182"/>
                    <a:pt x="17328" y="5964"/>
                  </a:cubicBezTo>
                  <a:cubicBezTo>
                    <a:pt x="17973" y="5600"/>
                    <a:pt x="18457" y="5164"/>
                    <a:pt x="18860" y="4727"/>
                  </a:cubicBezTo>
                  <a:cubicBezTo>
                    <a:pt x="19343" y="4364"/>
                    <a:pt x="19585" y="3927"/>
                    <a:pt x="19988" y="3491"/>
                  </a:cubicBezTo>
                  <a:cubicBezTo>
                    <a:pt x="19988" y="3491"/>
                    <a:pt x="19988" y="3273"/>
                    <a:pt x="20230" y="3273"/>
                  </a:cubicBezTo>
                  <a:cubicBezTo>
                    <a:pt x="20472" y="2909"/>
                    <a:pt x="20713" y="2473"/>
                    <a:pt x="20955" y="2109"/>
                  </a:cubicBezTo>
                  <a:lnTo>
                    <a:pt x="20955" y="1891"/>
                  </a:lnTo>
                  <a:cubicBezTo>
                    <a:pt x="21600" y="1236"/>
                    <a:pt x="21600" y="655"/>
                    <a:pt x="21600" y="0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9" name="Shape 1460"/>
            <p:cNvSpPr/>
            <p:nvPr/>
          </p:nvSpPr>
          <p:spPr>
            <a:xfrm>
              <a:off x="1917934" y="163926"/>
              <a:ext cx="38464" cy="1040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810" y="0"/>
                  </a:moveTo>
                  <a:lnTo>
                    <a:pt x="21600" y="16176"/>
                  </a:lnTo>
                  <a:lnTo>
                    <a:pt x="0" y="21600"/>
                  </a:lnTo>
                  <a:lnTo>
                    <a:pt x="0" y="5812"/>
                  </a:lnTo>
                  <a:lnTo>
                    <a:pt x="2081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0" name="Shape 1461"/>
            <p:cNvSpPr/>
            <p:nvPr/>
          </p:nvSpPr>
          <p:spPr>
            <a:xfrm>
              <a:off x="1199528" y="274575"/>
              <a:ext cx="16394" cy="93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086" y="21600"/>
                  </a:moveTo>
                  <a:cubicBezTo>
                    <a:pt x="3086" y="21387"/>
                    <a:pt x="3086" y="21068"/>
                    <a:pt x="0" y="21068"/>
                  </a:cubicBezTo>
                  <a:cubicBezTo>
                    <a:pt x="0" y="20749"/>
                    <a:pt x="3086" y="20110"/>
                    <a:pt x="3086" y="19791"/>
                  </a:cubicBezTo>
                  <a:lnTo>
                    <a:pt x="3086" y="21600"/>
                  </a:lnTo>
                  <a:close/>
                  <a:moveTo>
                    <a:pt x="3086" y="6065"/>
                  </a:moveTo>
                  <a:lnTo>
                    <a:pt x="3086" y="3618"/>
                  </a:lnTo>
                  <a:cubicBezTo>
                    <a:pt x="3086" y="3299"/>
                    <a:pt x="7714" y="2767"/>
                    <a:pt x="7714" y="2447"/>
                  </a:cubicBezTo>
                  <a:lnTo>
                    <a:pt x="7714" y="1809"/>
                  </a:lnTo>
                  <a:lnTo>
                    <a:pt x="21600" y="0"/>
                  </a:lnTo>
                  <a:lnTo>
                    <a:pt x="21600" y="17450"/>
                  </a:lnTo>
                  <a:lnTo>
                    <a:pt x="7714" y="19259"/>
                  </a:lnTo>
                  <a:cubicBezTo>
                    <a:pt x="7714" y="19578"/>
                    <a:pt x="7714" y="19578"/>
                    <a:pt x="3086" y="19791"/>
                  </a:cubicBezTo>
                  <a:lnTo>
                    <a:pt x="3086" y="6065"/>
                  </a:lnTo>
                  <a:close/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1" name="Shape 1462"/>
            <p:cNvSpPr/>
            <p:nvPr/>
          </p:nvSpPr>
          <p:spPr>
            <a:xfrm>
              <a:off x="954869" y="413913"/>
              <a:ext cx="257718" cy="2023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3457"/>
                  </a:moveTo>
                  <a:lnTo>
                    <a:pt x="21600" y="21600"/>
                  </a:lnTo>
                  <a:lnTo>
                    <a:pt x="0" y="8143"/>
                  </a:lnTo>
                  <a:lnTo>
                    <a:pt x="0" y="0"/>
                  </a:lnTo>
                  <a:lnTo>
                    <a:pt x="21600" y="13457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2" name="Shape 1463"/>
            <p:cNvSpPr/>
            <p:nvPr/>
          </p:nvSpPr>
          <p:spPr>
            <a:xfrm>
              <a:off x="1655652" y="391373"/>
              <a:ext cx="270013" cy="2064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117"/>
                  </a:moveTo>
                  <a:lnTo>
                    <a:pt x="21600" y="12059"/>
                  </a:lnTo>
                  <a:cubicBezTo>
                    <a:pt x="21600" y="10558"/>
                    <a:pt x="20966" y="9299"/>
                    <a:pt x="19809" y="8621"/>
                  </a:cubicBezTo>
                  <a:cubicBezTo>
                    <a:pt x="19585" y="8475"/>
                    <a:pt x="19399" y="8378"/>
                    <a:pt x="19063" y="8233"/>
                  </a:cubicBezTo>
                  <a:cubicBezTo>
                    <a:pt x="18951" y="8088"/>
                    <a:pt x="18877" y="8088"/>
                    <a:pt x="18653" y="8088"/>
                  </a:cubicBezTo>
                  <a:cubicBezTo>
                    <a:pt x="18466" y="8088"/>
                    <a:pt x="18429" y="7943"/>
                    <a:pt x="18317" y="7943"/>
                  </a:cubicBezTo>
                  <a:cubicBezTo>
                    <a:pt x="18131" y="7797"/>
                    <a:pt x="17907" y="7797"/>
                    <a:pt x="17683" y="7797"/>
                  </a:cubicBezTo>
                  <a:lnTo>
                    <a:pt x="17608" y="7797"/>
                  </a:lnTo>
                  <a:cubicBezTo>
                    <a:pt x="17384" y="7797"/>
                    <a:pt x="17049" y="7652"/>
                    <a:pt x="16862" y="7652"/>
                  </a:cubicBezTo>
                  <a:lnTo>
                    <a:pt x="15818" y="7652"/>
                  </a:lnTo>
                  <a:cubicBezTo>
                    <a:pt x="15594" y="7652"/>
                    <a:pt x="15482" y="7652"/>
                    <a:pt x="15258" y="7797"/>
                  </a:cubicBezTo>
                  <a:cubicBezTo>
                    <a:pt x="15072" y="7797"/>
                    <a:pt x="14960" y="7797"/>
                    <a:pt x="14848" y="7943"/>
                  </a:cubicBezTo>
                  <a:cubicBezTo>
                    <a:pt x="14736" y="7943"/>
                    <a:pt x="14549" y="7943"/>
                    <a:pt x="14437" y="8088"/>
                  </a:cubicBezTo>
                  <a:cubicBezTo>
                    <a:pt x="14213" y="8233"/>
                    <a:pt x="14027" y="8233"/>
                    <a:pt x="13691" y="8233"/>
                  </a:cubicBezTo>
                  <a:cubicBezTo>
                    <a:pt x="13579" y="8233"/>
                    <a:pt x="13467" y="8378"/>
                    <a:pt x="13281" y="8378"/>
                  </a:cubicBezTo>
                  <a:cubicBezTo>
                    <a:pt x="12870" y="8475"/>
                    <a:pt x="12423" y="8621"/>
                    <a:pt x="11901" y="8766"/>
                  </a:cubicBezTo>
                  <a:cubicBezTo>
                    <a:pt x="11789" y="8911"/>
                    <a:pt x="11714" y="8911"/>
                    <a:pt x="11602" y="8911"/>
                  </a:cubicBezTo>
                  <a:cubicBezTo>
                    <a:pt x="11266" y="9057"/>
                    <a:pt x="10968" y="9153"/>
                    <a:pt x="10632" y="9299"/>
                  </a:cubicBezTo>
                  <a:cubicBezTo>
                    <a:pt x="10520" y="9299"/>
                    <a:pt x="10446" y="9444"/>
                    <a:pt x="10222" y="9444"/>
                  </a:cubicBezTo>
                  <a:cubicBezTo>
                    <a:pt x="9923" y="9589"/>
                    <a:pt x="9588" y="9880"/>
                    <a:pt x="9177" y="9977"/>
                  </a:cubicBezTo>
                  <a:cubicBezTo>
                    <a:pt x="9065" y="9977"/>
                    <a:pt x="9065" y="10122"/>
                    <a:pt x="8953" y="10122"/>
                  </a:cubicBezTo>
                  <a:cubicBezTo>
                    <a:pt x="8319" y="10558"/>
                    <a:pt x="7573" y="10945"/>
                    <a:pt x="6976" y="11478"/>
                  </a:cubicBezTo>
                  <a:lnTo>
                    <a:pt x="6864" y="11478"/>
                  </a:lnTo>
                  <a:cubicBezTo>
                    <a:pt x="6230" y="12059"/>
                    <a:pt x="5596" y="12447"/>
                    <a:pt x="4962" y="13125"/>
                  </a:cubicBezTo>
                  <a:cubicBezTo>
                    <a:pt x="4738" y="13270"/>
                    <a:pt x="4626" y="13561"/>
                    <a:pt x="4439" y="13706"/>
                  </a:cubicBezTo>
                  <a:cubicBezTo>
                    <a:pt x="4104" y="13948"/>
                    <a:pt x="3917" y="14239"/>
                    <a:pt x="3693" y="14529"/>
                  </a:cubicBezTo>
                  <a:cubicBezTo>
                    <a:pt x="3581" y="14626"/>
                    <a:pt x="3469" y="14771"/>
                    <a:pt x="3283" y="14917"/>
                  </a:cubicBezTo>
                  <a:cubicBezTo>
                    <a:pt x="3059" y="15207"/>
                    <a:pt x="2873" y="15449"/>
                    <a:pt x="2649" y="15740"/>
                  </a:cubicBezTo>
                  <a:cubicBezTo>
                    <a:pt x="2574" y="15885"/>
                    <a:pt x="2425" y="16127"/>
                    <a:pt x="2238" y="16273"/>
                  </a:cubicBezTo>
                  <a:cubicBezTo>
                    <a:pt x="2126" y="16418"/>
                    <a:pt x="2164" y="16418"/>
                    <a:pt x="2015" y="16563"/>
                  </a:cubicBezTo>
                  <a:cubicBezTo>
                    <a:pt x="1828" y="16805"/>
                    <a:pt x="1679" y="17096"/>
                    <a:pt x="1492" y="17387"/>
                  </a:cubicBezTo>
                  <a:lnTo>
                    <a:pt x="1380" y="17532"/>
                  </a:lnTo>
                  <a:cubicBezTo>
                    <a:pt x="1268" y="17629"/>
                    <a:pt x="1268" y="17774"/>
                    <a:pt x="1268" y="17774"/>
                  </a:cubicBezTo>
                  <a:cubicBezTo>
                    <a:pt x="1045" y="18065"/>
                    <a:pt x="970" y="18355"/>
                    <a:pt x="858" y="18597"/>
                  </a:cubicBezTo>
                  <a:cubicBezTo>
                    <a:pt x="746" y="18743"/>
                    <a:pt x="746" y="18985"/>
                    <a:pt x="634" y="19130"/>
                  </a:cubicBezTo>
                  <a:cubicBezTo>
                    <a:pt x="522" y="19227"/>
                    <a:pt x="522" y="19421"/>
                    <a:pt x="448" y="19711"/>
                  </a:cubicBezTo>
                  <a:cubicBezTo>
                    <a:pt x="336" y="19953"/>
                    <a:pt x="336" y="20244"/>
                    <a:pt x="224" y="20389"/>
                  </a:cubicBezTo>
                  <a:cubicBezTo>
                    <a:pt x="224" y="20535"/>
                    <a:pt x="112" y="20535"/>
                    <a:pt x="112" y="20680"/>
                  </a:cubicBezTo>
                  <a:cubicBezTo>
                    <a:pt x="0" y="21067"/>
                    <a:pt x="0" y="21358"/>
                    <a:pt x="0" y="21600"/>
                  </a:cubicBezTo>
                  <a:lnTo>
                    <a:pt x="0" y="13561"/>
                  </a:lnTo>
                  <a:cubicBezTo>
                    <a:pt x="0" y="13270"/>
                    <a:pt x="0" y="12979"/>
                    <a:pt x="112" y="12737"/>
                  </a:cubicBezTo>
                  <a:cubicBezTo>
                    <a:pt x="112" y="12592"/>
                    <a:pt x="112" y="12592"/>
                    <a:pt x="224" y="12447"/>
                  </a:cubicBezTo>
                  <a:cubicBezTo>
                    <a:pt x="224" y="12301"/>
                    <a:pt x="336" y="12059"/>
                    <a:pt x="336" y="11914"/>
                  </a:cubicBezTo>
                  <a:lnTo>
                    <a:pt x="336" y="11769"/>
                  </a:lnTo>
                  <a:cubicBezTo>
                    <a:pt x="448" y="11623"/>
                    <a:pt x="448" y="11478"/>
                    <a:pt x="522" y="11236"/>
                  </a:cubicBezTo>
                  <a:cubicBezTo>
                    <a:pt x="634" y="11091"/>
                    <a:pt x="634" y="10945"/>
                    <a:pt x="634" y="10800"/>
                  </a:cubicBezTo>
                  <a:cubicBezTo>
                    <a:pt x="634" y="10800"/>
                    <a:pt x="634" y="10655"/>
                    <a:pt x="746" y="10655"/>
                  </a:cubicBezTo>
                  <a:cubicBezTo>
                    <a:pt x="858" y="10413"/>
                    <a:pt x="1045" y="10122"/>
                    <a:pt x="1156" y="9880"/>
                  </a:cubicBezTo>
                  <a:cubicBezTo>
                    <a:pt x="1156" y="9735"/>
                    <a:pt x="1268" y="9735"/>
                    <a:pt x="1268" y="9589"/>
                  </a:cubicBezTo>
                  <a:cubicBezTo>
                    <a:pt x="1268" y="9444"/>
                    <a:pt x="1380" y="9444"/>
                    <a:pt x="1380" y="9444"/>
                  </a:cubicBezTo>
                  <a:cubicBezTo>
                    <a:pt x="1492" y="9153"/>
                    <a:pt x="1679" y="8911"/>
                    <a:pt x="1903" y="8621"/>
                  </a:cubicBezTo>
                  <a:cubicBezTo>
                    <a:pt x="2015" y="8475"/>
                    <a:pt x="2052" y="8475"/>
                    <a:pt x="2126" y="8378"/>
                  </a:cubicBezTo>
                  <a:cubicBezTo>
                    <a:pt x="2276" y="8233"/>
                    <a:pt x="2238" y="8185"/>
                    <a:pt x="2313" y="8088"/>
                  </a:cubicBezTo>
                  <a:cubicBezTo>
                    <a:pt x="2425" y="7894"/>
                    <a:pt x="2537" y="7943"/>
                    <a:pt x="2537" y="7797"/>
                  </a:cubicBezTo>
                  <a:cubicBezTo>
                    <a:pt x="2761" y="7555"/>
                    <a:pt x="2947" y="7265"/>
                    <a:pt x="3171" y="6974"/>
                  </a:cubicBezTo>
                  <a:cubicBezTo>
                    <a:pt x="3283" y="6829"/>
                    <a:pt x="3395" y="6732"/>
                    <a:pt x="3581" y="6587"/>
                  </a:cubicBezTo>
                  <a:cubicBezTo>
                    <a:pt x="3805" y="6296"/>
                    <a:pt x="4104" y="6054"/>
                    <a:pt x="4327" y="5763"/>
                  </a:cubicBezTo>
                  <a:cubicBezTo>
                    <a:pt x="4439" y="5618"/>
                    <a:pt x="4551" y="5473"/>
                    <a:pt x="4626" y="5473"/>
                  </a:cubicBezTo>
                  <a:cubicBezTo>
                    <a:pt x="4738" y="5327"/>
                    <a:pt x="4850" y="5327"/>
                    <a:pt x="4850" y="5230"/>
                  </a:cubicBezTo>
                  <a:cubicBezTo>
                    <a:pt x="5484" y="4649"/>
                    <a:pt x="6118" y="4117"/>
                    <a:pt x="6752" y="3584"/>
                  </a:cubicBezTo>
                  <a:lnTo>
                    <a:pt x="6864" y="3584"/>
                  </a:lnTo>
                  <a:cubicBezTo>
                    <a:pt x="7498" y="3003"/>
                    <a:pt x="8133" y="2615"/>
                    <a:pt x="8841" y="2228"/>
                  </a:cubicBezTo>
                  <a:cubicBezTo>
                    <a:pt x="8953" y="2228"/>
                    <a:pt x="8953" y="2228"/>
                    <a:pt x="9065" y="2083"/>
                  </a:cubicBezTo>
                  <a:cubicBezTo>
                    <a:pt x="9364" y="1792"/>
                    <a:pt x="9811" y="1647"/>
                    <a:pt x="10110" y="1501"/>
                  </a:cubicBezTo>
                  <a:cubicBezTo>
                    <a:pt x="10222" y="1404"/>
                    <a:pt x="10334" y="1404"/>
                    <a:pt x="10520" y="1404"/>
                  </a:cubicBezTo>
                  <a:cubicBezTo>
                    <a:pt x="10856" y="1259"/>
                    <a:pt x="11154" y="1114"/>
                    <a:pt x="11490" y="969"/>
                  </a:cubicBezTo>
                  <a:cubicBezTo>
                    <a:pt x="11602" y="969"/>
                    <a:pt x="11602" y="823"/>
                    <a:pt x="11714" y="823"/>
                  </a:cubicBezTo>
                  <a:lnTo>
                    <a:pt x="11789" y="823"/>
                  </a:lnTo>
                  <a:cubicBezTo>
                    <a:pt x="12236" y="678"/>
                    <a:pt x="12647" y="581"/>
                    <a:pt x="13169" y="436"/>
                  </a:cubicBezTo>
                  <a:lnTo>
                    <a:pt x="13281" y="436"/>
                  </a:lnTo>
                  <a:cubicBezTo>
                    <a:pt x="13393" y="436"/>
                    <a:pt x="13467" y="436"/>
                    <a:pt x="13467" y="291"/>
                  </a:cubicBezTo>
                  <a:cubicBezTo>
                    <a:pt x="13691" y="145"/>
                    <a:pt x="14027" y="145"/>
                    <a:pt x="14213" y="145"/>
                  </a:cubicBezTo>
                  <a:lnTo>
                    <a:pt x="14661" y="145"/>
                  </a:lnTo>
                  <a:cubicBezTo>
                    <a:pt x="14848" y="145"/>
                    <a:pt x="14960" y="145"/>
                    <a:pt x="15072" y="0"/>
                  </a:cubicBezTo>
                  <a:lnTo>
                    <a:pt x="16862" y="0"/>
                  </a:lnTo>
                  <a:cubicBezTo>
                    <a:pt x="17049" y="0"/>
                    <a:pt x="17273" y="0"/>
                    <a:pt x="17496" y="145"/>
                  </a:cubicBezTo>
                  <a:lnTo>
                    <a:pt x="17608" y="145"/>
                  </a:lnTo>
                  <a:cubicBezTo>
                    <a:pt x="17795" y="145"/>
                    <a:pt x="18019" y="291"/>
                    <a:pt x="18131" y="291"/>
                  </a:cubicBezTo>
                  <a:lnTo>
                    <a:pt x="18205" y="291"/>
                  </a:lnTo>
                  <a:cubicBezTo>
                    <a:pt x="18317" y="291"/>
                    <a:pt x="18429" y="436"/>
                    <a:pt x="18541" y="436"/>
                  </a:cubicBezTo>
                  <a:cubicBezTo>
                    <a:pt x="18653" y="436"/>
                    <a:pt x="18765" y="581"/>
                    <a:pt x="18839" y="581"/>
                  </a:cubicBezTo>
                  <a:cubicBezTo>
                    <a:pt x="18839" y="581"/>
                    <a:pt x="18839" y="581"/>
                    <a:pt x="18951" y="581"/>
                  </a:cubicBezTo>
                  <a:cubicBezTo>
                    <a:pt x="19175" y="678"/>
                    <a:pt x="19474" y="823"/>
                    <a:pt x="19697" y="969"/>
                  </a:cubicBezTo>
                  <a:cubicBezTo>
                    <a:pt x="20966" y="1501"/>
                    <a:pt x="21488" y="2761"/>
                    <a:pt x="21600" y="4117"/>
                  </a:cubicBez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3" name="Shape 1464"/>
            <p:cNvSpPr/>
            <p:nvPr/>
          </p:nvSpPr>
          <p:spPr>
            <a:xfrm>
              <a:off x="1917934" y="456943"/>
              <a:ext cx="38464" cy="958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194"/>
                  </a:moveTo>
                  <a:lnTo>
                    <a:pt x="21600" y="21600"/>
                  </a:lnTo>
                  <a:lnTo>
                    <a:pt x="0" y="17196"/>
                  </a:lnTo>
                  <a:lnTo>
                    <a:pt x="0" y="0"/>
                  </a:lnTo>
                  <a:lnTo>
                    <a:pt x="21600" y="4194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4" name="Shape 1465"/>
            <p:cNvSpPr/>
            <p:nvPr/>
          </p:nvSpPr>
          <p:spPr>
            <a:xfrm>
              <a:off x="1956866" y="317606"/>
              <a:ext cx="216740" cy="2351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6944"/>
                  </a:lnTo>
                  <a:lnTo>
                    <a:pt x="0" y="21600"/>
                  </a:lnTo>
                  <a:lnTo>
                    <a:pt x="0" y="14528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5" name="Shape 1466"/>
            <p:cNvSpPr/>
            <p:nvPr/>
          </p:nvSpPr>
          <p:spPr>
            <a:xfrm>
              <a:off x="1309359" y="606526"/>
              <a:ext cx="38458" cy="1040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5885"/>
                  </a:lnTo>
                  <a:lnTo>
                    <a:pt x="0" y="21600"/>
                  </a:lnTo>
                  <a:lnTo>
                    <a:pt x="0" y="5715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6" name="Shape 1467"/>
            <p:cNvSpPr/>
            <p:nvPr/>
          </p:nvSpPr>
          <p:spPr>
            <a:xfrm>
              <a:off x="1045028" y="629066"/>
              <a:ext cx="272065" cy="1675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3889"/>
                  </a:moveTo>
                  <a:lnTo>
                    <a:pt x="21600" y="13881"/>
                  </a:lnTo>
                  <a:cubicBezTo>
                    <a:pt x="21600" y="14181"/>
                    <a:pt x="21600" y="14360"/>
                    <a:pt x="21490" y="14719"/>
                  </a:cubicBezTo>
                  <a:cubicBezTo>
                    <a:pt x="21490" y="14899"/>
                    <a:pt x="21490" y="14899"/>
                    <a:pt x="21416" y="15018"/>
                  </a:cubicBezTo>
                  <a:lnTo>
                    <a:pt x="21416" y="15557"/>
                  </a:lnTo>
                  <a:cubicBezTo>
                    <a:pt x="21306" y="15856"/>
                    <a:pt x="21306" y="16035"/>
                    <a:pt x="21195" y="16215"/>
                  </a:cubicBezTo>
                  <a:cubicBezTo>
                    <a:pt x="21195" y="16394"/>
                    <a:pt x="21195" y="16394"/>
                    <a:pt x="21085" y="16394"/>
                  </a:cubicBezTo>
                  <a:cubicBezTo>
                    <a:pt x="21085" y="16394"/>
                    <a:pt x="21085" y="16574"/>
                    <a:pt x="20974" y="16574"/>
                  </a:cubicBezTo>
                  <a:cubicBezTo>
                    <a:pt x="20901" y="16753"/>
                    <a:pt x="20901" y="16753"/>
                    <a:pt x="20901" y="16873"/>
                  </a:cubicBezTo>
                  <a:cubicBezTo>
                    <a:pt x="20790" y="17232"/>
                    <a:pt x="20680" y="17412"/>
                    <a:pt x="20570" y="17591"/>
                  </a:cubicBezTo>
                  <a:lnTo>
                    <a:pt x="20459" y="17711"/>
                  </a:lnTo>
                  <a:cubicBezTo>
                    <a:pt x="20275" y="18070"/>
                    <a:pt x="20055" y="18429"/>
                    <a:pt x="19834" y="18608"/>
                  </a:cubicBezTo>
                  <a:cubicBezTo>
                    <a:pt x="19834" y="18608"/>
                    <a:pt x="19760" y="18608"/>
                    <a:pt x="19760" y="18728"/>
                  </a:cubicBezTo>
                  <a:cubicBezTo>
                    <a:pt x="19539" y="19087"/>
                    <a:pt x="19319" y="19266"/>
                    <a:pt x="19135" y="19446"/>
                  </a:cubicBezTo>
                  <a:cubicBezTo>
                    <a:pt x="19024" y="19446"/>
                    <a:pt x="19024" y="19625"/>
                    <a:pt x="18914" y="19625"/>
                  </a:cubicBezTo>
                  <a:cubicBezTo>
                    <a:pt x="18803" y="19745"/>
                    <a:pt x="18693" y="19745"/>
                    <a:pt x="18509" y="19925"/>
                  </a:cubicBezTo>
                  <a:cubicBezTo>
                    <a:pt x="18509" y="19925"/>
                    <a:pt x="18509" y="19925"/>
                    <a:pt x="18399" y="19925"/>
                  </a:cubicBezTo>
                  <a:cubicBezTo>
                    <a:pt x="18067" y="20284"/>
                    <a:pt x="17663" y="20463"/>
                    <a:pt x="17368" y="20583"/>
                  </a:cubicBezTo>
                  <a:lnTo>
                    <a:pt x="17258" y="20583"/>
                  </a:lnTo>
                  <a:cubicBezTo>
                    <a:pt x="17148" y="20583"/>
                    <a:pt x="17037" y="20762"/>
                    <a:pt x="16927" y="20762"/>
                  </a:cubicBezTo>
                  <a:cubicBezTo>
                    <a:pt x="16743" y="20942"/>
                    <a:pt x="16632" y="20942"/>
                    <a:pt x="16412" y="20942"/>
                  </a:cubicBezTo>
                  <a:cubicBezTo>
                    <a:pt x="16301" y="20942"/>
                    <a:pt x="16301" y="21121"/>
                    <a:pt x="16228" y="21121"/>
                  </a:cubicBezTo>
                  <a:cubicBezTo>
                    <a:pt x="16117" y="21121"/>
                    <a:pt x="16007" y="21121"/>
                    <a:pt x="15896" y="21301"/>
                  </a:cubicBezTo>
                  <a:cubicBezTo>
                    <a:pt x="15786" y="21301"/>
                    <a:pt x="15602" y="21480"/>
                    <a:pt x="15492" y="21480"/>
                  </a:cubicBezTo>
                  <a:lnTo>
                    <a:pt x="14976" y="21480"/>
                  </a:lnTo>
                  <a:cubicBezTo>
                    <a:pt x="14866" y="21480"/>
                    <a:pt x="14645" y="21480"/>
                    <a:pt x="14535" y="21600"/>
                  </a:cubicBezTo>
                  <a:lnTo>
                    <a:pt x="11959" y="21600"/>
                  </a:lnTo>
                  <a:cubicBezTo>
                    <a:pt x="11628" y="21600"/>
                    <a:pt x="11444" y="21600"/>
                    <a:pt x="11113" y="21480"/>
                  </a:cubicBezTo>
                  <a:lnTo>
                    <a:pt x="10818" y="21480"/>
                  </a:lnTo>
                  <a:cubicBezTo>
                    <a:pt x="10414" y="21301"/>
                    <a:pt x="9972" y="21301"/>
                    <a:pt x="9457" y="21121"/>
                  </a:cubicBezTo>
                  <a:lnTo>
                    <a:pt x="9236" y="21121"/>
                  </a:lnTo>
                  <a:cubicBezTo>
                    <a:pt x="8647" y="20942"/>
                    <a:pt x="8022" y="20762"/>
                    <a:pt x="7470" y="20463"/>
                  </a:cubicBezTo>
                  <a:lnTo>
                    <a:pt x="7396" y="20463"/>
                  </a:lnTo>
                  <a:cubicBezTo>
                    <a:pt x="7286" y="20463"/>
                    <a:pt x="7286" y="20284"/>
                    <a:pt x="7175" y="20284"/>
                  </a:cubicBezTo>
                  <a:cubicBezTo>
                    <a:pt x="6881" y="20104"/>
                    <a:pt x="6550" y="19925"/>
                    <a:pt x="6256" y="19745"/>
                  </a:cubicBezTo>
                  <a:cubicBezTo>
                    <a:pt x="6145" y="19625"/>
                    <a:pt x="6035" y="19625"/>
                    <a:pt x="5924" y="19625"/>
                  </a:cubicBezTo>
                  <a:cubicBezTo>
                    <a:pt x="5520" y="19266"/>
                    <a:pt x="5188" y="19087"/>
                    <a:pt x="4784" y="18728"/>
                  </a:cubicBezTo>
                  <a:cubicBezTo>
                    <a:pt x="1766" y="16215"/>
                    <a:pt x="0" y="12984"/>
                    <a:pt x="0" y="9813"/>
                  </a:cubicBezTo>
                  <a:lnTo>
                    <a:pt x="0" y="0"/>
                  </a:lnTo>
                  <a:cubicBezTo>
                    <a:pt x="0" y="3052"/>
                    <a:pt x="1619" y="6402"/>
                    <a:pt x="4784" y="8975"/>
                  </a:cubicBezTo>
                  <a:cubicBezTo>
                    <a:pt x="5152" y="9274"/>
                    <a:pt x="5520" y="9454"/>
                    <a:pt x="5924" y="9813"/>
                  </a:cubicBezTo>
                  <a:cubicBezTo>
                    <a:pt x="6035" y="9992"/>
                    <a:pt x="6145" y="9992"/>
                    <a:pt x="6256" y="9992"/>
                  </a:cubicBezTo>
                  <a:cubicBezTo>
                    <a:pt x="6550" y="10112"/>
                    <a:pt x="6881" y="10291"/>
                    <a:pt x="7175" y="10471"/>
                  </a:cubicBezTo>
                  <a:cubicBezTo>
                    <a:pt x="7286" y="10471"/>
                    <a:pt x="7396" y="10650"/>
                    <a:pt x="7470" y="10650"/>
                  </a:cubicBezTo>
                  <a:cubicBezTo>
                    <a:pt x="8095" y="11009"/>
                    <a:pt x="8721" y="11129"/>
                    <a:pt x="9236" y="11309"/>
                  </a:cubicBezTo>
                  <a:cubicBezTo>
                    <a:pt x="9347" y="11309"/>
                    <a:pt x="9347" y="11488"/>
                    <a:pt x="9457" y="11488"/>
                  </a:cubicBezTo>
                  <a:cubicBezTo>
                    <a:pt x="9862" y="11668"/>
                    <a:pt x="10303" y="11668"/>
                    <a:pt x="10818" y="11847"/>
                  </a:cubicBezTo>
                  <a:lnTo>
                    <a:pt x="11113" y="11847"/>
                  </a:lnTo>
                  <a:cubicBezTo>
                    <a:pt x="11444" y="11847"/>
                    <a:pt x="11628" y="12027"/>
                    <a:pt x="11959" y="12027"/>
                  </a:cubicBezTo>
                  <a:lnTo>
                    <a:pt x="14461" y="12027"/>
                  </a:lnTo>
                  <a:cubicBezTo>
                    <a:pt x="14535" y="12027"/>
                    <a:pt x="14756" y="12027"/>
                    <a:pt x="14866" y="11847"/>
                  </a:cubicBezTo>
                  <a:cubicBezTo>
                    <a:pt x="15087" y="11847"/>
                    <a:pt x="15160" y="11668"/>
                    <a:pt x="15381" y="11668"/>
                  </a:cubicBezTo>
                  <a:cubicBezTo>
                    <a:pt x="15602" y="11668"/>
                    <a:pt x="15676" y="11488"/>
                    <a:pt x="15786" y="11488"/>
                  </a:cubicBezTo>
                  <a:cubicBezTo>
                    <a:pt x="15896" y="11488"/>
                    <a:pt x="16117" y="11309"/>
                    <a:pt x="16228" y="11309"/>
                  </a:cubicBezTo>
                  <a:cubicBezTo>
                    <a:pt x="16412" y="11129"/>
                    <a:pt x="16522" y="11129"/>
                    <a:pt x="16743" y="11129"/>
                  </a:cubicBezTo>
                  <a:cubicBezTo>
                    <a:pt x="16816" y="11129"/>
                    <a:pt x="16927" y="11009"/>
                    <a:pt x="17037" y="11009"/>
                  </a:cubicBezTo>
                  <a:cubicBezTo>
                    <a:pt x="17442" y="10830"/>
                    <a:pt x="17773" y="10650"/>
                    <a:pt x="18067" y="10291"/>
                  </a:cubicBezTo>
                  <a:cubicBezTo>
                    <a:pt x="18178" y="10112"/>
                    <a:pt x="18399" y="10112"/>
                    <a:pt x="18509" y="9992"/>
                  </a:cubicBezTo>
                  <a:cubicBezTo>
                    <a:pt x="18583" y="9992"/>
                    <a:pt x="18583" y="9813"/>
                    <a:pt x="18693" y="9813"/>
                  </a:cubicBezTo>
                  <a:cubicBezTo>
                    <a:pt x="18914" y="9633"/>
                    <a:pt x="19135" y="9274"/>
                    <a:pt x="19319" y="9155"/>
                  </a:cubicBezTo>
                  <a:cubicBezTo>
                    <a:pt x="19650" y="8796"/>
                    <a:pt x="19834" y="8437"/>
                    <a:pt x="20055" y="8137"/>
                  </a:cubicBezTo>
                  <a:lnTo>
                    <a:pt x="20165" y="7958"/>
                  </a:lnTo>
                  <a:cubicBezTo>
                    <a:pt x="20349" y="7599"/>
                    <a:pt x="20459" y="7300"/>
                    <a:pt x="20680" y="6941"/>
                  </a:cubicBezTo>
                  <a:cubicBezTo>
                    <a:pt x="20680" y="6941"/>
                    <a:pt x="20680" y="6761"/>
                    <a:pt x="20790" y="6761"/>
                  </a:cubicBezTo>
                  <a:cubicBezTo>
                    <a:pt x="20901" y="6402"/>
                    <a:pt x="20974" y="6103"/>
                    <a:pt x="21085" y="5744"/>
                  </a:cubicBezTo>
                  <a:lnTo>
                    <a:pt x="21085" y="5565"/>
                  </a:lnTo>
                  <a:cubicBezTo>
                    <a:pt x="21490" y="4727"/>
                    <a:pt x="21490" y="4248"/>
                    <a:pt x="21600" y="3889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7" name="Shape 1468"/>
            <p:cNvSpPr/>
            <p:nvPr/>
          </p:nvSpPr>
          <p:spPr>
            <a:xfrm>
              <a:off x="1346243" y="606526"/>
              <a:ext cx="255671" cy="2023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3457"/>
                  </a:moveTo>
                  <a:lnTo>
                    <a:pt x="21600" y="21600"/>
                  </a:lnTo>
                  <a:lnTo>
                    <a:pt x="0" y="8143"/>
                  </a:lnTo>
                  <a:lnTo>
                    <a:pt x="0" y="0"/>
                  </a:lnTo>
                  <a:lnTo>
                    <a:pt x="21600" y="13457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8" name="Shape 1469"/>
            <p:cNvSpPr/>
            <p:nvPr/>
          </p:nvSpPr>
          <p:spPr>
            <a:xfrm>
              <a:off x="1602376" y="573740"/>
              <a:ext cx="218788" cy="2351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6972"/>
                  </a:lnTo>
                  <a:lnTo>
                    <a:pt x="0" y="21600"/>
                  </a:lnTo>
                  <a:lnTo>
                    <a:pt x="0" y="14585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9" name="Shape 1470"/>
            <p:cNvSpPr/>
            <p:nvPr/>
          </p:nvSpPr>
          <p:spPr>
            <a:xfrm>
              <a:off x="952820" y="0"/>
              <a:ext cx="1220785" cy="7331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9355"/>
                  </a:moveTo>
                  <a:lnTo>
                    <a:pt x="17730" y="14026"/>
                  </a:lnTo>
                  <a:lnTo>
                    <a:pt x="17057" y="13478"/>
                  </a:lnTo>
                  <a:cubicBezTo>
                    <a:pt x="17262" y="12752"/>
                    <a:pt x="17196" y="12094"/>
                    <a:pt x="16777" y="11738"/>
                  </a:cubicBezTo>
                  <a:cubicBezTo>
                    <a:pt x="16054" y="11163"/>
                    <a:pt x="14625" y="11738"/>
                    <a:pt x="13556" y="13026"/>
                  </a:cubicBezTo>
                  <a:cubicBezTo>
                    <a:pt x="12488" y="14341"/>
                    <a:pt x="12209" y="15847"/>
                    <a:pt x="12932" y="16423"/>
                  </a:cubicBezTo>
                  <a:cubicBezTo>
                    <a:pt x="13343" y="16765"/>
                    <a:pt x="14017" y="16697"/>
                    <a:pt x="14690" y="16340"/>
                  </a:cubicBezTo>
                  <a:lnTo>
                    <a:pt x="15364" y="16888"/>
                  </a:lnTo>
                  <a:lnTo>
                    <a:pt x="11494" y="21600"/>
                  </a:lnTo>
                  <a:lnTo>
                    <a:pt x="6943" y="17888"/>
                  </a:lnTo>
                  <a:lnTo>
                    <a:pt x="6285" y="18696"/>
                  </a:lnTo>
                  <a:cubicBezTo>
                    <a:pt x="6515" y="19354"/>
                    <a:pt x="6441" y="20052"/>
                    <a:pt x="6031" y="20559"/>
                  </a:cubicBezTo>
                  <a:cubicBezTo>
                    <a:pt x="5308" y="21408"/>
                    <a:pt x="3862" y="21408"/>
                    <a:pt x="2777" y="20518"/>
                  </a:cubicBezTo>
                  <a:cubicBezTo>
                    <a:pt x="1684" y="19628"/>
                    <a:pt x="1389" y="18244"/>
                    <a:pt x="2112" y="17354"/>
                  </a:cubicBezTo>
                  <a:cubicBezTo>
                    <a:pt x="2522" y="16847"/>
                    <a:pt x="3171" y="16655"/>
                    <a:pt x="3870" y="16738"/>
                  </a:cubicBezTo>
                  <a:lnTo>
                    <a:pt x="4543" y="15916"/>
                  </a:lnTo>
                  <a:lnTo>
                    <a:pt x="0" y="12204"/>
                  </a:lnTo>
                  <a:lnTo>
                    <a:pt x="3870" y="7533"/>
                  </a:lnTo>
                  <a:lnTo>
                    <a:pt x="4543" y="8067"/>
                  </a:lnTo>
                  <a:cubicBezTo>
                    <a:pt x="4330" y="8807"/>
                    <a:pt x="4404" y="9465"/>
                    <a:pt x="4823" y="9807"/>
                  </a:cubicBezTo>
                  <a:cubicBezTo>
                    <a:pt x="5538" y="10396"/>
                    <a:pt x="6967" y="9848"/>
                    <a:pt x="8035" y="8533"/>
                  </a:cubicBezTo>
                  <a:cubicBezTo>
                    <a:pt x="9103" y="7218"/>
                    <a:pt x="9383" y="5712"/>
                    <a:pt x="8660" y="5136"/>
                  </a:cubicBezTo>
                  <a:cubicBezTo>
                    <a:pt x="8241" y="4794"/>
                    <a:pt x="7575" y="4862"/>
                    <a:pt x="6901" y="5219"/>
                  </a:cubicBezTo>
                  <a:lnTo>
                    <a:pt x="6236" y="4671"/>
                  </a:lnTo>
                  <a:lnTo>
                    <a:pt x="10098" y="0"/>
                  </a:lnTo>
                  <a:lnTo>
                    <a:pt x="14641" y="3698"/>
                  </a:lnTo>
                  <a:lnTo>
                    <a:pt x="15315" y="2890"/>
                  </a:lnTo>
                  <a:cubicBezTo>
                    <a:pt x="15085" y="2233"/>
                    <a:pt x="15150" y="1534"/>
                    <a:pt x="15569" y="1041"/>
                  </a:cubicBezTo>
                  <a:cubicBezTo>
                    <a:pt x="16292" y="192"/>
                    <a:pt x="17730" y="192"/>
                    <a:pt x="18815" y="1082"/>
                  </a:cubicBezTo>
                  <a:cubicBezTo>
                    <a:pt x="19907" y="1972"/>
                    <a:pt x="20211" y="3356"/>
                    <a:pt x="19488" y="4246"/>
                  </a:cubicBezTo>
                  <a:cubicBezTo>
                    <a:pt x="19069" y="4753"/>
                    <a:pt x="18420" y="4945"/>
                    <a:pt x="17730" y="4862"/>
                  </a:cubicBezTo>
                  <a:lnTo>
                    <a:pt x="17057" y="5671"/>
                  </a:lnTo>
                  <a:lnTo>
                    <a:pt x="21600" y="9355"/>
                  </a:lnTo>
                </a:path>
              </a:pathLst>
            </a:custGeom>
            <a:solidFill>
              <a:srgbClr val="EAFFE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0" name="Shape 1471"/>
            <p:cNvSpPr/>
            <p:nvPr/>
          </p:nvSpPr>
          <p:spPr>
            <a:xfrm>
              <a:off x="1791232" y="778303"/>
              <a:ext cx="346850" cy="2008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81" h="19646" extrusionOk="0">
                  <a:moveTo>
                    <a:pt x="2849" y="16759"/>
                  </a:moveTo>
                  <a:cubicBezTo>
                    <a:pt x="-949" y="12885"/>
                    <a:pt x="-949" y="6688"/>
                    <a:pt x="2849" y="2905"/>
                  </a:cubicBezTo>
                  <a:cubicBezTo>
                    <a:pt x="6726" y="-968"/>
                    <a:pt x="12897" y="-968"/>
                    <a:pt x="16774" y="2905"/>
                  </a:cubicBezTo>
                  <a:cubicBezTo>
                    <a:pt x="20651" y="6733"/>
                    <a:pt x="20651" y="12931"/>
                    <a:pt x="16774" y="16759"/>
                  </a:cubicBezTo>
                  <a:cubicBezTo>
                    <a:pt x="12897" y="20632"/>
                    <a:pt x="6726" y="20586"/>
                    <a:pt x="2849" y="16759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1" name="Shape 1472"/>
            <p:cNvSpPr/>
            <p:nvPr/>
          </p:nvSpPr>
          <p:spPr>
            <a:xfrm>
              <a:off x="1844191" y="820483"/>
              <a:ext cx="99532" cy="446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882" h="17564" extrusionOk="0">
                  <a:moveTo>
                    <a:pt x="6902" y="1562"/>
                  </a:moveTo>
                  <a:cubicBezTo>
                    <a:pt x="9520" y="2661"/>
                    <a:pt x="14850" y="-3563"/>
                    <a:pt x="19058" y="3210"/>
                  </a:cubicBezTo>
                  <a:cubicBezTo>
                    <a:pt x="20367" y="6139"/>
                    <a:pt x="20367" y="16939"/>
                    <a:pt x="17188" y="17488"/>
                  </a:cubicBezTo>
                  <a:cubicBezTo>
                    <a:pt x="14009" y="18037"/>
                    <a:pt x="13728" y="15474"/>
                    <a:pt x="11390" y="13827"/>
                  </a:cubicBezTo>
                  <a:cubicBezTo>
                    <a:pt x="9053" y="12912"/>
                    <a:pt x="1853" y="11813"/>
                    <a:pt x="263" y="8701"/>
                  </a:cubicBezTo>
                  <a:cubicBezTo>
                    <a:pt x="-1233" y="5590"/>
                    <a:pt x="4003" y="647"/>
                    <a:pt x="6902" y="1562"/>
                  </a:cubicBezTo>
                </a:path>
              </a:pathLst>
            </a:custGeom>
            <a:solidFill>
              <a:srgbClr val="47716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2" name="Shape 1473"/>
            <p:cNvSpPr/>
            <p:nvPr/>
          </p:nvSpPr>
          <p:spPr>
            <a:xfrm>
              <a:off x="1836955" y="647507"/>
              <a:ext cx="136138" cy="1886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193" h="20545" extrusionOk="0">
                  <a:moveTo>
                    <a:pt x="16801" y="7368"/>
                  </a:moveTo>
                  <a:cubicBezTo>
                    <a:pt x="12718" y="7267"/>
                    <a:pt x="9557" y="7671"/>
                    <a:pt x="10282" y="9538"/>
                  </a:cubicBezTo>
                  <a:cubicBezTo>
                    <a:pt x="11006" y="11355"/>
                    <a:pt x="14167" y="19935"/>
                    <a:pt x="14167" y="19935"/>
                  </a:cubicBezTo>
                  <a:cubicBezTo>
                    <a:pt x="11928" y="21600"/>
                    <a:pt x="7121" y="19329"/>
                    <a:pt x="7121" y="19329"/>
                  </a:cubicBezTo>
                  <a:cubicBezTo>
                    <a:pt x="7121" y="19329"/>
                    <a:pt x="2313" y="10800"/>
                    <a:pt x="799" y="8226"/>
                  </a:cubicBezTo>
                  <a:cubicBezTo>
                    <a:pt x="-716" y="5703"/>
                    <a:pt x="74" y="3684"/>
                    <a:pt x="1918" y="2826"/>
                  </a:cubicBezTo>
                  <a:cubicBezTo>
                    <a:pt x="3762" y="1968"/>
                    <a:pt x="14167" y="0"/>
                    <a:pt x="14167" y="0"/>
                  </a:cubicBezTo>
                  <a:cubicBezTo>
                    <a:pt x="19567" y="0"/>
                    <a:pt x="20884" y="7520"/>
                    <a:pt x="16801" y="7368"/>
                  </a:cubicBezTo>
                </a:path>
              </a:pathLst>
            </a:custGeom>
            <a:solidFill>
              <a:srgbClr val="4773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3" name="Shape 1474"/>
            <p:cNvSpPr/>
            <p:nvPr/>
          </p:nvSpPr>
          <p:spPr>
            <a:xfrm>
              <a:off x="2020518" y="870856"/>
              <a:ext cx="78982" cy="949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595" h="20530" extrusionOk="0">
                  <a:moveTo>
                    <a:pt x="4004" y="6229"/>
                  </a:moveTo>
                  <a:cubicBezTo>
                    <a:pt x="5868" y="2813"/>
                    <a:pt x="13653" y="0"/>
                    <a:pt x="13653" y="0"/>
                  </a:cubicBezTo>
                  <a:cubicBezTo>
                    <a:pt x="13653" y="0"/>
                    <a:pt x="20122" y="2813"/>
                    <a:pt x="18258" y="6028"/>
                  </a:cubicBezTo>
                  <a:cubicBezTo>
                    <a:pt x="16394" y="9343"/>
                    <a:pt x="14311" y="8841"/>
                    <a:pt x="13653" y="11654"/>
                  </a:cubicBezTo>
                  <a:cubicBezTo>
                    <a:pt x="12995" y="14467"/>
                    <a:pt x="9048" y="21600"/>
                    <a:pt x="3785" y="20394"/>
                  </a:cubicBezTo>
                  <a:cubicBezTo>
                    <a:pt x="-1478" y="19289"/>
                    <a:pt x="-601" y="15572"/>
                    <a:pt x="2469" y="15371"/>
                  </a:cubicBezTo>
                  <a:cubicBezTo>
                    <a:pt x="5649" y="14768"/>
                    <a:pt x="2250" y="9946"/>
                    <a:pt x="4004" y="6229"/>
                  </a:cubicBezTo>
                </a:path>
              </a:pathLst>
            </a:custGeom>
            <a:solidFill>
              <a:srgbClr val="47716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4" name="Shape 1475"/>
            <p:cNvSpPr/>
            <p:nvPr/>
          </p:nvSpPr>
          <p:spPr>
            <a:xfrm>
              <a:off x="1887198" y="452025"/>
              <a:ext cx="48723" cy="433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005" extrusionOk="0">
                  <a:moveTo>
                    <a:pt x="7873" y="80"/>
                  </a:moveTo>
                  <a:cubicBezTo>
                    <a:pt x="8479" y="-595"/>
                    <a:pt x="19379" y="3230"/>
                    <a:pt x="19379" y="3230"/>
                  </a:cubicBezTo>
                  <a:lnTo>
                    <a:pt x="21600" y="16505"/>
                  </a:lnTo>
                  <a:lnTo>
                    <a:pt x="3432" y="21005"/>
                  </a:lnTo>
                  <a:lnTo>
                    <a:pt x="0" y="7730"/>
                  </a:lnTo>
                  <a:cubicBezTo>
                    <a:pt x="606" y="7055"/>
                    <a:pt x="7873" y="80"/>
                    <a:pt x="7873" y="80"/>
                  </a:cubicBezTo>
                </a:path>
              </a:pathLst>
            </a:custGeom>
            <a:solidFill>
              <a:srgbClr val="FFE98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5" name="Shape 1476"/>
            <p:cNvSpPr/>
            <p:nvPr/>
          </p:nvSpPr>
          <p:spPr>
            <a:xfrm>
              <a:off x="1872855" y="374965"/>
              <a:ext cx="82977" cy="1020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54" h="21178" extrusionOk="0">
                  <a:moveTo>
                    <a:pt x="4126" y="7128"/>
                  </a:moveTo>
                  <a:cubicBezTo>
                    <a:pt x="4490" y="6555"/>
                    <a:pt x="3762" y="6268"/>
                    <a:pt x="2427" y="6555"/>
                  </a:cubicBezTo>
                  <a:cubicBezTo>
                    <a:pt x="1335" y="6268"/>
                    <a:pt x="728" y="5790"/>
                    <a:pt x="0" y="4643"/>
                  </a:cubicBezTo>
                  <a:cubicBezTo>
                    <a:pt x="971" y="3114"/>
                    <a:pt x="2063" y="1967"/>
                    <a:pt x="3034" y="1490"/>
                  </a:cubicBezTo>
                  <a:cubicBezTo>
                    <a:pt x="6189" y="151"/>
                    <a:pt x="9222" y="-422"/>
                    <a:pt x="12620" y="343"/>
                  </a:cubicBezTo>
                  <a:cubicBezTo>
                    <a:pt x="16139" y="916"/>
                    <a:pt x="18445" y="2254"/>
                    <a:pt x="19901" y="4452"/>
                  </a:cubicBezTo>
                  <a:cubicBezTo>
                    <a:pt x="20144" y="4930"/>
                    <a:pt x="20144" y="5504"/>
                    <a:pt x="20508" y="6077"/>
                  </a:cubicBezTo>
                  <a:cubicBezTo>
                    <a:pt x="21600" y="7702"/>
                    <a:pt x="21600" y="9518"/>
                    <a:pt x="21236" y="11429"/>
                  </a:cubicBezTo>
                  <a:cubicBezTo>
                    <a:pt x="20872" y="13819"/>
                    <a:pt x="20265" y="15443"/>
                    <a:pt x="19537" y="16590"/>
                  </a:cubicBezTo>
                  <a:cubicBezTo>
                    <a:pt x="18930" y="17642"/>
                    <a:pt x="18445" y="18215"/>
                    <a:pt x="18081" y="18406"/>
                  </a:cubicBezTo>
                  <a:cubicBezTo>
                    <a:pt x="17474" y="19266"/>
                    <a:pt x="17110" y="19840"/>
                    <a:pt x="16746" y="20031"/>
                  </a:cubicBezTo>
                  <a:cubicBezTo>
                    <a:pt x="16382" y="20031"/>
                    <a:pt x="15411" y="20318"/>
                    <a:pt x="14076" y="20605"/>
                  </a:cubicBezTo>
                  <a:cubicBezTo>
                    <a:pt x="12620" y="20891"/>
                    <a:pt x="11649" y="21178"/>
                    <a:pt x="10921" y="21178"/>
                  </a:cubicBezTo>
                  <a:cubicBezTo>
                    <a:pt x="10921" y="21178"/>
                    <a:pt x="10557" y="20891"/>
                    <a:pt x="9222" y="20891"/>
                  </a:cubicBezTo>
                  <a:cubicBezTo>
                    <a:pt x="7888" y="20891"/>
                    <a:pt x="6796" y="20031"/>
                    <a:pt x="6553" y="18406"/>
                  </a:cubicBezTo>
                  <a:lnTo>
                    <a:pt x="5461" y="16017"/>
                  </a:lnTo>
                  <a:cubicBezTo>
                    <a:pt x="5825" y="15443"/>
                    <a:pt x="6310" y="14583"/>
                    <a:pt x="6553" y="13819"/>
                  </a:cubicBezTo>
                  <a:cubicBezTo>
                    <a:pt x="6917" y="12959"/>
                    <a:pt x="6796" y="12481"/>
                    <a:pt x="6796" y="12003"/>
                  </a:cubicBezTo>
                  <a:cubicBezTo>
                    <a:pt x="6796" y="11429"/>
                    <a:pt x="6553" y="10856"/>
                    <a:pt x="5461" y="10378"/>
                  </a:cubicBezTo>
                  <a:cubicBezTo>
                    <a:pt x="4733" y="9805"/>
                    <a:pt x="4126" y="10091"/>
                    <a:pt x="3398" y="11143"/>
                  </a:cubicBezTo>
                  <a:cubicBezTo>
                    <a:pt x="3398" y="12290"/>
                    <a:pt x="3034" y="13054"/>
                    <a:pt x="3034" y="13628"/>
                  </a:cubicBezTo>
                  <a:lnTo>
                    <a:pt x="1699" y="13628"/>
                  </a:lnTo>
                  <a:cubicBezTo>
                    <a:pt x="1699" y="11716"/>
                    <a:pt x="1335" y="10665"/>
                    <a:pt x="1335" y="10091"/>
                  </a:cubicBezTo>
                  <a:cubicBezTo>
                    <a:pt x="3034" y="8466"/>
                    <a:pt x="3762" y="7702"/>
                    <a:pt x="4126" y="7128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6" name="Shape 1477"/>
            <p:cNvSpPr/>
            <p:nvPr/>
          </p:nvSpPr>
          <p:spPr>
            <a:xfrm>
              <a:off x="1869340" y="397520"/>
              <a:ext cx="29702" cy="855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84" h="21600" extrusionOk="0">
                  <a:moveTo>
                    <a:pt x="3130" y="15580"/>
                  </a:moveTo>
                  <a:cubicBezTo>
                    <a:pt x="229" y="13928"/>
                    <a:pt x="229" y="12275"/>
                    <a:pt x="229" y="9679"/>
                  </a:cubicBezTo>
                  <a:cubicBezTo>
                    <a:pt x="1196" y="7318"/>
                    <a:pt x="1196" y="5902"/>
                    <a:pt x="229" y="5311"/>
                  </a:cubicBezTo>
                  <a:cubicBezTo>
                    <a:pt x="-416" y="4013"/>
                    <a:pt x="229" y="2007"/>
                    <a:pt x="3130" y="0"/>
                  </a:cubicBezTo>
                  <a:cubicBezTo>
                    <a:pt x="4097" y="1298"/>
                    <a:pt x="6677" y="2243"/>
                    <a:pt x="9578" y="2243"/>
                  </a:cubicBezTo>
                  <a:cubicBezTo>
                    <a:pt x="13124" y="2243"/>
                    <a:pt x="14091" y="2597"/>
                    <a:pt x="14091" y="3305"/>
                  </a:cubicBezTo>
                  <a:cubicBezTo>
                    <a:pt x="13124" y="4013"/>
                    <a:pt x="11190" y="5311"/>
                    <a:pt x="6677" y="6964"/>
                  </a:cubicBezTo>
                  <a:cubicBezTo>
                    <a:pt x="6677" y="7672"/>
                    <a:pt x="6677" y="8970"/>
                    <a:pt x="7644" y="11331"/>
                  </a:cubicBezTo>
                  <a:lnTo>
                    <a:pt x="11190" y="11331"/>
                  </a:lnTo>
                  <a:cubicBezTo>
                    <a:pt x="11190" y="10623"/>
                    <a:pt x="12157" y="9679"/>
                    <a:pt x="12157" y="8262"/>
                  </a:cubicBezTo>
                  <a:cubicBezTo>
                    <a:pt x="13124" y="6964"/>
                    <a:pt x="15703" y="6610"/>
                    <a:pt x="17638" y="7318"/>
                  </a:cubicBezTo>
                  <a:cubicBezTo>
                    <a:pt x="19572" y="7908"/>
                    <a:pt x="21184" y="8616"/>
                    <a:pt x="21184" y="9325"/>
                  </a:cubicBezTo>
                  <a:cubicBezTo>
                    <a:pt x="21184" y="9679"/>
                    <a:pt x="21184" y="10623"/>
                    <a:pt x="20539" y="11567"/>
                  </a:cubicBezTo>
                  <a:cubicBezTo>
                    <a:pt x="20539" y="12630"/>
                    <a:pt x="19572" y="13574"/>
                    <a:pt x="17638" y="14282"/>
                  </a:cubicBezTo>
                  <a:lnTo>
                    <a:pt x="20539" y="17233"/>
                  </a:lnTo>
                  <a:cubicBezTo>
                    <a:pt x="19572" y="17587"/>
                    <a:pt x="18605" y="18295"/>
                    <a:pt x="17638" y="19593"/>
                  </a:cubicBezTo>
                  <a:cubicBezTo>
                    <a:pt x="17638" y="19948"/>
                    <a:pt x="16671" y="20302"/>
                    <a:pt x="15703" y="20892"/>
                  </a:cubicBezTo>
                  <a:lnTo>
                    <a:pt x="15059" y="21600"/>
                  </a:lnTo>
                  <a:lnTo>
                    <a:pt x="13124" y="21600"/>
                  </a:lnTo>
                  <a:cubicBezTo>
                    <a:pt x="11190" y="21600"/>
                    <a:pt x="9578" y="21600"/>
                    <a:pt x="7644" y="20892"/>
                  </a:cubicBezTo>
                  <a:cubicBezTo>
                    <a:pt x="5709" y="20302"/>
                    <a:pt x="4097" y="18649"/>
                    <a:pt x="3130" y="1558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7" name="Shape 1478"/>
            <p:cNvSpPr/>
            <p:nvPr/>
          </p:nvSpPr>
          <p:spPr>
            <a:xfrm>
              <a:off x="1934327" y="651605"/>
              <a:ext cx="147069" cy="2495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2919" y="1252"/>
                  </a:lnTo>
                  <a:cubicBezTo>
                    <a:pt x="12919" y="1252"/>
                    <a:pt x="12714" y="9326"/>
                    <a:pt x="12919" y="11830"/>
                  </a:cubicBezTo>
                  <a:lnTo>
                    <a:pt x="21600" y="19460"/>
                  </a:lnTo>
                  <a:cubicBezTo>
                    <a:pt x="21600" y="19460"/>
                    <a:pt x="18114" y="21600"/>
                    <a:pt x="15380" y="21600"/>
                  </a:cubicBezTo>
                  <a:cubicBezTo>
                    <a:pt x="15380" y="21600"/>
                    <a:pt x="7109" y="16351"/>
                    <a:pt x="5947" y="14131"/>
                  </a:cubicBezTo>
                  <a:cubicBezTo>
                    <a:pt x="4580" y="11951"/>
                    <a:pt x="0" y="0"/>
                    <a:pt x="0" y="0"/>
                  </a:cubicBezTo>
                </a:path>
              </a:pathLst>
            </a:custGeom>
            <a:solidFill>
              <a:srgbClr val="52858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8" name="Shape 1479"/>
            <p:cNvSpPr/>
            <p:nvPr/>
          </p:nvSpPr>
          <p:spPr>
            <a:xfrm>
              <a:off x="1788767" y="400912"/>
              <a:ext cx="106166" cy="1334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32" h="21385" extrusionOk="0">
                  <a:moveTo>
                    <a:pt x="18921" y="21385"/>
                  </a:moveTo>
                  <a:cubicBezTo>
                    <a:pt x="18921" y="21385"/>
                    <a:pt x="13410" y="18861"/>
                    <a:pt x="10832" y="17228"/>
                  </a:cubicBezTo>
                  <a:cubicBezTo>
                    <a:pt x="8343" y="15521"/>
                    <a:pt x="3632" y="7133"/>
                    <a:pt x="3632" y="7133"/>
                  </a:cubicBezTo>
                  <a:cubicBezTo>
                    <a:pt x="-1168" y="4387"/>
                    <a:pt x="-812" y="230"/>
                    <a:pt x="2388" y="8"/>
                  </a:cubicBezTo>
                  <a:cubicBezTo>
                    <a:pt x="5676" y="-215"/>
                    <a:pt x="6832" y="4610"/>
                    <a:pt x="6832" y="4610"/>
                  </a:cubicBezTo>
                  <a:cubicBezTo>
                    <a:pt x="9410" y="7133"/>
                    <a:pt x="16432" y="14037"/>
                    <a:pt x="16432" y="14037"/>
                  </a:cubicBezTo>
                  <a:lnTo>
                    <a:pt x="20432" y="14705"/>
                  </a:lnTo>
                  <a:lnTo>
                    <a:pt x="18921" y="21385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9" name="Shape 1480"/>
            <p:cNvSpPr/>
            <p:nvPr/>
          </p:nvSpPr>
          <p:spPr>
            <a:xfrm>
              <a:off x="1872737" y="487679"/>
              <a:ext cx="90592" cy="656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809" h="16554" extrusionOk="0">
                  <a:moveTo>
                    <a:pt x="18643" y="12678"/>
                  </a:moveTo>
                  <a:cubicBezTo>
                    <a:pt x="16415" y="21600"/>
                    <a:pt x="1402" y="12326"/>
                    <a:pt x="1402" y="12326"/>
                  </a:cubicBezTo>
                  <a:cubicBezTo>
                    <a:pt x="1402" y="12326"/>
                    <a:pt x="-826" y="8687"/>
                    <a:pt x="336" y="4696"/>
                  </a:cubicBezTo>
                  <a:cubicBezTo>
                    <a:pt x="1111" y="1057"/>
                    <a:pt x="1692" y="0"/>
                    <a:pt x="1692" y="0"/>
                  </a:cubicBezTo>
                  <a:cubicBezTo>
                    <a:pt x="1692" y="0"/>
                    <a:pt x="20774" y="3639"/>
                    <a:pt x="18643" y="12678"/>
                  </a:cubicBezTo>
                </a:path>
              </a:pathLst>
            </a:custGeom>
            <a:solidFill>
              <a:srgbClr val="47686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0" name="Shape 1481"/>
            <p:cNvSpPr/>
            <p:nvPr/>
          </p:nvSpPr>
          <p:spPr>
            <a:xfrm>
              <a:off x="1874904" y="482162"/>
              <a:ext cx="151166" cy="1932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7909" extrusionOk="0">
                  <a:moveTo>
                    <a:pt x="15600" y="2804"/>
                  </a:moveTo>
                  <a:cubicBezTo>
                    <a:pt x="18800" y="5741"/>
                    <a:pt x="21600" y="17189"/>
                    <a:pt x="21600" y="17189"/>
                  </a:cubicBezTo>
                  <a:cubicBezTo>
                    <a:pt x="14467" y="19263"/>
                    <a:pt x="3933" y="16196"/>
                    <a:pt x="3933" y="16196"/>
                  </a:cubicBezTo>
                  <a:lnTo>
                    <a:pt x="0" y="3279"/>
                  </a:lnTo>
                  <a:cubicBezTo>
                    <a:pt x="3733" y="-2337"/>
                    <a:pt x="13133" y="471"/>
                    <a:pt x="15600" y="2804"/>
                  </a:cubicBezTo>
                </a:path>
              </a:pathLst>
            </a:custGeom>
            <a:solidFill>
              <a:srgbClr val="477A7D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1" name="Shape 1482"/>
            <p:cNvSpPr/>
            <p:nvPr/>
          </p:nvSpPr>
          <p:spPr>
            <a:xfrm>
              <a:off x="1711533" y="468366"/>
              <a:ext cx="154713" cy="926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44" h="20017" extrusionOk="0">
                  <a:moveTo>
                    <a:pt x="20444" y="20017"/>
                  </a:moveTo>
                  <a:cubicBezTo>
                    <a:pt x="20444" y="20017"/>
                    <a:pt x="15794" y="19815"/>
                    <a:pt x="13346" y="18907"/>
                  </a:cubicBezTo>
                  <a:cubicBezTo>
                    <a:pt x="11082" y="17796"/>
                    <a:pt x="4535" y="9217"/>
                    <a:pt x="4535" y="9217"/>
                  </a:cubicBezTo>
                  <a:cubicBezTo>
                    <a:pt x="374" y="8107"/>
                    <a:pt x="-1156" y="2353"/>
                    <a:pt x="924" y="436"/>
                  </a:cubicBezTo>
                  <a:cubicBezTo>
                    <a:pt x="3005" y="-1583"/>
                    <a:pt x="5758" y="4069"/>
                    <a:pt x="5758" y="4069"/>
                  </a:cubicBezTo>
                  <a:cubicBezTo>
                    <a:pt x="8328" y="6088"/>
                    <a:pt x="15794" y="11841"/>
                    <a:pt x="15794" y="11841"/>
                  </a:cubicBezTo>
                  <a:lnTo>
                    <a:pt x="18731" y="10327"/>
                  </a:lnTo>
                  <a:lnTo>
                    <a:pt x="20444" y="20017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2" name="Shape 1483"/>
            <p:cNvSpPr/>
            <p:nvPr/>
          </p:nvSpPr>
          <p:spPr>
            <a:xfrm>
              <a:off x="1847496" y="505717"/>
              <a:ext cx="92559" cy="600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004" h="16752" extrusionOk="0">
                  <a:moveTo>
                    <a:pt x="19930" y="6532"/>
                  </a:moveTo>
                  <a:cubicBezTo>
                    <a:pt x="21324" y="17138"/>
                    <a:pt x="2511" y="16750"/>
                    <a:pt x="2511" y="16750"/>
                  </a:cubicBezTo>
                  <a:cubicBezTo>
                    <a:pt x="2511" y="16750"/>
                    <a:pt x="819" y="12999"/>
                    <a:pt x="222" y="8343"/>
                  </a:cubicBezTo>
                  <a:cubicBezTo>
                    <a:pt x="-276" y="3945"/>
                    <a:pt x="222" y="1746"/>
                    <a:pt x="222" y="1746"/>
                  </a:cubicBezTo>
                  <a:cubicBezTo>
                    <a:pt x="222" y="1746"/>
                    <a:pt x="18537" y="-4462"/>
                    <a:pt x="19930" y="6532"/>
                  </a:cubicBezTo>
                </a:path>
              </a:pathLst>
            </a:custGeom>
            <a:solidFill>
              <a:srgbClr val="475F5A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sp>
        <p:nvSpPr>
          <p:cNvPr id="393" name="Shape 1488"/>
          <p:cNvSpPr/>
          <p:nvPr/>
        </p:nvSpPr>
        <p:spPr>
          <a:xfrm>
            <a:off x="5440796" y="2297783"/>
            <a:ext cx="2494766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400">
                <a:solidFill>
                  <a:srgbClr val="726658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1. Executive </a:t>
            </a:r>
            <a:r>
              <a:rPr lang="en-US" altLang="de-DE" dirty="0"/>
              <a:t>Summary</a:t>
            </a:r>
          </a:p>
        </p:txBody>
      </p:sp>
      <p:sp>
        <p:nvSpPr>
          <p:cNvPr id="395" name="Shape 1392"/>
          <p:cNvSpPr/>
          <p:nvPr/>
        </p:nvSpPr>
        <p:spPr>
          <a:xfrm>
            <a:off x="5877113" y="1779946"/>
            <a:ext cx="348337" cy="3497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19101"/>
                </a:lnTo>
                <a:cubicBezTo>
                  <a:pt x="21600" y="20532"/>
                  <a:pt x="20507" y="21600"/>
                  <a:pt x="19090" y="21600"/>
                </a:cubicBezTo>
                <a:lnTo>
                  <a:pt x="2510" y="21600"/>
                </a:lnTo>
                <a:cubicBezTo>
                  <a:pt x="1093" y="21600"/>
                  <a:pt x="0" y="20472"/>
                  <a:pt x="0" y="19101"/>
                </a:cubicBezTo>
                <a:lnTo>
                  <a:pt x="0" y="6146"/>
                </a:lnTo>
                <a:lnTo>
                  <a:pt x="3320" y="6146"/>
                </a:lnTo>
                <a:lnTo>
                  <a:pt x="3320" y="0"/>
                </a:lnTo>
                <a:lnTo>
                  <a:pt x="21600" y="0"/>
                </a:lnTo>
                <a:close/>
                <a:moveTo>
                  <a:pt x="4919" y="1592"/>
                </a:moveTo>
                <a:lnTo>
                  <a:pt x="4919" y="17691"/>
                </a:lnTo>
                <a:cubicBezTo>
                  <a:pt x="4919" y="18134"/>
                  <a:pt x="4555" y="18477"/>
                  <a:pt x="4109" y="18477"/>
                </a:cubicBezTo>
                <a:cubicBezTo>
                  <a:pt x="3644" y="18477"/>
                  <a:pt x="3320" y="18134"/>
                  <a:pt x="3320" y="17691"/>
                </a:cubicBezTo>
                <a:lnTo>
                  <a:pt x="3320" y="7737"/>
                </a:lnTo>
                <a:lnTo>
                  <a:pt x="1539" y="7737"/>
                </a:lnTo>
                <a:lnTo>
                  <a:pt x="1539" y="19101"/>
                </a:lnTo>
                <a:cubicBezTo>
                  <a:pt x="1539" y="19625"/>
                  <a:pt x="2004" y="20008"/>
                  <a:pt x="2510" y="20008"/>
                </a:cubicBezTo>
                <a:lnTo>
                  <a:pt x="19151" y="20008"/>
                </a:lnTo>
                <a:cubicBezTo>
                  <a:pt x="19657" y="20008"/>
                  <a:pt x="20061" y="19625"/>
                  <a:pt x="20061" y="19101"/>
                </a:cubicBezTo>
                <a:lnTo>
                  <a:pt x="20061" y="1592"/>
                </a:lnTo>
                <a:lnTo>
                  <a:pt x="4919" y="1592"/>
                </a:lnTo>
                <a:close/>
                <a:moveTo>
                  <a:pt x="18462" y="3123"/>
                </a:moveTo>
                <a:lnTo>
                  <a:pt x="6518" y="3123"/>
                </a:lnTo>
                <a:lnTo>
                  <a:pt x="6518" y="9269"/>
                </a:lnTo>
                <a:lnTo>
                  <a:pt x="18462" y="9269"/>
                </a:lnTo>
                <a:lnTo>
                  <a:pt x="18462" y="3123"/>
                </a:lnTo>
                <a:close/>
                <a:moveTo>
                  <a:pt x="11539" y="10981"/>
                </a:moveTo>
                <a:lnTo>
                  <a:pt x="6518" y="10981"/>
                </a:lnTo>
                <a:lnTo>
                  <a:pt x="6518" y="12513"/>
                </a:lnTo>
                <a:lnTo>
                  <a:pt x="11539" y="12513"/>
                </a:lnTo>
                <a:lnTo>
                  <a:pt x="11539" y="10981"/>
                </a:lnTo>
                <a:close/>
                <a:moveTo>
                  <a:pt x="13482" y="12513"/>
                </a:moveTo>
                <a:lnTo>
                  <a:pt x="18462" y="12513"/>
                </a:lnTo>
                <a:lnTo>
                  <a:pt x="18462" y="10981"/>
                </a:lnTo>
                <a:lnTo>
                  <a:pt x="13482" y="10981"/>
                </a:lnTo>
                <a:lnTo>
                  <a:pt x="13482" y="12513"/>
                </a:lnTo>
                <a:close/>
                <a:moveTo>
                  <a:pt x="11539" y="13923"/>
                </a:moveTo>
                <a:lnTo>
                  <a:pt x="6518" y="13923"/>
                </a:lnTo>
                <a:lnTo>
                  <a:pt x="6518" y="15475"/>
                </a:lnTo>
                <a:lnTo>
                  <a:pt x="11539" y="15475"/>
                </a:lnTo>
                <a:lnTo>
                  <a:pt x="11539" y="13923"/>
                </a:lnTo>
                <a:close/>
                <a:moveTo>
                  <a:pt x="13482" y="15475"/>
                </a:moveTo>
                <a:lnTo>
                  <a:pt x="18462" y="15475"/>
                </a:lnTo>
                <a:lnTo>
                  <a:pt x="18462" y="13923"/>
                </a:lnTo>
                <a:lnTo>
                  <a:pt x="13482" y="13923"/>
                </a:lnTo>
                <a:lnTo>
                  <a:pt x="13482" y="15475"/>
                </a:lnTo>
                <a:close/>
                <a:moveTo>
                  <a:pt x="13482" y="18537"/>
                </a:moveTo>
                <a:lnTo>
                  <a:pt x="18462" y="18537"/>
                </a:lnTo>
                <a:lnTo>
                  <a:pt x="18462" y="17006"/>
                </a:lnTo>
                <a:lnTo>
                  <a:pt x="13482" y="17006"/>
                </a:lnTo>
                <a:lnTo>
                  <a:pt x="13482" y="18537"/>
                </a:lnTo>
                <a:close/>
                <a:moveTo>
                  <a:pt x="11539" y="17006"/>
                </a:moveTo>
                <a:lnTo>
                  <a:pt x="6518" y="17006"/>
                </a:lnTo>
                <a:lnTo>
                  <a:pt x="6518" y="18537"/>
                </a:lnTo>
                <a:lnTo>
                  <a:pt x="11539" y="18537"/>
                </a:lnTo>
                <a:lnTo>
                  <a:pt x="11539" y="17006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75411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" name="Shape 1369"/>
          <p:cNvSpPr/>
          <p:nvPr/>
        </p:nvSpPr>
        <p:spPr>
          <a:xfrm flipH="1">
            <a:off x="5041681" y="2129272"/>
            <a:ext cx="684360" cy="681478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85" name="Shape 1370"/>
          <p:cNvSpPr/>
          <p:nvPr/>
        </p:nvSpPr>
        <p:spPr>
          <a:xfrm>
            <a:off x="5690023" y="2094694"/>
            <a:ext cx="70269" cy="702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750"/>
                </a:moveTo>
                <a:cubicBezTo>
                  <a:pt x="21600" y="12759"/>
                  <a:pt x="21196" y="14467"/>
                  <a:pt x="20187" y="16175"/>
                </a:cubicBezTo>
                <a:cubicBezTo>
                  <a:pt x="19178" y="17883"/>
                  <a:pt x="18067" y="19088"/>
                  <a:pt x="16250" y="20093"/>
                </a:cubicBezTo>
                <a:cubicBezTo>
                  <a:pt x="14535" y="21098"/>
                  <a:pt x="12819" y="21600"/>
                  <a:pt x="10800" y="21600"/>
                </a:cubicBezTo>
                <a:cubicBezTo>
                  <a:pt x="8781" y="21600"/>
                  <a:pt x="7065" y="21098"/>
                  <a:pt x="5350" y="20093"/>
                </a:cubicBezTo>
                <a:cubicBezTo>
                  <a:pt x="3634" y="19088"/>
                  <a:pt x="2422" y="17883"/>
                  <a:pt x="1413" y="16175"/>
                </a:cubicBezTo>
                <a:cubicBezTo>
                  <a:pt x="404" y="14467"/>
                  <a:pt x="0" y="12659"/>
                  <a:pt x="0" y="10750"/>
                </a:cubicBezTo>
                <a:cubicBezTo>
                  <a:pt x="0" y="8740"/>
                  <a:pt x="404" y="7133"/>
                  <a:pt x="1413" y="5425"/>
                </a:cubicBezTo>
                <a:cubicBezTo>
                  <a:pt x="2422" y="3717"/>
                  <a:pt x="3634" y="2311"/>
                  <a:pt x="5350" y="1407"/>
                </a:cubicBezTo>
                <a:cubicBezTo>
                  <a:pt x="7065" y="402"/>
                  <a:pt x="8781" y="0"/>
                  <a:pt x="10800" y="0"/>
                </a:cubicBezTo>
                <a:cubicBezTo>
                  <a:pt x="12819" y="0"/>
                  <a:pt x="14535" y="402"/>
                  <a:pt x="16250" y="1407"/>
                </a:cubicBezTo>
                <a:cubicBezTo>
                  <a:pt x="18067" y="2311"/>
                  <a:pt x="19178" y="3717"/>
                  <a:pt x="20187" y="5425"/>
                </a:cubicBezTo>
                <a:cubicBezTo>
                  <a:pt x="21196" y="7133"/>
                  <a:pt x="21600" y="8841"/>
                  <a:pt x="21600" y="10750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86" name="Shape 1372"/>
          <p:cNvSpPr/>
          <p:nvPr/>
        </p:nvSpPr>
        <p:spPr>
          <a:xfrm>
            <a:off x="5953281" y="3638664"/>
            <a:ext cx="2265414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2. Business </a:t>
            </a:r>
            <a:r>
              <a:rPr lang="en-US" altLang="de-DE" dirty="0"/>
              <a:t>Concept</a:t>
            </a:r>
          </a:p>
        </p:txBody>
      </p:sp>
      <p:sp>
        <p:nvSpPr>
          <p:cNvPr id="287" name="Shape 1373"/>
          <p:cNvSpPr/>
          <p:nvPr/>
        </p:nvSpPr>
        <p:spPr>
          <a:xfrm flipH="1">
            <a:off x="5221777" y="3244418"/>
            <a:ext cx="965307" cy="1441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88" name="Shape 1374"/>
          <p:cNvSpPr/>
          <p:nvPr/>
        </p:nvSpPr>
        <p:spPr>
          <a:xfrm>
            <a:off x="6151064" y="3209839"/>
            <a:ext cx="70269" cy="702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51"/>
                </a:moveTo>
                <a:cubicBezTo>
                  <a:pt x="21600" y="12879"/>
                  <a:pt x="21196" y="14501"/>
                  <a:pt x="20187" y="16225"/>
                </a:cubicBezTo>
                <a:cubicBezTo>
                  <a:pt x="19178" y="17949"/>
                  <a:pt x="17966" y="19166"/>
                  <a:pt x="16250" y="20180"/>
                </a:cubicBezTo>
                <a:cubicBezTo>
                  <a:pt x="14535" y="21194"/>
                  <a:pt x="12819" y="21600"/>
                  <a:pt x="10800" y="21600"/>
                </a:cubicBezTo>
                <a:cubicBezTo>
                  <a:pt x="8781" y="21600"/>
                  <a:pt x="7065" y="21194"/>
                  <a:pt x="5350" y="20180"/>
                </a:cubicBezTo>
                <a:cubicBezTo>
                  <a:pt x="3634" y="19166"/>
                  <a:pt x="2422" y="17949"/>
                  <a:pt x="1413" y="16225"/>
                </a:cubicBezTo>
                <a:cubicBezTo>
                  <a:pt x="404" y="14501"/>
                  <a:pt x="0" y="12879"/>
                  <a:pt x="0" y="10851"/>
                </a:cubicBezTo>
                <a:cubicBezTo>
                  <a:pt x="0" y="8823"/>
                  <a:pt x="404" y="7200"/>
                  <a:pt x="1413" y="5476"/>
                </a:cubicBezTo>
                <a:cubicBezTo>
                  <a:pt x="2422" y="3651"/>
                  <a:pt x="3634" y="2434"/>
                  <a:pt x="5350" y="1420"/>
                </a:cubicBezTo>
                <a:cubicBezTo>
                  <a:pt x="7065" y="406"/>
                  <a:pt x="8781" y="0"/>
                  <a:pt x="10800" y="0"/>
                </a:cubicBezTo>
                <a:cubicBezTo>
                  <a:pt x="12819" y="0"/>
                  <a:pt x="14535" y="406"/>
                  <a:pt x="16250" y="1420"/>
                </a:cubicBezTo>
                <a:cubicBezTo>
                  <a:pt x="17966" y="2434"/>
                  <a:pt x="19178" y="3651"/>
                  <a:pt x="20187" y="5476"/>
                </a:cubicBezTo>
                <a:cubicBezTo>
                  <a:pt x="21196" y="7200"/>
                  <a:pt x="21600" y="8823"/>
                  <a:pt x="21600" y="10851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04" name="Shape 1396"/>
          <p:cNvSpPr/>
          <p:nvPr/>
        </p:nvSpPr>
        <p:spPr>
          <a:xfrm>
            <a:off x="3557703" y="2191225"/>
            <a:ext cx="2106060" cy="21060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2"/>
                </a:moveTo>
                <a:cubicBezTo>
                  <a:pt x="21600" y="12786"/>
                  <a:pt x="21148" y="14482"/>
                  <a:pt x="20152" y="16201"/>
                </a:cubicBezTo>
                <a:cubicBezTo>
                  <a:pt x="19157" y="17923"/>
                  <a:pt x="17920" y="19160"/>
                  <a:pt x="16197" y="20152"/>
                </a:cubicBezTo>
                <a:cubicBezTo>
                  <a:pt x="14478" y="21148"/>
                  <a:pt x="12786" y="21600"/>
                  <a:pt x="10802" y="21600"/>
                </a:cubicBezTo>
                <a:cubicBezTo>
                  <a:pt x="8814" y="21600"/>
                  <a:pt x="7118" y="21148"/>
                  <a:pt x="5399" y="20152"/>
                </a:cubicBezTo>
                <a:cubicBezTo>
                  <a:pt x="3677" y="19160"/>
                  <a:pt x="2440" y="17923"/>
                  <a:pt x="1448" y="16201"/>
                </a:cubicBezTo>
                <a:cubicBezTo>
                  <a:pt x="452" y="14482"/>
                  <a:pt x="0" y="12786"/>
                  <a:pt x="0" y="10802"/>
                </a:cubicBezTo>
                <a:cubicBezTo>
                  <a:pt x="0" y="8814"/>
                  <a:pt x="452" y="7125"/>
                  <a:pt x="1448" y="5403"/>
                </a:cubicBezTo>
                <a:cubicBezTo>
                  <a:pt x="2440" y="3680"/>
                  <a:pt x="3677" y="2440"/>
                  <a:pt x="5399" y="1448"/>
                </a:cubicBezTo>
                <a:cubicBezTo>
                  <a:pt x="7118" y="452"/>
                  <a:pt x="8814" y="0"/>
                  <a:pt x="10802" y="0"/>
                </a:cubicBezTo>
                <a:cubicBezTo>
                  <a:pt x="12786" y="0"/>
                  <a:pt x="14478" y="452"/>
                  <a:pt x="16197" y="1448"/>
                </a:cubicBezTo>
                <a:cubicBezTo>
                  <a:pt x="17920" y="2440"/>
                  <a:pt x="19157" y="3680"/>
                  <a:pt x="20152" y="5403"/>
                </a:cubicBezTo>
                <a:cubicBezTo>
                  <a:pt x="21148" y="7125"/>
                  <a:pt x="21600" y="8814"/>
                  <a:pt x="21600" y="10802"/>
                </a:cubicBezTo>
              </a:path>
            </a:pathLst>
          </a:custGeom>
          <a:solidFill>
            <a:schemeClr val="tx2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pSp>
        <p:nvGrpSpPr>
          <p:cNvPr id="305" name="Group 1484"/>
          <p:cNvGrpSpPr/>
          <p:nvPr/>
        </p:nvGrpSpPr>
        <p:grpSpPr>
          <a:xfrm>
            <a:off x="3832889" y="2668116"/>
            <a:ext cx="1569599" cy="1196741"/>
            <a:chOff x="0" y="0"/>
            <a:chExt cx="2232318" cy="1702030"/>
          </a:xfrm>
        </p:grpSpPr>
        <p:sp>
          <p:nvSpPr>
            <p:cNvPr id="306" name="Shape 1397"/>
            <p:cNvSpPr/>
            <p:nvPr/>
          </p:nvSpPr>
          <p:spPr>
            <a:xfrm>
              <a:off x="1096685" y="1529186"/>
              <a:ext cx="299890" cy="1728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63" h="19639" extrusionOk="0">
                  <a:moveTo>
                    <a:pt x="2906" y="16748"/>
                  </a:moveTo>
                  <a:cubicBezTo>
                    <a:pt x="-969" y="12892"/>
                    <a:pt x="-969" y="6608"/>
                    <a:pt x="2906" y="2911"/>
                  </a:cubicBezTo>
                  <a:cubicBezTo>
                    <a:pt x="6689" y="-997"/>
                    <a:pt x="12912" y="-944"/>
                    <a:pt x="16756" y="2911"/>
                  </a:cubicBezTo>
                  <a:cubicBezTo>
                    <a:pt x="20631" y="6819"/>
                    <a:pt x="20631" y="12892"/>
                    <a:pt x="16756" y="16748"/>
                  </a:cubicBezTo>
                  <a:cubicBezTo>
                    <a:pt x="13004" y="20603"/>
                    <a:pt x="6780" y="20603"/>
                    <a:pt x="2906" y="16748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7" name="Shape 1398"/>
            <p:cNvSpPr/>
            <p:nvPr/>
          </p:nvSpPr>
          <p:spPr>
            <a:xfrm>
              <a:off x="0" y="866759"/>
              <a:ext cx="1251521" cy="7269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00" y="19462"/>
                  </a:moveTo>
                  <a:cubicBezTo>
                    <a:pt x="18434" y="20510"/>
                    <a:pt x="16983" y="20828"/>
                    <a:pt x="16262" y="20124"/>
                  </a:cubicBezTo>
                  <a:cubicBezTo>
                    <a:pt x="15853" y="19697"/>
                    <a:pt x="15765" y="19076"/>
                    <a:pt x="15990" y="18372"/>
                  </a:cubicBezTo>
                  <a:lnTo>
                    <a:pt x="15316" y="17710"/>
                  </a:lnTo>
                  <a:lnTo>
                    <a:pt x="11421" y="21600"/>
                  </a:lnTo>
                  <a:lnTo>
                    <a:pt x="6901" y="17117"/>
                  </a:lnTo>
                  <a:lnTo>
                    <a:pt x="7558" y="16469"/>
                  </a:lnTo>
                  <a:cubicBezTo>
                    <a:pt x="8255" y="16690"/>
                    <a:pt x="8913" y="16621"/>
                    <a:pt x="9321" y="16193"/>
                  </a:cubicBezTo>
                  <a:cubicBezTo>
                    <a:pt x="10043" y="15490"/>
                    <a:pt x="9730" y="14014"/>
                    <a:pt x="8664" y="12966"/>
                  </a:cubicBezTo>
                  <a:cubicBezTo>
                    <a:pt x="7574" y="11903"/>
                    <a:pt x="6131" y="11600"/>
                    <a:pt x="5426" y="12303"/>
                  </a:cubicBezTo>
                  <a:cubicBezTo>
                    <a:pt x="5025" y="12731"/>
                    <a:pt x="4953" y="13393"/>
                    <a:pt x="5154" y="14055"/>
                  </a:cubicBezTo>
                  <a:lnTo>
                    <a:pt x="4520" y="14676"/>
                  </a:lnTo>
                  <a:lnTo>
                    <a:pt x="0" y="10193"/>
                  </a:lnTo>
                  <a:lnTo>
                    <a:pt x="3887" y="6303"/>
                  </a:lnTo>
                  <a:lnTo>
                    <a:pt x="3214" y="5641"/>
                  </a:lnTo>
                  <a:cubicBezTo>
                    <a:pt x="2509" y="5876"/>
                    <a:pt x="1851" y="5793"/>
                    <a:pt x="1451" y="5366"/>
                  </a:cubicBezTo>
                  <a:cubicBezTo>
                    <a:pt x="721" y="4662"/>
                    <a:pt x="1018" y="3186"/>
                    <a:pt x="2084" y="2138"/>
                  </a:cubicBezTo>
                  <a:cubicBezTo>
                    <a:pt x="3142" y="1090"/>
                    <a:pt x="4593" y="772"/>
                    <a:pt x="5314" y="1476"/>
                  </a:cubicBezTo>
                  <a:cubicBezTo>
                    <a:pt x="5723" y="1903"/>
                    <a:pt x="5811" y="2566"/>
                    <a:pt x="5586" y="3228"/>
                  </a:cubicBezTo>
                  <a:lnTo>
                    <a:pt x="6268" y="3890"/>
                  </a:lnTo>
                  <a:lnTo>
                    <a:pt x="10155" y="0"/>
                  </a:lnTo>
                  <a:lnTo>
                    <a:pt x="14683" y="4469"/>
                  </a:lnTo>
                  <a:lnTo>
                    <a:pt x="14026" y="5131"/>
                  </a:lnTo>
                  <a:cubicBezTo>
                    <a:pt x="13321" y="4897"/>
                    <a:pt x="12663" y="4979"/>
                    <a:pt x="12263" y="5407"/>
                  </a:cubicBezTo>
                  <a:cubicBezTo>
                    <a:pt x="11557" y="6110"/>
                    <a:pt x="11854" y="7586"/>
                    <a:pt x="12912" y="8634"/>
                  </a:cubicBezTo>
                  <a:cubicBezTo>
                    <a:pt x="14002" y="9683"/>
                    <a:pt x="15453" y="10000"/>
                    <a:pt x="16150" y="9297"/>
                  </a:cubicBezTo>
                  <a:cubicBezTo>
                    <a:pt x="16559" y="8869"/>
                    <a:pt x="16623" y="8248"/>
                    <a:pt x="16422" y="7545"/>
                  </a:cubicBezTo>
                  <a:lnTo>
                    <a:pt x="17080" y="6883"/>
                  </a:lnTo>
                  <a:lnTo>
                    <a:pt x="21600" y="11366"/>
                  </a:lnTo>
                  <a:lnTo>
                    <a:pt x="17713" y="15255"/>
                  </a:lnTo>
                  <a:lnTo>
                    <a:pt x="18386" y="15917"/>
                  </a:lnTo>
                  <a:cubicBezTo>
                    <a:pt x="19091" y="15683"/>
                    <a:pt x="19749" y="15766"/>
                    <a:pt x="20157" y="16193"/>
                  </a:cubicBezTo>
                  <a:cubicBezTo>
                    <a:pt x="20879" y="16924"/>
                    <a:pt x="20582" y="18372"/>
                    <a:pt x="19500" y="19462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8" name="Shape 1399"/>
            <p:cNvSpPr/>
            <p:nvPr/>
          </p:nvSpPr>
          <p:spPr>
            <a:xfrm>
              <a:off x="1100353" y="940525"/>
              <a:ext cx="38475" cy="97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086" y="16639"/>
                  </a:lnTo>
                  <a:lnTo>
                    <a:pt x="0" y="21600"/>
                  </a:lnTo>
                  <a:lnTo>
                    <a:pt x="0" y="4961"/>
                  </a:lnTo>
                  <a:lnTo>
                    <a:pt x="21600" y="0"/>
                  </a:lnTo>
                </a:path>
              </a:pathLst>
            </a:custGeom>
            <a:solidFill>
              <a:srgbClr val="4751A3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9" name="Shape 1400"/>
            <p:cNvSpPr/>
            <p:nvPr/>
          </p:nvSpPr>
          <p:spPr>
            <a:xfrm>
              <a:off x="829875" y="930280"/>
              <a:ext cx="280259" cy="1839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6781"/>
                  </a:moveTo>
                  <a:lnTo>
                    <a:pt x="21600" y="15749"/>
                  </a:lnTo>
                  <a:cubicBezTo>
                    <a:pt x="21600" y="16077"/>
                    <a:pt x="21600" y="16241"/>
                    <a:pt x="21492" y="16514"/>
                  </a:cubicBezTo>
                  <a:cubicBezTo>
                    <a:pt x="21492" y="16678"/>
                    <a:pt x="21492" y="16678"/>
                    <a:pt x="21385" y="16843"/>
                  </a:cubicBezTo>
                  <a:lnTo>
                    <a:pt x="21385" y="17007"/>
                  </a:lnTo>
                  <a:cubicBezTo>
                    <a:pt x="21385" y="17007"/>
                    <a:pt x="21385" y="17116"/>
                    <a:pt x="21277" y="17116"/>
                  </a:cubicBezTo>
                  <a:cubicBezTo>
                    <a:pt x="21169" y="17280"/>
                    <a:pt x="21169" y="17608"/>
                    <a:pt x="21062" y="17772"/>
                  </a:cubicBezTo>
                  <a:cubicBezTo>
                    <a:pt x="21062" y="17772"/>
                    <a:pt x="21062" y="17936"/>
                    <a:pt x="20990" y="17936"/>
                  </a:cubicBezTo>
                  <a:cubicBezTo>
                    <a:pt x="20990" y="18046"/>
                    <a:pt x="20990" y="18046"/>
                    <a:pt x="20882" y="18046"/>
                  </a:cubicBezTo>
                  <a:cubicBezTo>
                    <a:pt x="20775" y="18210"/>
                    <a:pt x="20775" y="18210"/>
                    <a:pt x="20775" y="18374"/>
                  </a:cubicBezTo>
                  <a:cubicBezTo>
                    <a:pt x="20667" y="18538"/>
                    <a:pt x="20559" y="18866"/>
                    <a:pt x="20380" y="18975"/>
                  </a:cubicBezTo>
                  <a:cubicBezTo>
                    <a:pt x="20380" y="18975"/>
                    <a:pt x="20272" y="18975"/>
                    <a:pt x="20272" y="19139"/>
                  </a:cubicBezTo>
                  <a:cubicBezTo>
                    <a:pt x="20057" y="19467"/>
                    <a:pt x="19878" y="19631"/>
                    <a:pt x="19662" y="19905"/>
                  </a:cubicBezTo>
                  <a:cubicBezTo>
                    <a:pt x="19662" y="19905"/>
                    <a:pt x="19555" y="19905"/>
                    <a:pt x="19555" y="20069"/>
                  </a:cubicBezTo>
                  <a:cubicBezTo>
                    <a:pt x="19340" y="20233"/>
                    <a:pt x="19160" y="20397"/>
                    <a:pt x="18945" y="20561"/>
                  </a:cubicBezTo>
                  <a:cubicBezTo>
                    <a:pt x="18837" y="20561"/>
                    <a:pt x="18765" y="20670"/>
                    <a:pt x="18765" y="20670"/>
                  </a:cubicBezTo>
                  <a:cubicBezTo>
                    <a:pt x="18658" y="20834"/>
                    <a:pt x="18443" y="20834"/>
                    <a:pt x="18335" y="20998"/>
                  </a:cubicBezTo>
                  <a:cubicBezTo>
                    <a:pt x="18335" y="20998"/>
                    <a:pt x="18335" y="20998"/>
                    <a:pt x="18227" y="20998"/>
                  </a:cubicBezTo>
                  <a:cubicBezTo>
                    <a:pt x="17940" y="21163"/>
                    <a:pt x="17546" y="21327"/>
                    <a:pt x="17223" y="21491"/>
                  </a:cubicBezTo>
                  <a:lnTo>
                    <a:pt x="16828" y="21491"/>
                  </a:lnTo>
                  <a:cubicBezTo>
                    <a:pt x="16613" y="21491"/>
                    <a:pt x="16505" y="21600"/>
                    <a:pt x="16326" y="21600"/>
                  </a:cubicBezTo>
                  <a:lnTo>
                    <a:pt x="12989" y="21600"/>
                  </a:lnTo>
                  <a:cubicBezTo>
                    <a:pt x="12773" y="21600"/>
                    <a:pt x="12558" y="21491"/>
                    <a:pt x="12379" y="21491"/>
                  </a:cubicBezTo>
                  <a:lnTo>
                    <a:pt x="11948" y="21491"/>
                  </a:lnTo>
                  <a:cubicBezTo>
                    <a:pt x="11661" y="21491"/>
                    <a:pt x="11446" y="21327"/>
                    <a:pt x="11159" y="21327"/>
                  </a:cubicBezTo>
                  <a:cubicBezTo>
                    <a:pt x="11051" y="21327"/>
                    <a:pt x="10944" y="21327"/>
                    <a:pt x="10836" y="21163"/>
                  </a:cubicBezTo>
                  <a:lnTo>
                    <a:pt x="10764" y="21163"/>
                  </a:lnTo>
                  <a:cubicBezTo>
                    <a:pt x="10334" y="20998"/>
                    <a:pt x="9831" y="20834"/>
                    <a:pt x="9437" y="20670"/>
                  </a:cubicBezTo>
                  <a:lnTo>
                    <a:pt x="9329" y="20670"/>
                  </a:lnTo>
                  <a:cubicBezTo>
                    <a:pt x="9221" y="20670"/>
                    <a:pt x="9221" y="20561"/>
                    <a:pt x="9221" y="20561"/>
                  </a:cubicBezTo>
                  <a:cubicBezTo>
                    <a:pt x="8611" y="20233"/>
                    <a:pt x="8001" y="19905"/>
                    <a:pt x="7391" y="19631"/>
                  </a:cubicBezTo>
                  <a:lnTo>
                    <a:pt x="7320" y="19631"/>
                  </a:lnTo>
                  <a:cubicBezTo>
                    <a:pt x="7212" y="19631"/>
                    <a:pt x="7212" y="19467"/>
                    <a:pt x="7104" y="19467"/>
                  </a:cubicBezTo>
                  <a:cubicBezTo>
                    <a:pt x="6817" y="19303"/>
                    <a:pt x="6494" y="18975"/>
                    <a:pt x="6207" y="18866"/>
                  </a:cubicBezTo>
                  <a:cubicBezTo>
                    <a:pt x="6100" y="18702"/>
                    <a:pt x="5992" y="18702"/>
                    <a:pt x="5884" y="18538"/>
                  </a:cubicBezTo>
                  <a:cubicBezTo>
                    <a:pt x="5490" y="18210"/>
                    <a:pt x="5095" y="17936"/>
                    <a:pt x="4772" y="17608"/>
                  </a:cubicBezTo>
                  <a:cubicBezTo>
                    <a:pt x="1722" y="14983"/>
                    <a:pt x="0" y="11593"/>
                    <a:pt x="0" y="8804"/>
                  </a:cubicBezTo>
                  <a:lnTo>
                    <a:pt x="0" y="0"/>
                  </a:lnTo>
                  <a:cubicBezTo>
                    <a:pt x="0" y="2789"/>
                    <a:pt x="1650" y="6015"/>
                    <a:pt x="4772" y="8804"/>
                  </a:cubicBezTo>
                  <a:cubicBezTo>
                    <a:pt x="5167" y="9132"/>
                    <a:pt x="5490" y="9406"/>
                    <a:pt x="5884" y="9734"/>
                  </a:cubicBezTo>
                  <a:cubicBezTo>
                    <a:pt x="5992" y="9898"/>
                    <a:pt x="6100" y="9898"/>
                    <a:pt x="6207" y="10062"/>
                  </a:cubicBezTo>
                  <a:cubicBezTo>
                    <a:pt x="6494" y="10335"/>
                    <a:pt x="6817" y="10499"/>
                    <a:pt x="7104" y="10663"/>
                  </a:cubicBezTo>
                  <a:cubicBezTo>
                    <a:pt x="7212" y="10663"/>
                    <a:pt x="7320" y="10827"/>
                    <a:pt x="7391" y="10827"/>
                  </a:cubicBezTo>
                  <a:cubicBezTo>
                    <a:pt x="8001" y="11101"/>
                    <a:pt x="8611" y="11429"/>
                    <a:pt x="9221" y="11757"/>
                  </a:cubicBezTo>
                  <a:cubicBezTo>
                    <a:pt x="9329" y="11757"/>
                    <a:pt x="9329" y="11921"/>
                    <a:pt x="9437" y="11921"/>
                  </a:cubicBezTo>
                  <a:cubicBezTo>
                    <a:pt x="9831" y="12030"/>
                    <a:pt x="10334" y="12194"/>
                    <a:pt x="10764" y="12358"/>
                  </a:cubicBezTo>
                  <a:cubicBezTo>
                    <a:pt x="10836" y="12358"/>
                    <a:pt x="10944" y="12523"/>
                    <a:pt x="11051" y="12523"/>
                  </a:cubicBezTo>
                  <a:cubicBezTo>
                    <a:pt x="11374" y="12687"/>
                    <a:pt x="11553" y="12687"/>
                    <a:pt x="11876" y="12687"/>
                  </a:cubicBezTo>
                  <a:cubicBezTo>
                    <a:pt x="11948" y="12687"/>
                    <a:pt x="12163" y="12687"/>
                    <a:pt x="12271" y="12796"/>
                  </a:cubicBezTo>
                  <a:cubicBezTo>
                    <a:pt x="12486" y="12796"/>
                    <a:pt x="12666" y="12960"/>
                    <a:pt x="12881" y="12960"/>
                  </a:cubicBezTo>
                  <a:cubicBezTo>
                    <a:pt x="13096" y="12960"/>
                    <a:pt x="13168" y="13124"/>
                    <a:pt x="13276" y="13124"/>
                  </a:cubicBezTo>
                  <a:lnTo>
                    <a:pt x="15608" y="13124"/>
                  </a:lnTo>
                  <a:cubicBezTo>
                    <a:pt x="15823" y="13124"/>
                    <a:pt x="15895" y="13124"/>
                    <a:pt x="16003" y="12960"/>
                  </a:cubicBezTo>
                  <a:cubicBezTo>
                    <a:pt x="16074" y="12796"/>
                    <a:pt x="16326" y="12796"/>
                    <a:pt x="16505" y="12796"/>
                  </a:cubicBezTo>
                  <a:cubicBezTo>
                    <a:pt x="16613" y="12796"/>
                    <a:pt x="16828" y="12796"/>
                    <a:pt x="16936" y="12687"/>
                  </a:cubicBezTo>
                  <a:cubicBezTo>
                    <a:pt x="17330" y="12523"/>
                    <a:pt x="17653" y="12358"/>
                    <a:pt x="17940" y="12194"/>
                  </a:cubicBezTo>
                  <a:cubicBezTo>
                    <a:pt x="18155" y="12030"/>
                    <a:pt x="18227" y="12030"/>
                    <a:pt x="18335" y="11921"/>
                  </a:cubicBezTo>
                  <a:cubicBezTo>
                    <a:pt x="18443" y="11921"/>
                    <a:pt x="18443" y="11757"/>
                    <a:pt x="18550" y="11757"/>
                  </a:cubicBezTo>
                  <a:cubicBezTo>
                    <a:pt x="18765" y="11593"/>
                    <a:pt x="18945" y="11429"/>
                    <a:pt x="19160" y="11265"/>
                  </a:cubicBezTo>
                  <a:cubicBezTo>
                    <a:pt x="19447" y="10991"/>
                    <a:pt x="19662" y="10827"/>
                    <a:pt x="19878" y="10499"/>
                  </a:cubicBezTo>
                  <a:cubicBezTo>
                    <a:pt x="19878" y="10499"/>
                    <a:pt x="19950" y="10499"/>
                    <a:pt x="19950" y="10335"/>
                  </a:cubicBezTo>
                  <a:cubicBezTo>
                    <a:pt x="20165" y="10062"/>
                    <a:pt x="20380" y="9734"/>
                    <a:pt x="20488" y="9406"/>
                  </a:cubicBezTo>
                  <a:cubicBezTo>
                    <a:pt x="20488" y="9296"/>
                    <a:pt x="20488" y="9296"/>
                    <a:pt x="20559" y="9296"/>
                  </a:cubicBezTo>
                  <a:cubicBezTo>
                    <a:pt x="20667" y="8968"/>
                    <a:pt x="20775" y="8640"/>
                    <a:pt x="20882" y="8367"/>
                  </a:cubicBezTo>
                  <a:lnTo>
                    <a:pt x="20882" y="8203"/>
                  </a:lnTo>
                  <a:cubicBezTo>
                    <a:pt x="21385" y="7601"/>
                    <a:pt x="21492" y="7273"/>
                    <a:pt x="21600" y="6781"/>
                  </a:cubicBezTo>
                </a:path>
              </a:pathLst>
            </a:custGeom>
            <a:solidFill>
              <a:srgbClr val="474E8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0" name="Shape 1401"/>
            <p:cNvSpPr/>
            <p:nvPr/>
          </p:nvSpPr>
          <p:spPr>
            <a:xfrm>
              <a:off x="131140" y="563495"/>
              <a:ext cx="40506" cy="978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961"/>
                  </a:moveTo>
                  <a:lnTo>
                    <a:pt x="21600" y="21600"/>
                  </a:lnTo>
                  <a:lnTo>
                    <a:pt x="0" y="16329"/>
                  </a:lnTo>
                  <a:lnTo>
                    <a:pt x="0" y="0"/>
                  </a:lnTo>
                  <a:lnTo>
                    <a:pt x="21600" y="4961"/>
                  </a:lnTo>
                </a:path>
              </a:pathLst>
            </a:custGeom>
            <a:solidFill>
              <a:srgbClr val="DE1C3A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1" name="Shape 1402"/>
            <p:cNvSpPr/>
            <p:nvPr/>
          </p:nvSpPr>
          <p:spPr>
            <a:xfrm>
              <a:off x="149582" y="982562"/>
              <a:ext cx="91744" cy="423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525" extrusionOk="0">
                  <a:moveTo>
                    <a:pt x="11403" y="1514"/>
                  </a:moveTo>
                  <a:cubicBezTo>
                    <a:pt x="14254" y="5789"/>
                    <a:pt x="16995" y="5789"/>
                    <a:pt x="19736" y="10964"/>
                  </a:cubicBezTo>
                  <a:cubicBezTo>
                    <a:pt x="20065" y="11639"/>
                    <a:pt x="21600" y="13439"/>
                    <a:pt x="21600" y="14789"/>
                  </a:cubicBezTo>
                  <a:cubicBezTo>
                    <a:pt x="21052" y="18614"/>
                    <a:pt x="17653" y="21089"/>
                    <a:pt x="16118" y="20414"/>
                  </a:cubicBezTo>
                  <a:cubicBezTo>
                    <a:pt x="13596" y="19739"/>
                    <a:pt x="11403" y="18614"/>
                    <a:pt x="8662" y="17939"/>
                  </a:cubicBezTo>
                  <a:cubicBezTo>
                    <a:pt x="6798" y="17264"/>
                    <a:pt x="2741" y="17264"/>
                    <a:pt x="877" y="16139"/>
                  </a:cubicBezTo>
                  <a:cubicBezTo>
                    <a:pt x="0" y="14789"/>
                    <a:pt x="0" y="10289"/>
                    <a:pt x="0" y="7814"/>
                  </a:cubicBezTo>
                  <a:cubicBezTo>
                    <a:pt x="0" y="6464"/>
                    <a:pt x="1206" y="3989"/>
                    <a:pt x="1206" y="3989"/>
                  </a:cubicBezTo>
                  <a:cubicBezTo>
                    <a:pt x="2741" y="5339"/>
                    <a:pt x="3399" y="6464"/>
                    <a:pt x="5592" y="5789"/>
                  </a:cubicBezTo>
                  <a:cubicBezTo>
                    <a:pt x="5811" y="5339"/>
                    <a:pt x="6469" y="5339"/>
                    <a:pt x="7127" y="5339"/>
                  </a:cubicBezTo>
                  <a:cubicBezTo>
                    <a:pt x="8991" y="839"/>
                    <a:pt x="10197" y="-511"/>
                    <a:pt x="10855" y="164"/>
                  </a:cubicBezTo>
                  <a:cubicBezTo>
                    <a:pt x="10855" y="164"/>
                    <a:pt x="11074" y="839"/>
                    <a:pt x="11403" y="1514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2" name="Shape 1403"/>
            <p:cNvSpPr/>
            <p:nvPr/>
          </p:nvSpPr>
          <p:spPr>
            <a:xfrm>
              <a:off x="59423" y="918935"/>
              <a:ext cx="88540" cy="4162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21" h="21118" extrusionOk="0">
                  <a:moveTo>
                    <a:pt x="11520" y="1376"/>
                  </a:moveTo>
                  <a:cubicBezTo>
                    <a:pt x="14400" y="6021"/>
                    <a:pt x="17169" y="6021"/>
                    <a:pt x="19938" y="11363"/>
                  </a:cubicBezTo>
                  <a:cubicBezTo>
                    <a:pt x="20271" y="11828"/>
                    <a:pt x="21600" y="15776"/>
                    <a:pt x="21268" y="17170"/>
                  </a:cubicBezTo>
                  <a:cubicBezTo>
                    <a:pt x="20935" y="21118"/>
                    <a:pt x="17502" y="21118"/>
                    <a:pt x="16283" y="21118"/>
                  </a:cubicBezTo>
                  <a:cubicBezTo>
                    <a:pt x="13735" y="20421"/>
                    <a:pt x="11520" y="19260"/>
                    <a:pt x="8751" y="18563"/>
                  </a:cubicBezTo>
                  <a:cubicBezTo>
                    <a:pt x="6868" y="17866"/>
                    <a:pt x="2769" y="17866"/>
                    <a:pt x="886" y="16473"/>
                  </a:cubicBezTo>
                  <a:cubicBezTo>
                    <a:pt x="0" y="15312"/>
                    <a:pt x="0" y="10666"/>
                    <a:pt x="0" y="8112"/>
                  </a:cubicBezTo>
                  <a:cubicBezTo>
                    <a:pt x="0" y="6718"/>
                    <a:pt x="1218" y="4163"/>
                    <a:pt x="1218" y="4163"/>
                  </a:cubicBezTo>
                  <a:cubicBezTo>
                    <a:pt x="2769" y="5324"/>
                    <a:pt x="3434" y="6718"/>
                    <a:pt x="5649" y="6021"/>
                  </a:cubicBezTo>
                  <a:cubicBezTo>
                    <a:pt x="5871" y="5324"/>
                    <a:pt x="6535" y="5324"/>
                    <a:pt x="7200" y="5324"/>
                  </a:cubicBezTo>
                  <a:cubicBezTo>
                    <a:pt x="9083" y="679"/>
                    <a:pt x="10302" y="-482"/>
                    <a:pt x="10966" y="215"/>
                  </a:cubicBezTo>
                  <a:cubicBezTo>
                    <a:pt x="10966" y="-482"/>
                    <a:pt x="11188" y="679"/>
                    <a:pt x="11520" y="1376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3" name="Shape 1404"/>
            <p:cNvSpPr/>
            <p:nvPr/>
          </p:nvSpPr>
          <p:spPr>
            <a:xfrm>
              <a:off x="178269" y="618820"/>
              <a:ext cx="137525" cy="1039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0" h="20382" extrusionOk="0">
                  <a:moveTo>
                    <a:pt x="0" y="2370"/>
                  </a:moveTo>
                  <a:lnTo>
                    <a:pt x="6285" y="0"/>
                  </a:lnTo>
                  <a:lnTo>
                    <a:pt x="7080" y="4192"/>
                  </a:lnTo>
                  <a:cubicBezTo>
                    <a:pt x="7080" y="4192"/>
                    <a:pt x="14015" y="11119"/>
                    <a:pt x="16688" y="13397"/>
                  </a:cubicBezTo>
                  <a:cubicBezTo>
                    <a:pt x="16688" y="13397"/>
                    <a:pt x="21600" y="14400"/>
                    <a:pt x="21383" y="17772"/>
                  </a:cubicBezTo>
                  <a:cubicBezTo>
                    <a:pt x="21383" y="21144"/>
                    <a:pt x="17338" y="21600"/>
                    <a:pt x="14448" y="17043"/>
                  </a:cubicBezTo>
                  <a:cubicBezTo>
                    <a:pt x="14448" y="17043"/>
                    <a:pt x="6068" y="12668"/>
                    <a:pt x="4262" y="10299"/>
                  </a:cubicBezTo>
                  <a:cubicBezTo>
                    <a:pt x="2601" y="8020"/>
                    <a:pt x="0" y="2370"/>
                    <a:pt x="0" y="237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4" name="Shape 1405"/>
            <p:cNvSpPr/>
            <p:nvPr/>
          </p:nvSpPr>
          <p:spPr>
            <a:xfrm>
              <a:off x="158344" y="555911"/>
              <a:ext cx="68636" cy="849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29" h="19153" extrusionOk="0">
                  <a:moveTo>
                    <a:pt x="3479" y="279"/>
                  </a:moveTo>
                  <a:cubicBezTo>
                    <a:pt x="11804" y="-2447"/>
                    <a:pt x="16529" y="15693"/>
                    <a:pt x="16529" y="15693"/>
                  </a:cubicBezTo>
                  <a:cubicBezTo>
                    <a:pt x="16529" y="15693"/>
                    <a:pt x="15291" y="16846"/>
                    <a:pt x="11804" y="18000"/>
                  </a:cubicBezTo>
                  <a:cubicBezTo>
                    <a:pt x="7979" y="19153"/>
                    <a:pt x="4829" y="19153"/>
                    <a:pt x="4829" y="19153"/>
                  </a:cubicBezTo>
                  <a:cubicBezTo>
                    <a:pt x="4829" y="19153"/>
                    <a:pt x="-5071" y="2901"/>
                    <a:pt x="3479" y="279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5" name="Shape 1406"/>
            <p:cNvSpPr/>
            <p:nvPr/>
          </p:nvSpPr>
          <p:spPr>
            <a:xfrm>
              <a:off x="63521" y="751222"/>
              <a:ext cx="116331" cy="1849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150" extrusionOk="0">
                  <a:moveTo>
                    <a:pt x="9802" y="123"/>
                  </a:moveTo>
                  <a:cubicBezTo>
                    <a:pt x="12058" y="-584"/>
                    <a:pt x="21600" y="1990"/>
                    <a:pt x="21600" y="1990"/>
                  </a:cubicBezTo>
                  <a:cubicBezTo>
                    <a:pt x="21600" y="1990"/>
                    <a:pt x="15701" y="11780"/>
                    <a:pt x="13966" y="13345"/>
                  </a:cubicBezTo>
                  <a:cubicBezTo>
                    <a:pt x="12058" y="14909"/>
                    <a:pt x="7373" y="19603"/>
                    <a:pt x="7373" y="19603"/>
                  </a:cubicBezTo>
                  <a:cubicBezTo>
                    <a:pt x="7373" y="19603"/>
                    <a:pt x="1475" y="21016"/>
                    <a:pt x="0" y="19300"/>
                  </a:cubicBezTo>
                  <a:cubicBezTo>
                    <a:pt x="0" y="19300"/>
                    <a:pt x="1475" y="13496"/>
                    <a:pt x="4945" y="11074"/>
                  </a:cubicBezTo>
                  <a:cubicBezTo>
                    <a:pt x="4945" y="11074"/>
                    <a:pt x="7894" y="880"/>
                    <a:pt x="9802" y="123"/>
                  </a:cubicBezTo>
                </a:path>
              </a:pathLst>
            </a:custGeom>
            <a:solidFill>
              <a:srgbClr val="47645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6" name="Shape 1407"/>
            <p:cNvSpPr/>
            <p:nvPr/>
          </p:nvSpPr>
          <p:spPr>
            <a:xfrm>
              <a:off x="90585" y="764305"/>
              <a:ext cx="109757" cy="2345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23" h="21177" extrusionOk="0">
                  <a:moveTo>
                    <a:pt x="13473" y="713"/>
                  </a:moveTo>
                  <a:cubicBezTo>
                    <a:pt x="13473" y="713"/>
                    <a:pt x="18063" y="8976"/>
                    <a:pt x="18873" y="10611"/>
                  </a:cubicBezTo>
                  <a:cubicBezTo>
                    <a:pt x="19593" y="12289"/>
                    <a:pt x="21123" y="20551"/>
                    <a:pt x="21123" y="20551"/>
                  </a:cubicBezTo>
                  <a:cubicBezTo>
                    <a:pt x="17343" y="21600"/>
                    <a:pt x="12753" y="21013"/>
                    <a:pt x="12753" y="21013"/>
                  </a:cubicBezTo>
                  <a:lnTo>
                    <a:pt x="8433" y="10485"/>
                  </a:lnTo>
                  <a:cubicBezTo>
                    <a:pt x="8433" y="10485"/>
                    <a:pt x="3573" y="5662"/>
                    <a:pt x="1593" y="3901"/>
                  </a:cubicBezTo>
                  <a:cubicBezTo>
                    <a:pt x="-477" y="2013"/>
                    <a:pt x="63" y="0"/>
                    <a:pt x="63" y="0"/>
                  </a:cubicBezTo>
                  <a:lnTo>
                    <a:pt x="13473" y="713"/>
                  </a:lnTo>
                </a:path>
              </a:pathLst>
            </a:custGeom>
            <a:solidFill>
              <a:srgbClr val="4773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7" name="Shape 1408"/>
            <p:cNvSpPr/>
            <p:nvPr/>
          </p:nvSpPr>
          <p:spPr>
            <a:xfrm>
              <a:off x="84011" y="550935"/>
              <a:ext cx="114285" cy="2299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9429" extrusionOk="0">
                  <a:moveTo>
                    <a:pt x="21600" y="2581"/>
                  </a:moveTo>
                  <a:lnTo>
                    <a:pt x="19580" y="18644"/>
                  </a:lnTo>
                  <a:cubicBezTo>
                    <a:pt x="10712" y="20411"/>
                    <a:pt x="0" y="18644"/>
                    <a:pt x="0" y="18644"/>
                  </a:cubicBezTo>
                  <a:lnTo>
                    <a:pt x="0" y="2228"/>
                  </a:lnTo>
                  <a:cubicBezTo>
                    <a:pt x="8254" y="-1189"/>
                    <a:pt x="18351" y="343"/>
                    <a:pt x="18351" y="343"/>
                  </a:cubicBezTo>
                  <a:cubicBezTo>
                    <a:pt x="20898" y="892"/>
                    <a:pt x="21600" y="2581"/>
                    <a:pt x="21600" y="2581"/>
                  </a:cubicBezTo>
                </a:path>
              </a:pathLst>
            </a:custGeom>
            <a:solidFill>
              <a:srgbClr val="476A6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8" name="Shape 1409"/>
            <p:cNvSpPr/>
            <p:nvPr/>
          </p:nvSpPr>
          <p:spPr>
            <a:xfrm>
              <a:off x="116797" y="534808"/>
              <a:ext cx="50179" cy="512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189" h="18788" extrusionOk="0">
                  <a:moveTo>
                    <a:pt x="14560" y="0"/>
                  </a:moveTo>
                  <a:lnTo>
                    <a:pt x="14560" y="6293"/>
                  </a:lnTo>
                  <a:cubicBezTo>
                    <a:pt x="14560" y="6293"/>
                    <a:pt x="21600" y="14797"/>
                    <a:pt x="12640" y="18198"/>
                  </a:cubicBezTo>
                  <a:cubicBezTo>
                    <a:pt x="3520" y="21600"/>
                    <a:pt x="0" y="9184"/>
                    <a:pt x="0" y="9184"/>
                  </a:cubicBezTo>
                  <a:lnTo>
                    <a:pt x="5920" y="2891"/>
                  </a:lnTo>
                  <a:lnTo>
                    <a:pt x="14560" y="0"/>
                  </a:lnTo>
                </a:path>
              </a:pathLst>
            </a:custGeom>
            <a:solidFill>
              <a:srgbClr val="FFE98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9" name="Shape 1410"/>
            <p:cNvSpPr/>
            <p:nvPr/>
          </p:nvSpPr>
          <p:spPr>
            <a:xfrm>
              <a:off x="90159" y="639311"/>
              <a:ext cx="137525" cy="1036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0" h="20324" extrusionOk="0">
                  <a:moveTo>
                    <a:pt x="0" y="2278"/>
                  </a:moveTo>
                  <a:lnTo>
                    <a:pt x="6285" y="0"/>
                  </a:lnTo>
                  <a:lnTo>
                    <a:pt x="7152" y="4101"/>
                  </a:lnTo>
                  <a:cubicBezTo>
                    <a:pt x="7152" y="4101"/>
                    <a:pt x="14015" y="11028"/>
                    <a:pt x="16688" y="13306"/>
                  </a:cubicBezTo>
                  <a:cubicBezTo>
                    <a:pt x="16688" y="13306"/>
                    <a:pt x="21600" y="14400"/>
                    <a:pt x="21383" y="17681"/>
                  </a:cubicBezTo>
                  <a:cubicBezTo>
                    <a:pt x="21383" y="21053"/>
                    <a:pt x="17338" y="21600"/>
                    <a:pt x="14448" y="16952"/>
                  </a:cubicBezTo>
                  <a:cubicBezTo>
                    <a:pt x="14448" y="16952"/>
                    <a:pt x="6068" y="12577"/>
                    <a:pt x="4262" y="10299"/>
                  </a:cubicBezTo>
                  <a:cubicBezTo>
                    <a:pt x="2601" y="7929"/>
                    <a:pt x="0" y="2278"/>
                    <a:pt x="0" y="2278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0" name="Shape 1411"/>
            <p:cNvSpPr/>
            <p:nvPr/>
          </p:nvSpPr>
          <p:spPr>
            <a:xfrm>
              <a:off x="70234" y="576020"/>
              <a:ext cx="68636" cy="853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29" h="19239" extrusionOk="0">
                  <a:moveTo>
                    <a:pt x="3479" y="260"/>
                  </a:moveTo>
                  <a:cubicBezTo>
                    <a:pt x="11804" y="-2361"/>
                    <a:pt x="16529" y="15674"/>
                    <a:pt x="16529" y="15674"/>
                  </a:cubicBezTo>
                  <a:cubicBezTo>
                    <a:pt x="16529" y="15674"/>
                    <a:pt x="15291" y="16827"/>
                    <a:pt x="11804" y="17981"/>
                  </a:cubicBezTo>
                  <a:cubicBezTo>
                    <a:pt x="7979" y="19239"/>
                    <a:pt x="4829" y="19239"/>
                    <a:pt x="4829" y="19239"/>
                  </a:cubicBezTo>
                  <a:cubicBezTo>
                    <a:pt x="4829" y="19239"/>
                    <a:pt x="-5071" y="2987"/>
                    <a:pt x="3479" y="260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1" name="Shape 1412"/>
            <p:cNvSpPr/>
            <p:nvPr/>
          </p:nvSpPr>
          <p:spPr>
            <a:xfrm>
              <a:off x="98355" y="479483"/>
              <a:ext cx="85595" cy="896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900"/>
                  </a:moveTo>
                  <a:cubicBezTo>
                    <a:pt x="0" y="9225"/>
                    <a:pt x="354" y="8887"/>
                    <a:pt x="354" y="7987"/>
                  </a:cubicBezTo>
                  <a:lnTo>
                    <a:pt x="354" y="7650"/>
                  </a:lnTo>
                  <a:cubicBezTo>
                    <a:pt x="590" y="7313"/>
                    <a:pt x="590" y="6975"/>
                    <a:pt x="944" y="6975"/>
                  </a:cubicBezTo>
                  <a:lnTo>
                    <a:pt x="1652" y="6975"/>
                  </a:lnTo>
                  <a:cubicBezTo>
                    <a:pt x="2007" y="6975"/>
                    <a:pt x="2243" y="7313"/>
                    <a:pt x="2597" y="7650"/>
                  </a:cubicBezTo>
                  <a:lnTo>
                    <a:pt x="2951" y="7987"/>
                  </a:lnTo>
                  <a:cubicBezTo>
                    <a:pt x="3659" y="8550"/>
                    <a:pt x="4013" y="9900"/>
                    <a:pt x="4249" y="11137"/>
                  </a:cubicBezTo>
                  <a:cubicBezTo>
                    <a:pt x="4957" y="11475"/>
                    <a:pt x="5311" y="11812"/>
                    <a:pt x="5666" y="11812"/>
                  </a:cubicBezTo>
                  <a:cubicBezTo>
                    <a:pt x="5666" y="11475"/>
                    <a:pt x="5902" y="10800"/>
                    <a:pt x="5902" y="9900"/>
                  </a:cubicBezTo>
                  <a:lnTo>
                    <a:pt x="5902" y="6413"/>
                  </a:lnTo>
                  <a:lnTo>
                    <a:pt x="4603" y="4163"/>
                  </a:lnTo>
                  <a:cubicBezTo>
                    <a:pt x="4603" y="3150"/>
                    <a:pt x="4957" y="2250"/>
                    <a:pt x="5666" y="1350"/>
                  </a:cubicBezTo>
                  <a:cubicBezTo>
                    <a:pt x="5902" y="675"/>
                    <a:pt x="6610" y="338"/>
                    <a:pt x="7318" y="0"/>
                  </a:cubicBezTo>
                  <a:lnTo>
                    <a:pt x="8262" y="0"/>
                  </a:lnTo>
                  <a:cubicBezTo>
                    <a:pt x="9325" y="338"/>
                    <a:pt x="10269" y="1013"/>
                    <a:pt x="11921" y="1913"/>
                  </a:cubicBezTo>
                  <a:cubicBezTo>
                    <a:pt x="13574" y="2925"/>
                    <a:pt x="15344" y="3150"/>
                    <a:pt x="16997" y="3150"/>
                  </a:cubicBezTo>
                  <a:cubicBezTo>
                    <a:pt x="18649" y="3150"/>
                    <a:pt x="19593" y="2925"/>
                    <a:pt x="20302" y="2250"/>
                  </a:cubicBezTo>
                  <a:cubicBezTo>
                    <a:pt x="20892" y="1575"/>
                    <a:pt x="21246" y="1350"/>
                    <a:pt x="21246" y="1013"/>
                  </a:cubicBezTo>
                  <a:cubicBezTo>
                    <a:pt x="21600" y="1913"/>
                    <a:pt x="21600" y="2588"/>
                    <a:pt x="21600" y="3150"/>
                  </a:cubicBezTo>
                  <a:lnTo>
                    <a:pt x="21600" y="7650"/>
                  </a:lnTo>
                  <a:cubicBezTo>
                    <a:pt x="21600" y="11137"/>
                    <a:pt x="21246" y="13725"/>
                    <a:pt x="20656" y="15300"/>
                  </a:cubicBezTo>
                  <a:cubicBezTo>
                    <a:pt x="19948" y="16875"/>
                    <a:pt x="19239" y="18113"/>
                    <a:pt x="18649" y="18787"/>
                  </a:cubicBezTo>
                  <a:cubicBezTo>
                    <a:pt x="18649" y="19125"/>
                    <a:pt x="18295" y="19350"/>
                    <a:pt x="17941" y="19687"/>
                  </a:cubicBezTo>
                  <a:cubicBezTo>
                    <a:pt x="17941" y="20025"/>
                    <a:pt x="17587" y="20025"/>
                    <a:pt x="17233" y="20362"/>
                  </a:cubicBezTo>
                  <a:cubicBezTo>
                    <a:pt x="17233" y="20700"/>
                    <a:pt x="17233" y="20700"/>
                    <a:pt x="16997" y="20700"/>
                  </a:cubicBezTo>
                  <a:cubicBezTo>
                    <a:pt x="16643" y="20700"/>
                    <a:pt x="16643" y="20700"/>
                    <a:pt x="16289" y="21037"/>
                  </a:cubicBezTo>
                  <a:cubicBezTo>
                    <a:pt x="15934" y="21262"/>
                    <a:pt x="15934" y="21262"/>
                    <a:pt x="15580" y="21262"/>
                  </a:cubicBezTo>
                  <a:cubicBezTo>
                    <a:pt x="15344" y="21600"/>
                    <a:pt x="14636" y="21600"/>
                    <a:pt x="13928" y="21600"/>
                  </a:cubicBezTo>
                  <a:cubicBezTo>
                    <a:pt x="12984" y="21600"/>
                    <a:pt x="11921" y="21600"/>
                    <a:pt x="10977" y="21262"/>
                  </a:cubicBezTo>
                  <a:cubicBezTo>
                    <a:pt x="9679" y="21037"/>
                    <a:pt x="8262" y="20025"/>
                    <a:pt x="6964" y="18787"/>
                  </a:cubicBezTo>
                  <a:cubicBezTo>
                    <a:pt x="6256" y="17775"/>
                    <a:pt x="5311" y="16875"/>
                    <a:pt x="4603" y="15637"/>
                  </a:cubicBezTo>
                  <a:lnTo>
                    <a:pt x="3659" y="13725"/>
                  </a:lnTo>
                  <a:cubicBezTo>
                    <a:pt x="3659" y="13725"/>
                    <a:pt x="3659" y="13950"/>
                    <a:pt x="3305" y="13950"/>
                  </a:cubicBezTo>
                  <a:lnTo>
                    <a:pt x="2951" y="13950"/>
                  </a:lnTo>
                  <a:cubicBezTo>
                    <a:pt x="2243" y="13950"/>
                    <a:pt x="1652" y="13725"/>
                    <a:pt x="944" y="12375"/>
                  </a:cubicBezTo>
                  <a:cubicBezTo>
                    <a:pt x="590" y="11475"/>
                    <a:pt x="354" y="10800"/>
                    <a:pt x="0" y="990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2" name="Shape 1413"/>
            <p:cNvSpPr/>
            <p:nvPr/>
          </p:nvSpPr>
          <p:spPr>
            <a:xfrm>
              <a:off x="98702" y="458992"/>
              <a:ext cx="93449" cy="753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20" h="21600" extrusionOk="0">
                  <a:moveTo>
                    <a:pt x="4708" y="8956"/>
                  </a:moveTo>
                  <a:cubicBezTo>
                    <a:pt x="4070" y="10010"/>
                    <a:pt x="3751" y="10800"/>
                    <a:pt x="3751" y="12249"/>
                  </a:cubicBezTo>
                  <a:lnTo>
                    <a:pt x="5240" y="15278"/>
                  </a:lnTo>
                  <a:cubicBezTo>
                    <a:pt x="5240" y="15673"/>
                    <a:pt x="4389" y="20810"/>
                    <a:pt x="4389" y="21600"/>
                  </a:cubicBezTo>
                  <a:cubicBezTo>
                    <a:pt x="4070" y="21600"/>
                    <a:pt x="3751" y="21205"/>
                    <a:pt x="3219" y="20810"/>
                  </a:cubicBezTo>
                  <a:cubicBezTo>
                    <a:pt x="2899" y="19361"/>
                    <a:pt x="2580" y="17912"/>
                    <a:pt x="1942" y="17122"/>
                  </a:cubicBezTo>
                  <a:lnTo>
                    <a:pt x="1622" y="16727"/>
                  </a:lnTo>
                  <a:cubicBezTo>
                    <a:pt x="1410" y="16332"/>
                    <a:pt x="1090" y="16068"/>
                    <a:pt x="771" y="16068"/>
                  </a:cubicBezTo>
                  <a:lnTo>
                    <a:pt x="133" y="16068"/>
                  </a:lnTo>
                  <a:cubicBezTo>
                    <a:pt x="-80" y="13434"/>
                    <a:pt x="-80" y="11590"/>
                    <a:pt x="452" y="9746"/>
                  </a:cubicBezTo>
                  <a:cubicBezTo>
                    <a:pt x="1410" y="3820"/>
                    <a:pt x="4070" y="395"/>
                    <a:pt x="8326" y="0"/>
                  </a:cubicBezTo>
                  <a:cubicBezTo>
                    <a:pt x="13114" y="0"/>
                    <a:pt x="16093" y="1580"/>
                    <a:pt x="17583" y="4873"/>
                  </a:cubicBezTo>
                  <a:cubicBezTo>
                    <a:pt x="17902" y="5268"/>
                    <a:pt x="18753" y="6717"/>
                    <a:pt x="19073" y="7112"/>
                  </a:cubicBezTo>
                  <a:cubicBezTo>
                    <a:pt x="19392" y="7902"/>
                    <a:pt x="21201" y="7902"/>
                    <a:pt x="21520" y="8561"/>
                  </a:cubicBezTo>
                  <a:cubicBezTo>
                    <a:pt x="21520" y="8956"/>
                    <a:pt x="21094" y="9220"/>
                    <a:pt x="20562" y="10010"/>
                  </a:cubicBezTo>
                  <a:cubicBezTo>
                    <a:pt x="19924" y="10668"/>
                    <a:pt x="19073" y="12249"/>
                    <a:pt x="17583" y="12249"/>
                  </a:cubicBezTo>
                  <a:cubicBezTo>
                    <a:pt x="16093" y="12249"/>
                    <a:pt x="11837" y="11590"/>
                    <a:pt x="10348" y="10800"/>
                  </a:cubicBezTo>
                  <a:cubicBezTo>
                    <a:pt x="8858" y="9746"/>
                    <a:pt x="8007" y="8166"/>
                    <a:pt x="7049" y="7507"/>
                  </a:cubicBezTo>
                  <a:lnTo>
                    <a:pt x="6198" y="7507"/>
                  </a:lnTo>
                  <a:cubicBezTo>
                    <a:pt x="5879" y="7507"/>
                    <a:pt x="5240" y="7902"/>
                    <a:pt x="4708" y="8956"/>
                  </a:cubicBezTo>
                </a:path>
              </a:pathLst>
            </a:custGeom>
            <a:solidFill>
              <a:srgbClr val="DECB2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3" name="Shape 1414"/>
            <p:cNvSpPr/>
            <p:nvPr/>
          </p:nvSpPr>
          <p:spPr>
            <a:xfrm>
              <a:off x="380900" y="643409"/>
              <a:ext cx="16393" cy="1019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788" y="0"/>
                  </a:moveTo>
                  <a:cubicBezTo>
                    <a:pt x="17788" y="297"/>
                    <a:pt x="17788" y="594"/>
                    <a:pt x="21600" y="594"/>
                  </a:cubicBezTo>
                  <a:cubicBezTo>
                    <a:pt x="21600" y="1090"/>
                    <a:pt x="17788" y="1387"/>
                    <a:pt x="17788" y="1684"/>
                  </a:cubicBezTo>
                  <a:lnTo>
                    <a:pt x="17788" y="0"/>
                  </a:lnTo>
                  <a:close/>
                  <a:moveTo>
                    <a:pt x="17788" y="15952"/>
                  </a:moveTo>
                  <a:lnTo>
                    <a:pt x="17788" y="16547"/>
                  </a:lnTo>
                  <a:cubicBezTo>
                    <a:pt x="17788" y="16844"/>
                    <a:pt x="17788" y="17042"/>
                    <a:pt x="13976" y="17637"/>
                  </a:cubicBezTo>
                  <a:lnTo>
                    <a:pt x="13976" y="18231"/>
                  </a:lnTo>
                  <a:cubicBezTo>
                    <a:pt x="10165" y="18429"/>
                    <a:pt x="10165" y="19024"/>
                    <a:pt x="10165" y="19321"/>
                  </a:cubicBezTo>
                  <a:lnTo>
                    <a:pt x="10165" y="19916"/>
                  </a:lnTo>
                  <a:lnTo>
                    <a:pt x="0" y="21600"/>
                  </a:lnTo>
                  <a:lnTo>
                    <a:pt x="0" y="5648"/>
                  </a:lnTo>
                  <a:lnTo>
                    <a:pt x="10165" y="3963"/>
                  </a:lnTo>
                  <a:cubicBezTo>
                    <a:pt x="10165" y="3666"/>
                    <a:pt x="10165" y="3666"/>
                    <a:pt x="13976" y="3369"/>
                  </a:cubicBezTo>
                  <a:cubicBezTo>
                    <a:pt x="17788" y="3072"/>
                    <a:pt x="17788" y="2576"/>
                    <a:pt x="17788" y="2279"/>
                  </a:cubicBezTo>
                  <a:lnTo>
                    <a:pt x="17788" y="15952"/>
                  </a:lnTo>
                  <a:close/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4" name="Shape 1415"/>
            <p:cNvSpPr/>
            <p:nvPr/>
          </p:nvSpPr>
          <p:spPr>
            <a:xfrm>
              <a:off x="870857" y="711029"/>
              <a:ext cx="38475" cy="958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6567"/>
                  </a:lnTo>
                  <a:lnTo>
                    <a:pt x="0" y="21600"/>
                  </a:lnTo>
                  <a:lnTo>
                    <a:pt x="0" y="5033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5" name="Shape 1416"/>
            <p:cNvSpPr/>
            <p:nvPr/>
          </p:nvSpPr>
          <p:spPr>
            <a:xfrm>
              <a:off x="116797" y="702833"/>
              <a:ext cx="128628" cy="1245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7979"/>
                  </a:moveTo>
                  <a:lnTo>
                    <a:pt x="21600" y="20955"/>
                  </a:lnTo>
                  <a:lnTo>
                    <a:pt x="21366" y="20955"/>
                  </a:lnTo>
                  <a:cubicBezTo>
                    <a:pt x="20430" y="21116"/>
                    <a:pt x="19339" y="21116"/>
                    <a:pt x="18481" y="21358"/>
                  </a:cubicBezTo>
                  <a:lnTo>
                    <a:pt x="17389" y="21358"/>
                  </a:lnTo>
                  <a:cubicBezTo>
                    <a:pt x="16921" y="21358"/>
                    <a:pt x="16531" y="21600"/>
                    <a:pt x="16064" y="21600"/>
                  </a:cubicBezTo>
                  <a:lnTo>
                    <a:pt x="13412" y="21600"/>
                  </a:lnTo>
                  <a:cubicBezTo>
                    <a:pt x="12788" y="21600"/>
                    <a:pt x="12321" y="21600"/>
                    <a:pt x="11853" y="21358"/>
                  </a:cubicBezTo>
                  <a:lnTo>
                    <a:pt x="11697" y="21358"/>
                  </a:lnTo>
                  <a:cubicBezTo>
                    <a:pt x="11229" y="21358"/>
                    <a:pt x="10527" y="21116"/>
                    <a:pt x="10137" y="21116"/>
                  </a:cubicBezTo>
                  <a:lnTo>
                    <a:pt x="9279" y="21116"/>
                  </a:lnTo>
                  <a:cubicBezTo>
                    <a:pt x="9045" y="21116"/>
                    <a:pt x="8812" y="21116"/>
                    <a:pt x="8578" y="20955"/>
                  </a:cubicBezTo>
                  <a:cubicBezTo>
                    <a:pt x="8344" y="20955"/>
                    <a:pt x="7954" y="20713"/>
                    <a:pt x="7720" y="20713"/>
                  </a:cubicBezTo>
                  <a:cubicBezTo>
                    <a:pt x="7486" y="20713"/>
                    <a:pt x="7486" y="20713"/>
                    <a:pt x="7252" y="20472"/>
                  </a:cubicBezTo>
                  <a:lnTo>
                    <a:pt x="7018" y="20472"/>
                  </a:lnTo>
                  <a:cubicBezTo>
                    <a:pt x="6394" y="20230"/>
                    <a:pt x="5926" y="19988"/>
                    <a:pt x="5536" y="19988"/>
                  </a:cubicBezTo>
                  <a:cubicBezTo>
                    <a:pt x="4835" y="19827"/>
                    <a:pt x="4367" y="19585"/>
                    <a:pt x="3743" y="19101"/>
                  </a:cubicBezTo>
                  <a:cubicBezTo>
                    <a:pt x="1092" y="17490"/>
                    <a:pt x="0" y="15475"/>
                    <a:pt x="0" y="12976"/>
                  </a:cubicBezTo>
                  <a:lnTo>
                    <a:pt x="0" y="0"/>
                  </a:lnTo>
                  <a:cubicBezTo>
                    <a:pt x="0" y="2499"/>
                    <a:pt x="1326" y="4513"/>
                    <a:pt x="3743" y="6125"/>
                  </a:cubicBezTo>
                  <a:cubicBezTo>
                    <a:pt x="4211" y="6367"/>
                    <a:pt x="4835" y="6851"/>
                    <a:pt x="5536" y="7093"/>
                  </a:cubicBezTo>
                  <a:cubicBezTo>
                    <a:pt x="6160" y="7254"/>
                    <a:pt x="6628" y="7496"/>
                    <a:pt x="7252" y="7737"/>
                  </a:cubicBezTo>
                  <a:cubicBezTo>
                    <a:pt x="7486" y="7737"/>
                    <a:pt x="7486" y="7737"/>
                    <a:pt x="7720" y="7979"/>
                  </a:cubicBezTo>
                  <a:cubicBezTo>
                    <a:pt x="8110" y="8221"/>
                    <a:pt x="8578" y="8221"/>
                    <a:pt x="9279" y="8382"/>
                  </a:cubicBezTo>
                  <a:lnTo>
                    <a:pt x="9669" y="8382"/>
                  </a:lnTo>
                  <a:cubicBezTo>
                    <a:pt x="10371" y="8624"/>
                    <a:pt x="10995" y="8624"/>
                    <a:pt x="11697" y="8624"/>
                  </a:cubicBezTo>
                  <a:cubicBezTo>
                    <a:pt x="11697" y="8624"/>
                    <a:pt x="11697" y="8624"/>
                    <a:pt x="11853" y="8624"/>
                  </a:cubicBezTo>
                  <a:lnTo>
                    <a:pt x="16064" y="8624"/>
                  </a:lnTo>
                  <a:cubicBezTo>
                    <a:pt x="16531" y="8624"/>
                    <a:pt x="16921" y="8624"/>
                    <a:pt x="17389" y="8382"/>
                  </a:cubicBezTo>
                  <a:cubicBezTo>
                    <a:pt x="17857" y="8382"/>
                    <a:pt x="18013" y="8382"/>
                    <a:pt x="18481" y="8221"/>
                  </a:cubicBezTo>
                  <a:cubicBezTo>
                    <a:pt x="19339" y="7979"/>
                    <a:pt x="20274" y="7979"/>
                    <a:pt x="21366" y="7737"/>
                  </a:cubicBezTo>
                  <a:cubicBezTo>
                    <a:pt x="21366" y="7737"/>
                    <a:pt x="21600" y="7737"/>
                    <a:pt x="21600" y="7979"/>
                  </a:cubicBezTo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6" name="Shape 1417"/>
            <p:cNvSpPr/>
            <p:nvPr/>
          </p:nvSpPr>
          <p:spPr>
            <a:xfrm>
              <a:off x="245888" y="747912"/>
              <a:ext cx="38476" cy="958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985"/>
                  </a:moveTo>
                  <a:lnTo>
                    <a:pt x="21600" y="21600"/>
                  </a:lnTo>
                  <a:lnTo>
                    <a:pt x="0" y="16719"/>
                  </a:lnTo>
                  <a:lnTo>
                    <a:pt x="0" y="0"/>
                  </a:lnTo>
                  <a:lnTo>
                    <a:pt x="21600" y="4985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7" name="Shape 1418"/>
            <p:cNvSpPr/>
            <p:nvPr/>
          </p:nvSpPr>
          <p:spPr>
            <a:xfrm>
              <a:off x="747912" y="727421"/>
              <a:ext cx="128627" cy="12248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713" y="14727"/>
                  </a:moveTo>
                  <a:cubicBezTo>
                    <a:pt x="5478" y="14727"/>
                    <a:pt x="5243" y="14973"/>
                    <a:pt x="5243" y="14973"/>
                  </a:cubicBezTo>
                  <a:cubicBezTo>
                    <a:pt x="4852" y="15218"/>
                    <a:pt x="4148" y="15464"/>
                    <a:pt x="3757" y="15709"/>
                  </a:cubicBezTo>
                  <a:cubicBezTo>
                    <a:pt x="3052" y="16118"/>
                    <a:pt x="2661" y="16609"/>
                    <a:pt x="2191" y="16855"/>
                  </a:cubicBezTo>
                  <a:cubicBezTo>
                    <a:pt x="1722" y="17264"/>
                    <a:pt x="1330" y="17755"/>
                    <a:pt x="1096" y="18245"/>
                  </a:cubicBezTo>
                  <a:cubicBezTo>
                    <a:pt x="1096" y="18491"/>
                    <a:pt x="1096" y="18491"/>
                    <a:pt x="861" y="18491"/>
                  </a:cubicBezTo>
                  <a:cubicBezTo>
                    <a:pt x="626" y="18818"/>
                    <a:pt x="391" y="19309"/>
                    <a:pt x="157" y="19800"/>
                  </a:cubicBezTo>
                  <a:lnTo>
                    <a:pt x="157" y="19964"/>
                  </a:lnTo>
                  <a:cubicBezTo>
                    <a:pt x="0" y="20455"/>
                    <a:pt x="0" y="21109"/>
                    <a:pt x="0" y="21600"/>
                  </a:cubicBezTo>
                  <a:lnTo>
                    <a:pt x="0" y="8264"/>
                  </a:lnTo>
                  <a:cubicBezTo>
                    <a:pt x="0" y="7855"/>
                    <a:pt x="0" y="7609"/>
                    <a:pt x="157" y="7118"/>
                  </a:cubicBezTo>
                  <a:cubicBezTo>
                    <a:pt x="157" y="6873"/>
                    <a:pt x="157" y="6873"/>
                    <a:pt x="391" y="6709"/>
                  </a:cubicBezTo>
                  <a:lnTo>
                    <a:pt x="391" y="6464"/>
                  </a:lnTo>
                  <a:cubicBezTo>
                    <a:pt x="391" y="6464"/>
                    <a:pt x="391" y="6218"/>
                    <a:pt x="626" y="6218"/>
                  </a:cubicBezTo>
                  <a:cubicBezTo>
                    <a:pt x="861" y="5973"/>
                    <a:pt x="861" y="5564"/>
                    <a:pt x="1096" y="5318"/>
                  </a:cubicBezTo>
                  <a:cubicBezTo>
                    <a:pt x="1096" y="5318"/>
                    <a:pt x="1096" y="5073"/>
                    <a:pt x="1330" y="5073"/>
                  </a:cubicBezTo>
                  <a:cubicBezTo>
                    <a:pt x="1330" y="4827"/>
                    <a:pt x="1330" y="4827"/>
                    <a:pt x="1487" y="4827"/>
                  </a:cubicBezTo>
                  <a:cubicBezTo>
                    <a:pt x="1722" y="4582"/>
                    <a:pt x="1722" y="4582"/>
                    <a:pt x="1722" y="4336"/>
                  </a:cubicBezTo>
                  <a:cubicBezTo>
                    <a:pt x="1957" y="4173"/>
                    <a:pt x="2191" y="3682"/>
                    <a:pt x="2661" y="3436"/>
                  </a:cubicBezTo>
                  <a:cubicBezTo>
                    <a:pt x="3052" y="3027"/>
                    <a:pt x="3522" y="2782"/>
                    <a:pt x="4148" y="2291"/>
                  </a:cubicBezTo>
                  <a:lnTo>
                    <a:pt x="4383" y="2291"/>
                  </a:lnTo>
                  <a:cubicBezTo>
                    <a:pt x="4852" y="2045"/>
                    <a:pt x="5243" y="1800"/>
                    <a:pt x="5948" y="1636"/>
                  </a:cubicBezTo>
                  <a:cubicBezTo>
                    <a:pt x="6183" y="1636"/>
                    <a:pt x="6417" y="1391"/>
                    <a:pt x="6417" y="1391"/>
                  </a:cubicBezTo>
                  <a:cubicBezTo>
                    <a:pt x="6574" y="1145"/>
                    <a:pt x="6809" y="1145"/>
                    <a:pt x="7043" y="1145"/>
                  </a:cubicBezTo>
                  <a:lnTo>
                    <a:pt x="7513" y="1145"/>
                  </a:lnTo>
                  <a:cubicBezTo>
                    <a:pt x="8139" y="900"/>
                    <a:pt x="8609" y="655"/>
                    <a:pt x="9235" y="655"/>
                  </a:cubicBezTo>
                  <a:cubicBezTo>
                    <a:pt x="9470" y="655"/>
                    <a:pt x="9470" y="409"/>
                    <a:pt x="9704" y="409"/>
                  </a:cubicBezTo>
                  <a:lnTo>
                    <a:pt x="9939" y="409"/>
                  </a:lnTo>
                  <a:cubicBezTo>
                    <a:pt x="10096" y="409"/>
                    <a:pt x="10330" y="409"/>
                    <a:pt x="10565" y="245"/>
                  </a:cubicBezTo>
                  <a:cubicBezTo>
                    <a:pt x="11035" y="245"/>
                    <a:pt x="11270" y="0"/>
                    <a:pt x="11661" y="0"/>
                  </a:cubicBezTo>
                  <a:lnTo>
                    <a:pt x="17452" y="0"/>
                  </a:lnTo>
                  <a:cubicBezTo>
                    <a:pt x="17609" y="0"/>
                    <a:pt x="18078" y="0"/>
                    <a:pt x="18313" y="245"/>
                  </a:cubicBezTo>
                  <a:cubicBezTo>
                    <a:pt x="18783" y="245"/>
                    <a:pt x="18939" y="245"/>
                    <a:pt x="19409" y="409"/>
                  </a:cubicBezTo>
                  <a:lnTo>
                    <a:pt x="19878" y="409"/>
                  </a:lnTo>
                  <a:cubicBezTo>
                    <a:pt x="20504" y="409"/>
                    <a:pt x="20974" y="655"/>
                    <a:pt x="21600" y="655"/>
                  </a:cubicBezTo>
                  <a:lnTo>
                    <a:pt x="21600" y="13827"/>
                  </a:lnTo>
                  <a:cubicBezTo>
                    <a:pt x="20974" y="13582"/>
                    <a:pt x="20270" y="13582"/>
                    <a:pt x="19409" y="13418"/>
                  </a:cubicBezTo>
                  <a:cubicBezTo>
                    <a:pt x="18939" y="13418"/>
                    <a:pt x="18783" y="13418"/>
                    <a:pt x="18313" y="13173"/>
                  </a:cubicBezTo>
                  <a:cubicBezTo>
                    <a:pt x="17843" y="13173"/>
                    <a:pt x="17452" y="13173"/>
                    <a:pt x="16983" y="12927"/>
                  </a:cubicBezTo>
                  <a:lnTo>
                    <a:pt x="11896" y="12927"/>
                  </a:lnTo>
                  <a:cubicBezTo>
                    <a:pt x="11426" y="12927"/>
                    <a:pt x="11035" y="13173"/>
                    <a:pt x="10565" y="13173"/>
                  </a:cubicBezTo>
                  <a:cubicBezTo>
                    <a:pt x="10330" y="13173"/>
                    <a:pt x="10096" y="13173"/>
                    <a:pt x="9939" y="13418"/>
                  </a:cubicBezTo>
                  <a:cubicBezTo>
                    <a:pt x="9704" y="13418"/>
                    <a:pt x="9470" y="13418"/>
                    <a:pt x="9235" y="13582"/>
                  </a:cubicBezTo>
                  <a:cubicBezTo>
                    <a:pt x="8609" y="13827"/>
                    <a:pt x="8139" y="13827"/>
                    <a:pt x="7513" y="14073"/>
                  </a:cubicBezTo>
                  <a:cubicBezTo>
                    <a:pt x="6417" y="14564"/>
                    <a:pt x="5948" y="14727"/>
                    <a:pt x="5713" y="14727"/>
                  </a:cubicBez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8" name="Shape 1419"/>
            <p:cNvSpPr/>
            <p:nvPr/>
          </p:nvSpPr>
          <p:spPr>
            <a:xfrm>
              <a:off x="1006915" y="813482"/>
              <a:ext cx="16394" cy="999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350"/>
                  </a:moveTo>
                  <a:lnTo>
                    <a:pt x="21600" y="21600"/>
                  </a:lnTo>
                  <a:cubicBezTo>
                    <a:pt x="21600" y="20692"/>
                    <a:pt x="21600" y="19884"/>
                    <a:pt x="16971" y="18976"/>
                  </a:cubicBezTo>
                  <a:cubicBezTo>
                    <a:pt x="12343" y="18168"/>
                    <a:pt x="7714" y="17260"/>
                    <a:pt x="0" y="16150"/>
                  </a:cubicBezTo>
                  <a:lnTo>
                    <a:pt x="0" y="0"/>
                  </a:lnTo>
                  <a:cubicBezTo>
                    <a:pt x="12343" y="2019"/>
                    <a:pt x="21600" y="3735"/>
                    <a:pt x="21600" y="5350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9" name="Shape 1420"/>
            <p:cNvSpPr/>
            <p:nvPr/>
          </p:nvSpPr>
          <p:spPr>
            <a:xfrm>
              <a:off x="356539" y="958967"/>
              <a:ext cx="267966" cy="1839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2851"/>
                  </a:moveTo>
                  <a:lnTo>
                    <a:pt x="21600" y="21600"/>
                  </a:lnTo>
                  <a:cubicBezTo>
                    <a:pt x="21600" y="18866"/>
                    <a:pt x="19918" y="15585"/>
                    <a:pt x="16667" y="12851"/>
                  </a:cubicBezTo>
                  <a:cubicBezTo>
                    <a:pt x="16219" y="12523"/>
                    <a:pt x="15920" y="12194"/>
                    <a:pt x="15509" y="11921"/>
                  </a:cubicBezTo>
                  <a:cubicBezTo>
                    <a:pt x="15397" y="11757"/>
                    <a:pt x="15284" y="11757"/>
                    <a:pt x="15172" y="11593"/>
                  </a:cubicBezTo>
                  <a:cubicBezTo>
                    <a:pt x="14873" y="11265"/>
                    <a:pt x="14537" y="11155"/>
                    <a:pt x="14238" y="10991"/>
                  </a:cubicBezTo>
                  <a:cubicBezTo>
                    <a:pt x="14126" y="10991"/>
                    <a:pt x="14014" y="10827"/>
                    <a:pt x="13902" y="10827"/>
                  </a:cubicBezTo>
                  <a:lnTo>
                    <a:pt x="11996" y="9898"/>
                  </a:lnTo>
                  <a:cubicBezTo>
                    <a:pt x="11921" y="9898"/>
                    <a:pt x="11921" y="9898"/>
                    <a:pt x="11809" y="9734"/>
                  </a:cubicBezTo>
                  <a:cubicBezTo>
                    <a:pt x="11361" y="9570"/>
                    <a:pt x="10837" y="9406"/>
                    <a:pt x="10426" y="9296"/>
                  </a:cubicBezTo>
                  <a:cubicBezTo>
                    <a:pt x="10314" y="9296"/>
                    <a:pt x="10202" y="9132"/>
                    <a:pt x="10127" y="9132"/>
                  </a:cubicBezTo>
                  <a:cubicBezTo>
                    <a:pt x="9791" y="8968"/>
                    <a:pt x="9567" y="8968"/>
                    <a:pt x="9268" y="8968"/>
                  </a:cubicBezTo>
                  <a:cubicBezTo>
                    <a:pt x="9156" y="8968"/>
                    <a:pt x="8969" y="8968"/>
                    <a:pt x="8857" y="8804"/>
                  </a:cubicBezTo>
                  <a:cubicBezTo>
                    <a:pt x="8633" y="8804"/>
                    <a:pt x="8408" y="8640"/>
                    <a:pt x="8221" y="8640"/>
                  </a:cubicBezTo>
                  <a:cubicBezTo>
                    <a:pt x="7997" y="8640"/>
                    <a:pt x="7885" y="8531"/>
                    <a:pt x="7773" y="8531"/>
                  </a:cubicBezTo>
                  <a:lnTo>
                    <a:pt x="5381" y="8531"/>
                  </a:lnTo>
                  <a:cubicBezTo>
                    <a:pt x="5157" y="8531"/>
                    <a:pt x="5045" y="8531"/>
                    <a:pt x="4933" y="8640"/>
                  </a:cubicBezTo>
                  <a:cubicBezTo>
                    <a:pt x="4821" y="8804"/>
                    <a:pt x="4634" y="8804"/>
                    <a:pt x="4410" y="8804"/>
                  </a:cubicBezTo>
                  <a:cubicBezTo>
                    <a:pt x="4298" y="8804"/>
                    <a:pt x="4111" y="8804"/>
                    <a:pt x="3999" y="8968"/>
                  </a:cubicBezTo>
                  <a:cubicBezTo>
                    <a:pt x="3588" y="9132"/>
                    <a:pt x="3251" y="9296"/>
                    <a:pt x="2952" y="9406"/>
                  </a:cubicBezTo>
                  <a:cubicBezTo>
                    <a:pt x="2728" y="9570"/>
                    <a:pt x="2616" y="9570"/>
                    <a:pt x="2504" y="9734"/>
                  </a:cubicBezTo>
                  <a:cubicBezTo>
                    <a:pt x="2429" y="9734"/>
                    <a:pt x="2317" y="9898"/>
                    <a:pt x="2317" y="9898"/>
                  </a:cubicBezTo>
                  <a:lnTo>
                    <a:pt x="1682" y="10335"/>
                  </a:lnTo>
                  <a:lnTo>
                    <a:pt x="1570" y="10499"/>
                  </a:lnTo>
                  <a:cubicBezTo>
                    <a:pt x="1345" y="10827"/>
                    <a:pt x="1046" y="10991"/>
                    <a:pt x="934" y="11265"/>
                  </a:cubicBezTo>
                  <a:lnTo>
                    <a:pt x="635" y="11757"/>
                  </a:lnTo>
                  <a:cubicBezTo>
                    <a:pt x="523" y="11757"/>
                    <a:pt x="523" y="11921"/>
                    <a:pt x="523" y="11921"/>
                  </a:cubicBezTo>
                  <a:cubicBezTo>
                    <a:pt x="523" y="12030"/>
                    <a:pt x="411" y="12030"/>
                    <a:pt x="411" y="12194"/>
                  </a:cubicBezTo>
                  <a:cubicBezTo>
                    <a:pt x="411" y="12358"/>
                    <a:pt x="299" y="12358"/>
                    <a:pt x="299" y="12523"/>
                  </a:cubicBezTo>
                  <a:cubicBezTo>
                    <a:pt x="187" y="12687"/>
                    <a:pt x="187" y="12687"/>
                    <a:pt x="187" y="12851"/>
                  </a:cubicBezTo>
                  <a:cubicBezTo>
                    <a:pt x="187" y="12960"/>
                    <a:pt x="187" y="12960"/>
                    <a:pt x="75" y="13124"/>
                  </a:cubicBezTo>
                  <a:cubicBezTo>
                    <a:pt x="75" y="13288"/>
                    <a:pt x="0" y="13452"/>
                    <a:pt x="0" y="13452"/>
                  </a:cubicBezTo>
                  <a:lnTo>
                    <a:pt x="0" y="4648"/>
                  </a:lnTo>
                  <a:cubicBezTo>
                    <a:pt x="0" y="4484"/>
                    <a:pt x="75" y="4320"/>
                    <a:pt x="75" y="4320"/>
                  </a:cubicBezTo>
                  <a:lnTo>
                    <a:pt x="75" y="4047"/>
                  </a:lnTo>
                  <a:cubicBezTo>
                    <a:pt x="75" y="3883"/>
                    <a:pt x="187" y="3883"/>
                    <a:pt x="187" y="3718"/>
                  </a:cubicBezTo>
                  <a:cubicBezTo>
                    <a:pt x="187" y="3718"/>
                    <a:pt x="187" y="3554"/>
                    <a:pt x="299" y="3554"/>
                  </a:cubicBezTo>
                  <a:lnTo>
                    <a:pt x="299" y="3390"/>
                  </a:lnTo>
                  <a:cubicBezTo>
                    <a:pt x="299" y="3281"/>
                    <a:pt x="411" y="3281"/>
                    <a:pt x="411" y="3117"/>
                  </a:cubicBezTo>
                  <a:lnTo>
                    <a:pt x="523" y="2953"/>
                  </a:lnTo>
                  <a:lnTo>
                    <a:pt x="822" y="2461"/>
                  </a:lnTo>
                  <a:cubicBezTo>
                    <a:pt x="1046" y="2187"/>
                    <a:pt x="1271" y="2023"/>
                    <a:pt x="1457" y="1695"/>
                  </a:cubicBezTo>
                  <a:lnTo>
                    <a:pt x="1570" y="1695"/>
                  </a:lnTo>
                  <a:cubicBezTo>
                    <a:pt x="1570" y="1695"/>
                    <a:pt x="1682" y="1695"/>
                    <a:pt x="1682" y="1586"/>
                  </a:cubicBezTo>
                  <a:lnTo>
                    <a:pt x="2317" y="1094"/>
                  </a:lnTo>
                  <a:cubicBezTo>
                    <a:pt x="2429" y="1094"/>
                    <a:pt x="2504" y="930"/>
                    <a:pt x="2504" y="930"/>
                  </a:cubicBezTo>
                  <a:cubicBezTo>
                    <a:pt x="2616" y="766"/>
                    <a:pt x="2840" y="766"/>
                    <a:pt x="2952" y="656"/>
                  </a:cubicBezTo>
                  <a:lnTo>
                    <a:pt x="3027" y="656"/>
                  </a:lnTo>
                  <a:cubicBezTo>
                    <a:pt x="3363" y="492"/>
                    <a:pt x="3774" y="328"/>
                    <a:pt x="4111" y="164"/>
                  </a:cubicBezTo>
                  <a:lnTo>
                    <a:pt x="4522" y="164"/>
                  </a:lnTo>
                  <a:cubicBezTo>
                    <a:pt x="4746" y="164"/>
                    <a:pt x="4821" y="0"/>
                    <a:pt x="5045" y="0"/>
                  </a:cubicBezTo>
                  <a:lnTo>
                    <a:pt x="8520" y="0"/>
                  </a:lnTo>
                  <a:cubicBezTo>
                    <a:pt x="8745" y="0"/>
                    <a:pt x="8969" y="164"/>
                    <a:pt x="9156" y="164"/>
                  </a:cubicBezTo>
                  <a:lnTo>
                    <a:pt x="9567" y="164"/>
                  </a:lnTo>
                  <a:cubicBezTo>
                    <a:pt x="9903" y="164"/>
                    <a:pt x="10127" y="328"/>
                    <a:pt x="10426" y="328"/>
                  </a:cubicBezTo>
                  <a:cubicBezTo>
                    <a:pt x="10538" y="328"/>
                    <a:pt x="10651" y="328"/>
                    <a:pt x="10763" y="492"/>
                  </a:cubicBezTo>
                  <a:lnTo>
                    <a:pt x="10837" y="492"/>
                  </a:lnTo>
                  <a:cubicBezTo>
                    <a:pt x="11286" y="656"/>
                    <a:pt x="11809" y="766"/>
                    <a:pt x="12220" y="930"/>
                  </a:cubicBezTo>
                  <a:lnTo>
                    <a:pt x="12332" y="930"/>
                  </a:lnTo>
                  <a:cubicBezTo>
                    <a:pt x="12444" y="930"/>
                    <a:pt x="12444" y="1094"/>
                    <a:pt x="12444" y="1094"/>
                  </a:cubicBezTo>
                  <a:lnTo>
                    <a:pt x="14313" y="2023"/>
                  </a:lnTo>
                  <a:lnTo>
                    <a:pt x="14425" y="2023"/>
                  </a:lnTo>
                  <a:cubicBezTo>
                    <a:pt x="14537" y="2023"/>
                    <a:pt x="14537" y="2187"/>
                    <a:pt x="14649" y="2187"/>
                  </a:cubicBezTo>
                  <a:cubicBezTo>
                    <a:pt x="14948" y="2351"/>
                    <a:pt x="15284" y="2625"/>
                    <a:pt x="15583" y="2789"/>
                  </a:cubicBezTo>
                  <a:cubicBezTo>
                    <a:pt x="15696" y="2953"/>
                    <a:pt x="15808" y="2953"/>
                    <a:pt x="15920" y="3117"/>
                  </a:cubicBezTo>
                  <a:cubicBezTo>
                    <a:pt x="16331" y="3390"/>
                    <a:pt x="16742" y="3718"/>
                    <a:pt x="17078" y="4047"/>
                  </a:cubicBezTo>
                  <a:cubicBezTo>
                    <a:pt x="19918" y="6671"/>
                    <a:pt x="21600" y="9898"/>
                    <a:pt x="21600" y="12851"/>
                  </a:cubicBez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0" name="Shape 1421"/>
            <p:cNvSpPr/>
            <p:nvPr/>
          </p:nvSpPr>
          <p:spPr>
            <a:xfrm>
              <a:off x="321704" y="1028636"/>
              <a:ext cx="40506" cy="97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6639"/>
                  </a:lnTo>
                  <a:lnTo>
                    <a:pt x="0" y="21600"/>
                  </a:lnTo>
                  <a:lnTo>
                    <a:pt x="0" y="4961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1" name="Shape 1422"/>
            <p:cNvSpPr/>
            <p:nvPr/>
          </p:nvSpPr>
          <p:spPr>
            <a:xfrm>
              <a:off x="59423" y="901593"/>
              <a:ext cx="261818" cy="2249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4444"/>
                  </a:moveTo>
                  <a:lnTo>
                    <a:pt x="21600" y="21600"/>
                  </a:lnTo>
                  <a:lnTo>
                    <a:pt x="0" y="7156"/>
                  </a:lnTo>
                  <a:lnTo>
                    <a:pt x="0" y="0"/>
                  </a:lnTo>
                  <a:lnTo>
                    <a:pt x="21600" y="14444"/>
                  </a:ln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2" name="Shape 1423"/>
            <p:cNvSpPr/>
            <p:nvPr/>
          </p:nvSpPr>
          <p:spPr>
            <a:xfrm>
              <a:off x="1086010" y="942574"/>
              <a:ext cx="224935" cy="2064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7850"/>
                  </a:lnTo>
                  <a:lnTo>
                    <a:pt x="0" y="21600"/>
                  </a:lnTo>
                  <a:lnTo>
                    <a:pt x="0" y="13750"/>
                  </a:lnTo>
                  <a:lnTo>
                    <a:pt x="21600" y="0"/>
                  </a:lnTo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3" name="Shape 1424"/>
            <p:cNvSpPr/>
            <p:nvPr/>
          </p:nvSpPr>
          <p:spPr>
            <a:xfrm>
              <a:off x="948721" y="1153629"/>
              <a:ext cx="40506" cy="97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271"/>
                  </a:moveTo>
                  <a:lnTo>
                    <a:pt x="21600" y="21600"/>
                  </a:lnTo>
                  <a:lnTo>
                    <a:pt x="0" y="16639"/>
                  </a:lnTo>
                  <a:lnTo>
                    <a:pt x="0" y="0"/>
                  </a:lnTo>
                  <a:lnTo>
                    <a:pt x="21600" y="5271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4" name="Shape 1425"/>
            <p:cNvSpPr/>
            <p:nvPr/>
          </p:nvSpPr>
          <p:spPr>
            <a:xfrm>
              <a:off x="979458" y="1139285"/>
              <a:ext cx="271717" cy="183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2" h="21600" extrusionOk="0">
                  <a:moveTo>
                    <a:pt x="21490" y="0"/>
                  </a:moveTo>
                  <a:cubicBezTo>
                    <a:pt x="21600" y="271"/>
                    <a:pt x="21600" y="597"/>
                    <a:pt x="21490" y="1357"/>
                  </a:cubicBezTo>
                  <a:lnTo>
                    <a:pt x="21490" y="0"/>
                  </a:lnTo>
                  <a:close/>
                  <a:moveTo>
                    <a:pt x="21490" y="8738"/>
                  </a:moveTo>
                  <a:lnTo>
                    <a:pt x="21490" y="8846"/>
                  </a:lnTo>
                  <a:cubicBezTo>
                    <a:pt x="21490" y="9172"/>
                    <a:pt x="21490" y="9497"/>
                    <a:pt x="21416" y="9660"/>
                  </a:cubicBezTo>
                  <a:cubicBezTo>
                    <a:pt x="21416" y="9769"/>
                    <a:pt x="21416" y="9769"/>
                    <a:pt x="21306" y="9932"/>
                  </a:cubicBezTo>
                  <a:cubicBezTo>
                    <a:pt x="21195" y="10257"/>
                    <a:pt x="21195" y="10420"/>
                    <a:pt x="21195" y="10529"/>
                  </a:cubicBezTo>
                  <a:lnTo>
                    <a:pt x="21195" y="10691"/>
                  </a:lnTo>
                  <a:cubicBezTo>
                    <a:pt x="21085" y="10854"/>
                    <a:pt x="21085" y="11017"/>
                    <a:pt x="20974" y="11180"/>
                  </a:cubicBezTo>
                  <a:cubicBezTo>
                    <a:pt x="20864" y="11343"/>
                    <a:pt x="20864" y="11451"/>
                    <a:pt x="20864" y="11614"/>
                  </a:cubicBezTo>
                  <a:cubicBezTo>
                    <a:pt x="20864" y="11614"/>
                    <a:pt x="20864" y="11777"/>
                    <a:pt x="20790" y="11777"/>
                  </a:cubicBezTo>
                  <a:cubicBezTo>
                    <a:pt x="20680" y="12103"/>
                    <a:pt x="20459" y="12374"/>
                    <a:pt x="20349" y="12699"/>
                  </a:cubicBezTo>
                  <a:cubicBezTo>
                    <a:pt x="20349" y="12862"/>
                    <a:pt x="20275" y="12862"/>
                    <a:pt x="20275" y="13025"/>
                  </a:cubicBezTo>
                  <a:lnTo>
                    <a:pt x="20165" y="13134"/>
                  </a:lnTo>
                  <a:cubicBezTo>
                    <a:pt x="19944" y="13459"/>
                    <a:pt x="19834" y="13785"/>
                    <a:pt x="19650" y="13948"/>
                  </a:cubicBezTo>
                  <a:lnTo>
                    <a:pt x="19429" y="14219"/>
                  </a:lnTo>
                  <a:lnTo>
                    <a:pt x="19208" y="14545"/>
                  </a:lnTo>
                  <a:lnTo>
                    <a:pt x="19024" y="14870"/>
                  </a:lnTo>
                  <a:cubicBezTo>
                    <a:pt x="18803" y="15142"/>
                    <a:pt x="18583" y="15305"/>
                    <a:pt x="18399" y="15630"/>
                  </a:cubicBezTo>
                  <a:cubicBezTo>
                    <a:pt x="18288" y="15739"/>
                    <a:pt x="18067" y="15902"/>
                    <a:pt x="17957" y="16064"/>
                  </a:cubicBezTo>
                  <a:cubicBezTo>
                    <a:pt x="17663" y="16390"/>
                    <a:pt x="17442" y="16553"/>
                    <a:pt x="17148" y="16824"/>
                  </a:cubicBezTo>
                  <a:cubicBezTo>
                    <a:pt x="17037" y="16987"/>
                    <a:pt x="16927" y="16987"/>
                    <a:pt x="16816" y="17150"/>
                  </a:cubicBezTo>
                  <a:cubicBezTo>
                    <a:pt x="16743" y="17313"/>
                    <a:pt x="16632" y="17313"/>
                    <a:pt x="16632" y="17421"/>
                  </a:cubicBezTo>
                  <a:cubicBezTo>
                    <a:pt x="16007" y="18072"/>
                    <a:pt x="15381" y="18507"/>
                    <a:pt x="14645" y="18832"/>
                  </a:cubicBezTo>
                  <a:lnTo>
                    <a:pt x="14535" y="18832"/>
                  </a:lnTo>
                  <a:cubicBezTo>
                    <a:pt x="13909" y="19266"/>
                    <a:pt x="13210" y="19592"/>
                    <a:pt x="12585" y="19918"/>
                  </a:cubicBezTo>
                  <a:cubicBezTo>
                    <a:pt x="12474" y="19918"/>
                    <a:pt x="12474" y="19918"/>
                    <a:pt x="12364" y="20026"/>
                  </a:cubicBezTo>
                  <a:cubicBezTo>
                    <a:pt x="12070" y="20189"/>
                    <a:pt x="11628" y="20352"/>
                    <a:pt x="11334" y="20515"/>
                  </a:cubicBezTo>
                  <a:cubicBezTo>
                    <a:pt x="11223" y="20677"/>
                    <a:pt x="11113" y="20677"/>
                    <a:pt x="10929" y="20677"/>
                  </a:cubicBezTo>
                  <a:cubicBezTo>
                    <a:pt x="10598" y="20840"/>
                    <a:pt x="10303" y="20949"/>
                    <a:pt x="9972" y="20949"/>
                  </a:cubicBezTo>
                  <a:cubicBezTo>
                    <a:pt x="9862" y="20949"/>
                    <a:pt x="9751" y="20949"/>
                    <a:pt x="9751" y="21112"/>
                  </a:cubicBezTo>
                  <a:lnTo>
                    <a:pt x="9678" y="21112"/>
                  </a:lnTo>
                  <a:cubicBezTo>
                    <a:pt x="9236" y="21274"/>
                    <a:pt x="8721" y="21274"/>
                    <a:pt x="8316" y="21437"/>
                  </a:cubicBezTo>
                  <a:lnTo>
                    <a:pt x="7911" y="21437"/>
                  </a:lnTo>
                  <a:cubicBezTo>
                    <a:pt x="7691" y="21437"/>
                    <a:pt x="7470" y="21600"/>
                    <a:pt x="7175" y="21600"/>
                  </a:cubicBezTo>
                  <a:lnTo>
                    <a:pt x="5299" y="21600"/>
                  </a:lnTo>
                  <a:cubicBezTo>
                    <a:pt x="5188" y="21600"/>
                    <a:pt x="5078" y="21600"/>
                    <a:pt x="4894" y="21437"/>
                  </a:cubicBezTo>
                  <a:lnTo>
                    <a:pt x="4563" y="21437"/>
                  </a:lnTo>
                  <a:cubicBezTo>
                    <a:pt x="4379" y="21437"/>
                    <a:pt x="4158" y="21274"/>
                    <a:pt x="3937" y="21274"/>
                  </a:cubicBezTo>
                  <a:lnTo>
                    <a:pt x="3864" y="21274"/>
                  </a:lnTo>
                  <a:cubicBezTo>
                    <a:pt x="3643" y="21274"/>
                    <a:pt x="3422" y="21112"/>
                    <a:pt x="3312" y="21112"/>
                  </a:cubicBezTo>
                  <a:lnTo>
                    <a:pt x="3238" y="21112"/>
                  </a:lnTo>
                  <a:cubicBezTo>
                    <a:pt x="3128" y="21112"/>
                    <a:pt x="3017" y="20949"/>
                    <a:pt x="2907" y="20949"/>
                  </a:cubicBezTo>
                  <a:cubicBezTo>
                    <a:pt x="2797" y="20949"/>
                    <a:pt x="2723" y="20840"/>
                    <a:pt x="2613" y="20840"/>
                  </a:cubicBezTo>
                  <a:lnTo>
                    <a:pt x="2502" y="20840"/>
                  </a:lnTo>
                  <a:cubicBezTo>
                    <a:pt x="2171" y="20677"/>
                    <a:pt x="1987" y="20515"/>
                    <a:pt x="1766" y="20352"/>
                  </a:cubicBezTo>
                  <a:cubicBezTo>
                    <a:pt x="515" y="19266"/>
                    <a:pt x="0" y="17910"/>
                    <a:pt x="0" y="16227"/>
                  </a:cubicBezTo>
                  <a:lnTo>
                    <a:pt x="0" y="7489"/>
                  </a:lnTo>
                  <a:cubicBezTo>
                    <a:pt x="0" y="9172"/>
                    <a:pt x="626" y="10529"/>
                    <a:pt x="1766" y="11614"/>
                  </a:cubicBezTo>
                  <a:cubicBezTo>
                    <a:pt x="1987" y="11777"/>
                    <a:pt x="2281" y="11940"/>
                    <a:pt x="2502" y="12103"/>
                  </a:cubicBezTo>
                  <a:cubicBezTo>
                    <a:pt x="2613" y="12265"/>
                    <a:pt x="2723" y="12265"/>
                    <a:pt x="2907" y="12265"/>
                  </a:cubicBezTo>
                  <a:cubicBezTo>
                    <a:pt x="3017" y="12265"/>
                    <a:pt x="3128" y="12374"/>
                    <a:pt x="3238" y="12374"/>
                  </a:cubicBezTo>
                  <a:cubicBezTo>
                    <a:pt x="3422" y="12537"/>
                    <a:pt x="3643" y="12537"/>
                    <a:pt x="3864" y="12699"/>
                  </a:cubicBezTo>
                  <a:lnTo>
                    <a:pt x="3937" y="12699"/>
                  </a:lnTo>
                  <a:cubicBezTo>
                    <a:pt x="4158" y="12862"/>
                    <a:pt x="4489" y="12862"/>
                    <a:pt x="4673" y="12862"/>
                  </a:cubicBezTo>
                  <a:lnTo>
                    <a:pt x="4894" y="12862"/>
                  </a:lnTo>
                  <a:cubicBezTo>
                    <a:pt x="5078" y="12862"/>
                    <a:pt x="5299" y="13025"/>
                    <a:pt x="5409" y="13025"/>
                  </a:cubicBezTo>
                  <a:lnTo>
                    <a:pt x="7065" y="13025"/>
                  </a:lnTo>
                  <a:cubicBezTo>
                    <a:pt x="7286" y="13025"/>
                    <a:pt x="7470" y="13025"/>
                    <a:pt x="7801" y="12862"/>
                  </a:cubicBezTo>
                  <a:lnTo>
                    <a:pt x="8206" y="12862"/>
                  </a:lnTo>
                  <a:cubicBezTo>
                    <a:pt x="8611" y="12699"/>
                    <a:pt x="9163" y="12699"/>
                    <a:pt x="9567" y="12537"/>
                  </a:cubicBezTo>
                  <a:cubicBezTo>
                    <a:pt x="9678" y="12537"/>
                    <a:pt x="9751" y="12537"/>
                    <a:pt x="9862" y="12374"/>
                  </a:cubicBezTo>
                  <a:cubicBezTo>
                    <a:pt x="10193" y="12265"/>
                    <a:pt x="10487" y="12265"/>
                    <a:pt x="10818" y="12103"/>
                  </a:cubicBezTo>
                  <a:cubicBezTo>
                    <a:pt x="10929" y="11940"/>
                    <a:pt x="11002" y="11940"/>
                    <a:pt x="11223" y="11940"/>
                  </a:cubicBezTo>
                  <a:cubicBezTo>
                    <a:pt x="11518" y="11777"/>
                    <a:pt x="11959" y="11614"/>
                    <a:pt x="12253" y="11451"/>
                  </a:cubicBezTo>
                  <a:cubicBezTo>
                    <a:pt x="12364" y="11451"/>
                    <a:pt x="12364" y="11451"/>
                    <a:pt x="12474" y="11343"/>
                  </a:cubicBezTo>
                  <a:cubicBezTo>
                    <a:pt x="13100" y="11017"/>
                    <a:pt x="13836" y="10691"/>
                    <a:pt x="14425" y="10257"/>
                  </a:cubicBezTo>
                  <a:lnTo>
                    <a:pt x="14535" y="10257"/>
                  </a:lnTo>
                  <a:cubicBezTo>
                    <a:pt x="15160" y="9769"/>
                    <a:pt x="15896" y="9335"/>
                    <a:pt x="16522" y="8846"/>
                  </a:cubicBezTo>
                  <a:cubicBezTo>
                    <a:pt x="16743" y="8738"/>
                    <a:pt x="16816" y="8575"/>
                    <a:pt x="17037" y="8412"/>
                  </a:cubicBezTo>
                  <a:cubicBezTo>
                    <a:pt x="17332" y="8086"/>
                    <a:pt x="17552" y="7978"/>
                    <a:pt x="17883" y="7652"/>
                  </a:cubicBezTo>
                  <a:cubicBezTo>
                    <a:pt x="17957" y="7489"/>
                    <a:pt x="18178" y="7327"/>
                    <a:pt x="18288" y="7164"/>
                  </a:cubicBezTo>
                  <a:cubicBezTo>
                    <a:pt x="18509" y="6892"/>
                    <a:pt x="18693" y="6730"/>
                    <a:pt x="18914" y="6404"/>
                  </a:cubicBezTo>
                  <a:cubicBezTo>
                    <a:pt x="19024" y="6241"/>
                    <a:pt x="19208" y="6133"/>
                    <a:pt x="19319" y="5970"/>
                  </a:cubicBezTo>
                  <a:lnTo>
                    <a:pt x="19539" y="5644"/>
                  </a:lnTo>
                  <a:cubicBezTo>
                    <a:pt x="19723" y="5373"/>
                    <a:pt x="19834" y="5047"/>
                    <a:pt x="20055" y="4884"/>
                  </a:cubicBezTo>
                  <a:cubicBezTo>
                    <a:pt x="20165" y="4884"/>
                    <a:pt x="20165" y="4722"/>
                    <a:pt x="20165" y="4722"/>
                  </a:cubicBezTo>
                  <a:lnTo>
                    <a:pt x="20349" y="4450"/>
                  </a:lnTo>
                  <a:cubicBezTo>
                    <a:pt x="20459" y="4125"/>
                    <a:pt x="20680" y="3799"/>
                    <a:pt x="20790" y="3528"/>
                  </a:cubicBezTo>
                  <a:cubicBezTo>
                    <a:pt x="20864" y="3365"/>
                    <a:pt x="20864" y="3202"/>
                    <a:pt x="20974" y="2876"/>
                  </a:cubicBezTo>
                  <a:cubicBezTo>
                    <a:pt x="21085" y="2768"/>
                    <a:pt x="21085" y="2605"/>
                    <a:pt x="21195" y="2442"/>
                  </a:cubicBezTo>
                  <a:cubicBezTo>
                    <a:pt x="21306" y="2117"/>
                    <a:pt x="21306" y="1954"/>
                    <a:pt x="21416" y="1682"/>
                  </a:cubicBezTo>
                  <a:cubicBezTo>
                    <a:pt x="21416" y="1520"/>
                    <a:pt x="21490" y="1520"/>
                    <a:pt x="21490" y="1357"/>
                  </a:cubicBezTo>
                  <a:lnTo>
                    <a:pt x="21490" y="8738"/>
                  </a:lnTo>
                  <a:close/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5" name="Shape 1426"/>
            <p:cNvSpPr/>
            <p:nvPr/>
          </p:nvSpPr>
          <p:spPr>
            <a:xfrm>
              <a:off x="723323" y="1153629"/>
              <a:ext cx="224936" cy="2064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7850"/>
                  </a:lnTo>
                  <a:lnTo>
                    <a:pt x="0" y="21600"/>
                  </a:lnTo>
                  <a:lnTo>
                    <a:pt x="0" y="13750"/>
                  </a:lnTo>
                  <a:lnTo>
                    <a:pt x="21600" y="0"/>
                  </a:lnTo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6" name="Shape 1427"/>
            <p:cNvSpPr/>
            <p:nvPr/>
          </p:nvSpPr>
          <p:spPr>
            <a:xfrm>
              <a:off x="461042" y="1133138"/>
              <a:ext cx="261819" cy="2249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4430"/>
                  </a:moveTo>
                  <a:lnTo>
                    <a:pt x="21600" y="21600"/>
                  </a:lnTo>
                  <a:lnTo>
                    <a:pt x="0" y="7037"/>
                  </a:lnTo>
                  <a:lnTo>
                    <a:pt x="115" y="0"/>
                  </a:lnTo>
                  <a:lnTo>
                    <a:pt x="21600" y="14430"/>
                  </a:ln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7" name="Shape 1428"/>
            <p:cNvSpPr/>
            <p:nvPr/>
          </p:nvSpPr>
          <p:spPr>
            <a:xfrm>
              <a:off x="57374" y="559397"/>
              <a:ext cx="1251521" cy="7249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24" y="19457"/>
                  </a:moveTo>
                  <a:cubicBezTo>
                    <a:pt x="18458" y="20508"/>
                    <a:pt x="17007" y="20826"/>
                    <a:pt x="16286" y="20120"/>
                  </a:cubicBezTo>
                  <a:cubicBezTo>
                    <a:pt x="15877" y="19692"/>
                    <a:pt x="15789" y="19069"/>
                    <a:pt x="16014" y="18364"/>
                  </a:cubicBezTo>
                  <a:lnTo>
                    <a:pt x="15332" y="17700"/>
                  </a:lnTo>
                  <a:lnTo>
                    <a:pt x="11445" y="21600"/>
                  </a:lnTo>
                  <a:lnTo>
                    <a:pt x="6925" y="17106"/>
                  </a:lnTo>
                  <a:lnTo>
                    <a:pt x="7574" y="16456"/>
                  </a:lnTo>
                  <a:cubicBezTo>
                    <a:pt x="8279" y="16677"/>
                    <a:pt x="8937" y="16608"/>
                    <a:pt x="9345" y="16179"/>
                  </a:cubicBezTo>
                  <a:cubicBezTo>
                    <a:pt x="10067" y="15474"/>
                    <a:pt x="9746" y="13994"/>
                    <a:pt x="8688" y="12943"/>
                  </a:cubicBezTo>
                  <a:cubicBezTo>
                    <a:pt x="7598" y="11879"/>
                    <a:pt x="6155" y="11574"/>
                    <a:pt x="5450" y="12280"/>
                  </a:cubicBezTo>
                  <a:cubicBezTo>
                    <a:pt x="5041" y="12708"/>
                    <a:pt x="4977" y="13372"/>
                    <a:pt x="5178" y="14036"/>
                  </a:cubicBezTo>
                  <a:lnTo>
                    <a:pt x="4520" y="14700"/>
                  </a:lnTo>
                  <a:lnTo>
                    <a:pt x="0" y="10205"/>
                  </a:lnTo>
                  <a:lnTo>
                    <a:pt x="3887" y="6320"/>
                  </a:lnTo>
                  <a:lnTo>
                    <a:pt x="3214" y="5656"/>
                  </a:lnTo>
                  <a:cubicBezTo>
                    <a:pt x="2509" y="5891"/>
                    <a:pt x="1851" y="5808"/>
                    <a:pt x="1451" y="5379"/>
                  </a:cubicBezTo>
                  <a:cubicBezTo>
                    <a:pt x="721" y="4674"/>
                    <a:pt x="1018" y="3194"/>
                    <a:pt x="2084" y="2143"/>
                  </a:cubicBezTo>
                  <a:cubicBezTo>
                    <a:pt x="3142" y="1092"/>
                    <a:pt x="4593" y="774"/>
                    <a:pt x="5314" y="1480"/>
                  </a:cubicBezTo>
                  <a:cubicBezTo>
                    <a:pt x="5723" y="1908"/>
                    <a:pt x="5811" y="2572"/>
                    <a:pt x="5586" y="3236"/>
                  </a:cubicBezTo>
                  <a:lnTo>
                    <a:pt x="6268" y="3900"/>
                  </a:lnTo>
                  <a:lnTo>
                    <a:pt x="10155" y="0"/>
                  </a:lnTo>
                  <a:lnTo>
                    <a:pt x="14683" y="4480"/>
                  </a:lnTo>
                  <a:lnTo>
                    <a:pt x="14026" y="5144"/>
                  </a:lnTo>
                  <a:cubicBezTo>
                    <a:pt x="13321" y="4909"/>
                    <a:pt x="12663" y="4992"/>
                    <a:pt x="12263" y="5421"/>
                  </a:cubicBezTo>
                  <a:cubicBezTo>
                    <a:pt x="11557" y="6126"/>
                    <a:pt x="11854" y="7606"/>
                    <a:pt x="12912" y="8643"/>
                  </a:cubicBezTo>
                  <a:cubicBezTo>
                    <a:pt x="14002" y="9694"/>
                    <a:pt x="15453" y="10012"/>
                    <a:pt x="16150" y="9307"/>
                  </a:cubicBezTo>
                  <a:cubicBezTo>
                    <a:pt x="16559" y="8878"/>
                    <a:pt x="16623" y="8256"/>
                    <a:pt x="16422" y="7564"/>
                  </a:cubicBezTo>
                  <a:lnTo>
                    <a:pt x="17080" y="6900"/>
                  </a:lnTo>
                  <a:lnTo>
                    <a:pt x="21600" y="11381"/>
                  </a:lnTo>
                  <a:lnTo>
                    <a:pt x="17713" y="15280"/>
                  </a:lnTo>
                  <a:lnTo>
                    <a:pt x="18386" y="15944"/>
                  </a:lnTo>
                  <a:cubicBezTo>
                    <a:pt x="19091" y="15709"/>
                    <a:pt x="19749" y="15792"/>
                    <a:pt x="20157" y="16221"/>
                  </a:cubicBezTo>
                  <a:cubicBezTo>
                    <a:pt x="20903" y="16912"/>
                    <a:pt x="20606" y="18406"/>
                    <a:pt x="19524" y="19457"/>
                  </a:cubicBezTo>
                </a:path>
              </a:pathLst>
            </a:custGeom>
            <a:solidFill>
              <a:srgbClr val="FAFFE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8" name="Shape 1429"/>
            <p:cNvSpPr/>
            <p:nvPr/>
          </p:nvSpPr>
          <p:spPr>
            <a:xfrm>
              <a:off x="1309359" y="1565493"/>
              <a:ext cx="34364" cy="487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8514"/>
                  </a:moveTo>
                  <a:lnTo>
                    <a:pt x="0" y="15634"/>
                  </a:lnTo>
                  <a:cubicBezTo>
                    <a:pt x="0" y="15634"/>
                    <a:pt x="5918" y="12754"/>
                    <a:pt x="5030" y="6994"/>
                  </a:cubicBezTo>
                  <a:cubicBezTo>
                    <a:pt x="5030" y="1234"/>
                    <a:pt x="11540" y="0"/>
                    <a:pt x="11540" y="0"/>
                  </a:cubicBezTo>
                  <a:lnTo>
                    <a:pt x="16570" y="2263"/>
                  </a:lnTo>
                  <a:lnTo>
                    <a:pt x="21600" y="11726"/>
                  </a:lnTo>
                  <a:lnTo>
                    <a:pt x="8581" y="21600"/>
                  </a:lnTo>
                  <a:lnTo>
                    <a:pt x="0" y="18514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9" name="Shape 1430"/>
            <p:cNvSpPr/>
            <p:nvPr/>
          </p:nvSpPr>
          <p:spPr>
            <a:xfrm>
              <a:off x="1298343" y="1561395"/>
              <a:ext cx="63828" cy="610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76" h="21600" extrusionOk="0">
                  <a:moveTo>
                    <a:pt x="9913" y="4710"/>
                  </a:moveTo>
                  <a:cubicBezTo>
                    <a:pt x="9450" y="974"/>
                    <a:pt x="13307" y="0"/>
                    <a:pt x="13307" y="0"/>
                  </a:cubicBezTo>
                  <a:cubicBezTo>
                    <a:pt x="13307" y="0"/>
                    <a:pt x="17319" y="2111"/>
                    <a:pt x="18553" y="5197"/>
                  </a:cubicBezTo>
                  <a:cubicBezTo>
                    <a:pt x="19942" y="8445"/>
                    <a:pt x="19942" y="11044"/>
                    <a:pt x="21176" y="12830"/>
                  </a:cubicBezTo>
                  <a:lnTo>
                    <a:pt x="17627" y="15266"/>
                  </a:lnTo>
                  <a:lnTo>
                    <a:pt x="15467" y="13805"/>
                  </a:lnTo>
                  <a:cubicBezTo>
                    <a:pt x="15467" y="13805"/>
                    <a:pt x="15467" y="15591"/>
                    <a:pt x="13770" y="17540"/>
                  </a:cubicBezTo>
                  <a:cubicBezTo>
                    <a:pt x="12073" y="19326"/>
                    <a:pt x="3896" y="21600"/>
                    <a:pt x="3896" y="21600"/>
                  </a:cubicBezTo>
                  <a:cubicBezTo>
                    <a:pt x="3896" y="21600"/>
                    <a:pt x="502" y="21113"/>
                    <a:pt x="39" y="18839"/>
                  </a:cubicBezTo>
                  <a:cubicBezTo>
                    <a:pt x="-424" y="16078"/>
                    <a:pt x="3433" y="13317"/>
                    <a:pt x="3433" y="13317"/>
                  </a:cubicBezTo>
                  <a:cubicBezTo>
                    <a:pt x="3433" y="13317"/>
                    <a:pt x="5285" y="16078"/>
                    <a:pt x="7445" y="14292"/>
                  </a:cubicBezTo>
                  <a:cubicBezTo>
                    <a:pt x="8987" y="12830"/>
                    <a:pt x="10685" y="7795"/>
                    <a:pt x="9913" y="4710"/>
                  </a:cubicBezTo>
                </a:path>
              </a:pathLst>
            </a:custGeom>
            <a:solidFill>
              <a:srgbClr val="6F7C76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0" name="Shape 1431"/>
            <p:cNvSpPr/>
            <p:nvPr/>
          </p:nvSpPr>
          <p:spPr>
            <a:xfrm>
              <a:off x="1139285" y="1609980"/>
              <a:ext cx="42564" cy="390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9821" extrusionOk="0">
                  <a:moveTo>
                    <a:pt x="0" y="13175"/>
                  </a:moveTo>
                  <a:lnTo>
                    <a:pt x="2136" y="10326"/>
                  </a:lnTo>
                  <a:cubicBezTo>
                    <a:pt x="2136" y="10326"/>
                    <a:pt x="7596" y="10326"/>
                    <a:pt x="10919" y="4392"/>
                  </a:cubicBezTo>
                  <a:cubicBezTo>
                    <a:pt x="14242" y="-1779"/>
                    <a:pt x="19464" y="357"/>
                    <a:pt x="19464" y="357"/>
                  </a:cubicBezTo>
                  <a:lnTo>
                    <a:pt x="21600" y="5105"/>
                  </a:lnTo>
                  <a:lnTo>
                    <a:pt x="18989" y="16498"/>
                  </a:lnTo>
                  <a:lnTo>
                    <a:pt x="4035" y="19821"/>
                  </a:lnTo>
                  <a:lnTo>
                    <a:pt x="0" y="13175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1" name="Shape 1432"/>
            <p:cNvSpPr/>
            <p:nvPr/>
          </p:nvSpPr>
          <p:spPr>
            <a:xfrm>
              <a:off x="1127130" y="1615586"/>
              <a:ext cx="69245" cy="443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04" h="19663" extrusionOk="0">
                  <a:moveTo>
                    <a:pt x="14120" y="2632"/>
                  </a:moveTo>
                  <a:cubicBezTo>
                    <a:pt x="14803" y="-1314"/>
                    <a:pt x="18768" y="348"/>
                    <a:pt x="18768" y="348"/>
                  </a:cubicBezTo>
                  <a:cubicBezTo>
                    <a:pt x="18768" y="348"/>
                    <a:pt x="20955" y="5748"/>
                    <a:pt x="20271" y="9694"/>
                  </a:cubicBezTo>
                  <a:cubicBezTo>
                    <a:pt x="19451" y="13848"/>
                    <a:pt x="17947" y="16755"/>
                    <a:pt x="18358" y="19663"/>
                  </a:cubicBezTo>
                  <a:lnTo>
                    <a:pt x="14803" y="19663"/>
                  </a:lnTo>
                  <a:lnTo>
                    <a:pt x="14120" y="16755"/>
                  </a:lnTo>
                  <a:cubicBezTo>
                    <a:pt x="14120" y="16755"/>
                    <a:pt x="13299" y="18001"/>
                    <a:pt x="10975" y="19040"/>
                  </a:cubicBezTo>
                  <a:cubicBezTo>
                    <a:pt x="8651" y="20286"/>
                    <a:pt x="1679" y="16132"/>
                    <a:pt x="1679" y="16132"/>
                  </a:cubicBezTo>
                  <a:cubicBezTo>
                    <a:pt x="1679" y="16132"/>
                    <a:pt x="-645" y="12601"/>
                    <a:pt x="175" y="9694"/>
                  </a:cubicBezTo>
                  <a:cubicBezTo>
                    <a:pt x="996" y="6786"/>
                    <a:pt x="5233" y="6786"/>
                    <a:pt x="5233" y="6786"/>
                  </a:cubicBezTo>
                  <a:cubicBezTo>
                    <a:pt x="5233" y="6786"/>
                    <a:pt x="5233" y="10940"/>
                    <a:pt x="7558" y="10940"/>
                  </a:cubicBezTo>
                  <a:cubicBezTo>
                    <a:pt x="9882" y="10940"/>
                    <a:pt x="12889" y="6786"/>
                    <a:pt x="14120" y="2632"/>
                  </a:cubicBezTo>
                </a:path>
              </a:pathLst>
            </a:custGeom>
            <a:solidFill>
              <a:srgbClr val="6F7C76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2" name="Shape 1433"/>
            <p:cNvSpPr/>
            <p:nvPr/>
          </p:nvSpPr>
          <p:spPr>
            <a:xfrm>
              <a:off x="1234429" y="1333948"/>
              <a:ext cx="113397" cy="2513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90" h="21064" extrusionOk="0">
                  <a:moveTo>
                    <a:pt x="2321" y="2098"/>
                  </a:moveTo>
                  <a:lnTo>
                    <a:pt x="10740" y="0"/>
                  </a:lnTo>
                  <a:cubicBezTo>
                    <a:pt x="10740" y="0"/>
                    <a:pt x="14567" y="2331"/>
                    <a:pt x="12101" y="4196"/>
                  </a:cubicBezTo>
                  <a:cubicBezTo>
                    <a:pt x="9975" y="5711"/>
                    <a:pt x="10230" y="8896"/>
                    <a:pt x="10230" y="9557"/>
                  </a:cubicBezTo>
                  <a:cubicBezTo>
                    <a:pt x="10230" y="9557"/>
                    <a:pt x="11676" y="10528"/>
                    <a:pt x="12866" y="11732"/>
                  </a:cubicBezTo>
                  <a:cubicBezTo>
                    <a:pt x="14057" y="12937"/>
                    <a:pt x="19244" y="18647"/>
                    <a:pt x="20690" y="19424"/>
                  </a:cubicBezTo>
                  <a:cubicBezTo>
                    <a:pt x="20690" y="19424"/>
                    <a:pt x="17373" y="21600"/>
                    <a:pt x="14567" y="20940"/>
                  </a:cubicBezTo>
                  <a:cubicBezTo>
                    <a:pt x="14567" y="20940"/>
                    <a:pt x="3427" y="12859"/>
                    <a:pt x="1301" y="11965"/>
                  </a:cubicBezTo>
                  <a:cubicBezTo>
                    <a:pt x="-910" y="11072"/>
                    <a:pt x="366" y="4740"/>
                    <a:pt x="366" y="4740"/>
                  </a:cubicBezTo>
                  <a:lnTo>
                    <a:pt x="2321" y="2098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3" name="Shape 1434"/>
            <p:cNvSpPr/>
            <p:nvPr/>
          </p:nvSpPr>
          <p:spPr>
            <a:xfrm>
              <a:off x="1158191" y="1350197"/>
              <a:ext cx="105562" cy="2719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951" h="19936" extrusionOk="0">
                  <a:moveTo>
                    <a:pt x="19369" y="563"/>
                  </a:moveTo>
                  <a:cubicBezTo>
                    <a:pt x="21125" y="2604"/>
                    <a:pt x="18579" y="4611"/>
                    <a:pt x="16120" y="5189"/>
                  </a:cubicBezTo>
                  <a:cubicBezTo>
                    <a:pt x="13662" y="5767"/>
                    <a:pt x="8920" y="9407"/>
                    <a:pt x="8920" y="9407"/>
                  </a:cubicBezTo>
                  <a:cubicBezTo>
                    <a:pt x="9974" y="11414"/>
                    <a:pt x="7954" y="16210"/>
                    <a:pt x="6988" y="17469"/>
                  </a:cubicBezTo>
                  <a:cubicBezTo>
                    <a:pt x="6023" y="18795"/>
                    <a:pt x="6725" y="19782"/>
                    <a:pt x="6725" y="19782"/>
                  </a:cubicBezTo>
                  <a:cubicBezTo>
                    <a:pt x="4003" y="20258"/>
                    <a:pt x="52" y="19476"/>
                    <a:pt x="52" y="19476"/>
                  </a:cubicBezTo>
                  <a:cubicBezTo>
                    <a:pt x="52" y="19476"/>
                    <a:pt x="315" y="16108"/>
                    <a:pt x="315" y="13931"/>
                  </a:cubicBezTo>
                  <a:cubicBezTo>
                    <a:pt x="491" y="11618"/>
                    <a:pt x="-475" y="9611"/>
                    <a:pt x="315" y="8046"/>
                  </a:cubicBezTo>
                  <a:cubicBezTo>
                    <a:pt x="1018" y="6618"/>
                    <a:pt x="6198" y="2196"/>
                    <a:pt x="6198" y="2196"/>
                  </a:cubicBezTo>
                  <a:cubicBezTo>
                    <a:pt x="6198" y="2196"/>
                    <a:pt x="17613" y="-1342"/>
                    <a:pt x="19369" y="563"/>
                  </a:cubicBezTo>
                </a:path>
              </a:pathLst>
            </a:custGeom>
            <a:solidFill>
              <a:srgbClr val="52858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4" name="Shape 1435"/>
            <p:cNvSpPr/>
            <p:nvPr/>
          </p:nvSpPr>
          <p:spPr>
            <a:xfrm>
              <a:off x="1233543" y="1180267"/>
              <a:ext cx="26172" cy="220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6300"/>
                  </a:moveTo>
                  <a:lnTo>
                    <a:pt x="18514" y="0"/>
                  </a:lnTo>
                  <a:lnTo>
                    <a:pt x="21600" y="16650"/>
                  </a:lnTo>
                  <a:lnTo>
                    <a:pt x="1157" y="21600"/>
                  </a:lnTo>
                  <a:lnTo>
                    <a:pt x="0" y="6300"/>
                  </a:lnTo>
                </a:path>
              </a:pathLst>
            </a:custGeom>
            <a:solidFill>
              <a:srgbClr val="FFFF7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5" name="Shape 1436"/>
            <p:cNvSpPr/>
            <p:nvPr/>
          </p:nvSpPr>
          <p:spPr>
            <a:xfrm>
              <a:off x="1192848" y="1194611"/>
              <a:ext cx="114000" cy="1942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46" h="19922" extrusionOk="0">
                  <a:moveTo>
                    <a:pt x="17871" y="10800"/>
                  </a:moveTo>
                  <a:cubicBezTo>
                    <a:pt x="17871" y="12425"/>
                    <a:pt x="20446" y="16726"/>
                    <a:pt x="20446" y="16726"/>
                  </a:cubicBezTo>
                  <a:cubicBezTo>
                    <a:pt x="15295" y="21600"/>
                    <a:pt x="923" y="19450"/>
                    <a:pt x="923" y="19450"/>
                  </a:cubicBezTo>
                  <a:cubicBezTo>
                    <a:pt x="923" y="19450"/>
                    <a:pt x="-1154" y="19688"/>
                    <a:pt x="923" y="17825"/>
                  </a:cubicBezTo>
                  <a:cubicBezTo>
                    <a:pt x="3083" y="16057"/>
                    <a:pt x="4911" y="11612"/>
                    <a:pt x="2834" y="7168"/>
                  </a:cubicBezTo>
                  <a:cubicBezTo>
                    <a:pt x="923" y="2724"/>
                    <a:pt x="923" y="4444"/>
                    <a:pt x="2335" y="2963"/>
                  </a:cubicBezTo>
                  <a:cubicBezTo>
                    <a:pt x="3581" y="1768"/>
                    <a:pt x="7569" y="0"/>
                    <a:pt x="11474" y="0"/>
                  </a:cubicBezTo>
                  <a:cubicBezTo>
                    <a:pt x="15711" y="0"/>
                    <a:pt x="18120" y="1912"/>
                    <a:pt x="18120" y="1912"/>
                  </a:cubicBezTo>
                  <a:cubicBezTo>
                    <a:pt x="18286" y="3393"/>
                    <a:pt x="17871" y="9175"/>
                    <a:pt x="17871" y="10800"/>
                  </a:cubicBezTo>
                </a:path>
              </a:pathLst>
            </a:custGeom>
            <a:solidFill>
              <a:srgbClr val="699A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6" name="Shape 1437"/>
            <p:cNvSpPr/>
            <p:nvPr/>
          </p:nvSpPr>
          <p:spPr>
            <a:xfrm>
              <a:off x="1115176" y="1212667"/>
              <a:ext cx="124217" cy="1147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15" h="19577" extrusionOk="0">
                  <a:moveTo>
                    <a:pt x="20021" y="5570"/>
                  </a:moveTo>
                  <a:cubicBezTo>
                    <a:pt x="18960" y="10034"/>
                    <a:pt x="17217" y="10512"/>
                    <a:pt x="16383" y="12026"/>
                  </a:cubicBezTo>
                  <a:cubicBezTo>
                    <a:pt x="13428" y="16968"/>
                    <a:pt x="11457" y="18562"/>
                    <a:pt x="5091" y="19518"/>
                  </a:cubicBezTo>
                  <a:cubicBezTo>
                    <a:pt x="2287" y="19917"/>
                    <a:pt x="-745" y="18163"/>
                    <a:pt x="164" y="17924"/>
                  </a:cubicBezTo>
                  <a:cubicBezTo>
                    <a:pt x="4863" y="16569"/>
                    <a:pt x="9790" y="13142"/>
                    <a:pt x="10396" y="10910"/>
                  </a:cubicBezTo>
                  <a:cubicBezTo>
                    <a:pt x="10623" y="10512"/>
                    <a:pt x="11912" y="8041"/>
                    <a:pt x="12367" y="7085"/>
                  </a:cubicBezTo>
                  <a:cubicBezTo>
                    <a:pt x="13200" y="5092"/>
                    <a:pt x="14489" y="-1683"/>
                    <a:pt x="18733" y="389"/>
                  </a:cubicBezTo>
                  <a:cubicBezTo>
                    <a:pt x="18733" y="389"/>
                    <a:pt x="20855" y="1505"/>
                    <a:pt x="20021" y="557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7" name="Shape 1438"/>
            <p:cNvSpPr/>
            <p:nvPr/>
          </p:nvSpPr>
          <p:spPr>
            <a:xfrm>
              <a:off x="1213717" y="1141334"/>
              <a:ext cx="45366" cy="552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860" h="19572" extrusionOk="0">
                  <a:moveTo>
                    <a:pt x="12202" y="0"/>
                  </a:moveTo>
                  <a:lnTo>
                    <a:pt x="17829" y="8182"/>
                  </a:lnTo>
                  <a:cubicBezTo>
                    <a:pt x="17829" y="8182"/>
                    <a:pt x="18918" y="21600"/>
                    <a:pt x="8209" y="19309"/>
                  </a:cubicBezTo>
                  <a:cubicBezTo>
                    <a:pt x="-2682" y="17018"/>
                    <a:pt x="404" y="2291"/>
                    <a:pt x="404" y="2291"/>
                  </a:cubicBezTo>
                  <a:lnTo>
                    <a:pt x="12202" y="0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8" name="Shape 1439"/>
            <p:cNvSpPr/>
            <p:nvPr/>
          </p:nvSpPr>
          <p:spPr>
            <a:xfrm>
              <a:off x="1213052" y="1105460"/>
              <a:ext cx="84202" cy="1541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48" h="19400" extrusionOk="0">
                  <a:moveTo>
                    <a:pt x="0" y="4869"/>
                  </a:moveTo>
                  <a:cubicBezTo>
                    <a:pt x="0" y="4694"/>
                    <a:pt x="0" y="432"/>
                    <a:pt x="7630" y="82"/>
                  </a:cubicBezTo>
                  <a:cubicBezTo>
                    <a:pt x="14322" y="-385"/>
                    <a:pt x="20896" y="1074"/>
                    <a:pt x="21248" y="6037"/>
                  </a:cubicBezTo>
                  <a:lnTo>
                    <a:pt x="21248" y="6854"/>
                  </a:lnTo>
                  <a:cubicBezTo>
                    <a:pt x="21248" y="7379"/>
                    <a:pt x="20896" y="7846"/>
                    <a:pt x="20543" y="8372"/>
                  </a:cubicBezTo>
                  <a:cubicBezTo>
                    <a:pt x="19252" y="11291"/>
                    <a:pt x="21600" y="17070"/>
                    <a:pt x="20896" y="17245"/>
                  </a:cubicBezTo>
                  <a:cubicBezTo>
                    <a:pt x="14909" y="17887"/>
                    <a:pt x="11270" y="21215"/>
                    <a:pt x="5635" y="18063"/>
                  </a:cubicBezTo>
                  <a:cubicBezTo>
                    <a:pt x="5400" y="17887"/>
                    <a:pt x="5635" y="16895"/>
                    <a:pt x="4696" y="13918"/>
                  </a:cubicBezTo>
                  <a:cubicBezTo>
                    <a:pt x="4696" y="13918"/>
                    <a:pt x="5400" y="12458"/>
                    <a:pt x="5635" y="11466"/>
                  </a:cubicBezTo>
                  <a:cubicBezTo>
                    <a:pt x="5400" y="11466"/>
                    <a:pt x="5400" y="11466"/>
                    <a:pt x="5400" y="11466"/>
                  </a:cubicBezTo>
                  <a:cubicBezTo>
                    <a:pt x="5400" y="11466"/>
                    <a:pt x="6691" y="9539"/>
                    <a:pt x="6691" y="8021"/>
                  </a:cubicBezTo>
                  <a:cubicBezTo>
                    <a:pt x="6691" y="6562"/>
                    <a:pt x="5400" y="5570"/>
                    <a:pt x="4343" y="7671"/>
                  </a:cubicBezTo>
                  <a:cubicBezTo>
                    <a:pt x="4343" y="7671"/>
                    <a:pt x="1057" y="6212"/>
                    <a:pt x="0" y="4869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9" name="Shape 1440"/>
            <p:cNvSpPr/>
            <p:nvPr/>
          </p:nvSpPr>
          <p:spPr>
            <a:xfrm>
              <a:off x="802996" y="1233322"/>
              <a:ext cx="16393" cy="163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900" y="2400"/>
                  </a:moveTo>
                  <a:cubicBezTo>
                    <a:pt x="18900" y="1200"/>
                    <a:pt x="20250" y="600"/>
                    <a:pt x="21600" y="0"/>
                  </a:cubicBezTo>
                  <a:cubicBezTo>
                    <a:pt x="21600" y="600"/>
                    <a:pt x="20250" y="1200"/>
                    <a:pt x="18900" y="2400"/>
                  </a:cubicBezTo>
                  <a:close/>
                  <a:moveTo>
                    <a:pt x="10800" y="10800"/>
                  </a:moveTo>
                  <a:lnTo>
                    <a:pt x="10800" y="9000"/>
                  </a:lnTo>
                  <a:cubicBezTo>
                    <a:pt x="14850" y="10800"/>
                    <a:pt x="10800" y="10800"/>
                    <a:pt x="10800" y="10800"/>
                  </a:cubicBezTo>
                  <a:close/>
                  <a:moveTo>
                    <a:pt x="2700" y="21000"/>
                  </a:moveTo>
                  <a:cubicBezTo>
                    <a:pt x="2700" y="21000"/>
                    <a:pt x="1350" y="21000"/>
                    <a:pt x="0" y="21600"/>
                  </a:cubicBezTo>
                  <a:cubicBezTo>
                    <a:pt x="1350" y="21000"/>
                    <a:pt x="1350" y="21000"/>
                    <a:pt x="2700" y="21000"/>
                  </a:cubicBezTo>
                  <a:close/>
                </a:path>
              </a:pathLst>
            </a:custGeom>
            <a:solidFill>
              <a:srgbClr val="C7FFD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0" name="Shape 1441"/>
            <p:cNvSpPr/>
            <p:nvPr/>
          </p:nvSpPr>
          <p:spPr>
            <a:xfrm>
              <a:off x="1550922" y="131140"/>
              <a:ext cx="16394" cy="2001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788" y="2571"/>
                  </a:moveTo>
                  <a:cubicBezTo>
                    <a:pt x="17788" y="1543"/>
                    <a:pt x="21600" y="1543"/>
                    <a:pt x="21600" y="0"/>
                  </a:cubicBezTo>
                  <a:cubicBezTo>
                    <a:pt x="21600" y="2057"/>
                    <a:pt x="20329" y="2571"/>
                    <a:pt x="17788" y="2571"/>
                  </a:cubicBezTo>
                  <a:close/>
                  <a:moveTo>
                    <a:pt x="10165" y="11314"/>
                  </a:moveTo>
                  <a:lnTo>
                    <a:pt x="10165" y="10286"/>
                  </a:lnTo>
                  <a:cubicBezTo>
                    <a:pt x="13976" y="10286"/>
                    <a:pt x="10165" y="11314"/>
                    <a:pt x="10165" y="11314"/>
                  </a:cubicBezTo>
                  <a:close/>
                  <a:moveTo>
                    <a:pt x="0" y="21600"/>
                  </a:moveTo>
                  <a:cubicBezTo>
                    <a:pt x="0" y="20057"/>
                    <a:pt x="0" y="20057"/>
                    <a:pt x="3812" y="20057"/>
                  </a:cubicBezTo>
                  <a:cubicBezTo>
                    <a:pt x="3812" y="20057"/>
                    <a:pt x="0" y="20057"/>
                    <a:pt x="0" y="21600"/>
                  </a:cubicBezTo>
                  <a:close/>
                </a:path>
              </a:pathLst>
            </a:custGeom>
            <a:solidFill>
              <a:srgbClr val="C7FFD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1" name="Shape 1442"/>
            <p:cNvSpPr/>
            <p:nvPr/>
          </p:nvSpPr>
          <p:spPr>
            <a:xfrm>
              <a:off x="1885510" y="247593"/>
              <a:ext cx="346809" cy="2011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5" extrusionOk="0">
                  <a:moveTo>
                    <a:pt x="2851" y="16804"/>
                  </a:moveTo>
                  <a:cubicBezTo>
                    <a:pt x="-951" y="12931"/>
                    <a:pt x="-951" y="6779"/>
                    <a:pt x="2851" y="2905"/>
                  </a:cubicBezTo>
                  <a:cubicBezTo>
                    <a:pt x="6707" y="-968"/>
                    <a:pt x="12912" y="-968"/>
                    <a:pt x="16767" y="2905"/>
                  </a:cubicBezTo>
                  <a:cubicBezTo>
                    <a:pt x="20649" y="6779"/>
                    <a:pt x="20649" y="12931"/>
                    <a:pt x="16767" y="16804"/>
                  </a:cubicBezTo>
                  <a:cubicBezTo>
                    <a:pt x="12912" y="20632"/>
                    <a:pt x="6707" y="20632"/>
                    <a:pt x="2851" y="16804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2" name="Shape 1443"/>
            <p:cNvSpPr/>
            <p:nvPr/>
          </p:nvSpPr>
          <p:spPr>
            <a:xfrm>
              <a:off x="909789" y="174171"/>
              <a:ext cx="1251522" cy="7249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1368"/>
                  </a:moveTo>
                  <a:lnTo>
                    <a:pt x="17705" y="15272"/>
                  </a:lnTo>
                  <a:lnTo>
                    <a:pt x="17032" y="14608"/>
                  </a:lnTo>
                  <a:cubicBezTo>
                    <a:pt x="17256" y="13915"/>
                    <a:pt x="17160" y="13251"/>
                    <a:pt x="16759" y="12849"/>
                  </a:cubicBezTo>
                  <a:cubicBezTo>
                    <a:pt x="16030" y="12157"/>
                    <a:pt x="14587" y="12420"/>
                    <a:pt x="13521" y="13514"/>
                  </a:cubicBezTo>
                  <a:cubicBezTo>
                    <a:pt x="12455" y="14608"/>
                    <a:pt x="12167" y="16062"/>
                    <a:pt x="12888" y="16768"/>
                  </a:cubicBezTo>
                  <a:cubicBezTo>
                    <a:pt x="13297" y="17197"/>
                    <a:pt x="13978" y="17266"/>
                    <a:pt x="14651" y="17031"/>
                  </a:cubicBezTo>
                  <a:lnTo>
                    <a:pt x="15332" y="17695"/>
                  </a:lnTo>
                  <a:lnTo>
                    <a:pt x="11437" y="21600"/>
                  </a:lnTo>
                  <a:lnTo>
                    <a:pt x="6925" y="17114"/>
                  </a:lnTo>
                  <a:lnTo>
                    <a:pt x="6268" y="17778"/>
                  </a:lnTo>
                  <a:cubicBezTo>
                    <a:pt x="6492" y="18485"/>
                    <a:pt x="6428" y="19149"/>
                    <a:pt x="5995" y="19537"/>
                  </a:cubicBezTo>
                  <a:cubicBezTo>
                    <a:pt x="5274" y="20229"/>
                    <a:pt x="3823" y="19952"/>
                    <a:pt x="2765" y="18872"/>
                  </a:cubicBezTo>
                  <a:cubicBezTo>
                    <a:pt x="1675" y="17778"/>
                    <a:pt x="1387" y="16338"/>
                    <a:pt x="2108" y="15632"/>
                  </a:cubicBezTo>
                  <a:cubicBezTo>
                    <a:pt x="2517" y="15203"/>
                    <a:pt x="3190" y="15120"/>
                    <a:pt x="3871" y="15355"/>
                  </a:cubicBezTo>
                  <a:lnTo>
                    <a:pt x="4528" y="14691"/>
                  </a:lnTo>
                  <a:lnTo>
                    <a:pt x="0" y="10191"/>
                  </a:lnTo>
                  <a:lnTo>
                    <a:pt x="3895" y="6328"/>
                  </a:lnTo>
                  <a:lnTo>
                    <a:pt x="4576" y="6992"/>
                  </a:lnTo>
                  <a:cubicBezTo>
                    <a:pt x="4368" y="7698"/>
                    <a:pt x="4440" y="8363"/>
                    <a:pt x="4841" y="8751"/>
                  </a:cubicBezTo>
                  <a:cubicBezTo>
                    <a:pt x="5570" y="9457"/>
                    <a:pt x="7013" y="9180"/>
                    <a:pt x="8071" y="8086"/>
                  </a:cubicBezTo>
                  <a:cubicBezTo>
                    <a:pt x="9137" y="6992"/>
                    <a:pt x="9425" y="5552"/>
                    <a:pt x="8704" y="4846"/>
                  </a:cubicBezTo>
                  <a:cubicBezTo>
                    <a:pt x="8295" y="4417"/>
                    <a:pt x="7614" y="4334"/>
                    <a:pt x="6949" y="4569"/>
                  </a:cubicBezTo>
                  <a:lnTo>
                    <a:pt x="6268" y="3905"/>
                  </a:lnTo>
                  <a:lnTo>
                    <a:pt x="10155" y="0"/>
                  </a:lnTo>
                  <a:lnTo>
                    <a:pt x="14675" y="4486"/>
                  </a:lnTo>
                  <a:lnTo>
                    <a:pt x="15332" y="3822"/>
                  </a:lnTo>
                  <a:cubicBezTo>
                    <a:pt x="15108" y="3129"/>
                    <a:pt x="15172" y="2465"/>
                    <a:pt x="15605" y="2063"/>
                  </a:cubicBezTo>
                  <a:cubicBezTo>
                    <a:pt x="16326" y="1371"/>
                    <a:pt x="17777" y="1634"/>
                    <a:pt x="18835" y="2728"/>
                  </a:cubicBezTo>
                  <a:cubicBezTo>
                    <a:pt x="19925" y="3822"/>
                    <a:pt x="20213" y="5275"/>
                    <a:pt x="19492" y="5982"/>
                  </a:cubicBezTo>
                  <a:cubicBezTo>
                    <a:pt x="19083" y="6411"/>
                    <a:pt x="18426" y="6480"/>
                    <a:pt x="17729" y="6245"/>
                  </a:cubicBezTo>
                  <a:lnTo>
                    <a:pt x="17072" y="6909"/>
                  </a:lnTo>
                  <a:lnTo>
                    <a:pt x="21600" y="11368"/>
                  </a:ln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3" name="Shape 1444"/>
            <p:cNvSpPr/>
            <p:nvPr/>
          </p:nvSpPr>
          <p:spPr>
            <a:xfrm>
              <a:off x="917985" y="648355"/>
              <a:ext cx="91744" cy="4294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792" extrusionOk="0">
                  <a:moveTo>
                    <a:pt x="11403" y="1615"/>
                  </a:moveTo>
                  <a:cubicBezTo>
                    <a:pt x="14144" y="6115"/>
                    <a:pt x="16995" y="6115"/>
                    <a:pt x="19736" y="11065"/>
                  </a:cubicBezTo>
                  <a:cubicBezTo>
                    <a:pt x="20065" y="11740"/>
                    <a:pt x="21600" y="13765"/>
                    <a:pt x="21600" y="14890"/>
                  </a:cubicBezTo>
                  <a:cubicBezTo>
                    <a:pt x="20942" y="18715"/>
                    <a:pt x="17543" y="21190"/>
                    <a:pt x="16008" y="20740"/>
                  </a:cubicBezTo>
                  <a:cubicBezTo>
                    <a:pt x="13596" y="20065"/>
                    <a:pt x="11403" y="18715"/>
                    <a:pt x="8662" y="18040"/>
                  </a:cubicBezTo>
                  <a:cubicBezTo>
                    <a:pt x="6798" y="17590"/>
                    <a:pt x="2741" y="17590"/>
                    <a:pt x="877" y="16240"/>
                  </a:cubicBezTo>
                  <a:cubicBezTo>
                    <a:pt x="0" y="14890"/>
                    <a:pt x="0" y="10390"/>
                    <a:pt x="0" y="7915"/>
                  </a:cubicBezTo>
                  <a:cubicBezTo>
                    <a:pt x="0" y="6790"/>
                    <a:pt x="1206" y="4090"/>
                    <a:pt x="1206" y="4090"/>
                  </a:cubicBezTo>
                  <a:cubicBezTo>
                    <a:pt x="2741" y="5440"/>
                    <a:pt x="3399" y="6790"/>
                    <a:pt x="5482" y="6115"/>
                  </a:cubicBezTo>
                  <a:cubicBezTo>
                    <a:pt x="5811" y="5440"/>
                    <a:pt x="6469" y="5440"/>
                    <a:pt x="7017" y="5440"/>
                  </a:cubicBezTo>
                  <a:cubicBezTo>
                    <a:pt x="8881" y="940"/>
                    <a:pt x="10197" y="-410"/>
                    <a:pt x="10745" y="265"/>
                  </a:cubicBezTo>
                  <a:cubicBezTo>
                    <a:pt x="10745" y="-410"/>
                    <a:pt x="11074" y="265"/>
                    <a:pt x="11403" y="1615"/>
                  </a:cubicBezTo>
                </a:path>
              </a:pathLst>
            </a:custGeom>
            <a:solidFill>
              <a:srgbClr val="47766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4" name="Shape 1445"/>
            <p:cNvSpPr/>
            <p:nvPr/>
          </p:nvSpPr>
          <p:spPr>
            <a:xfrm>
              <a:off x="827826" y="584820"/>
              <a:ext cx="88885" cy="417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04" h="21177" extrusionOk="0">
                  <a:moveTo>
                    <a:pt x="11579" y="1667"/>
                  </a:moveTo>
                  <a:cubicBezTo>
                    <a:pt x="14363" y="6080"/>
                    <a:pt x="17258" y="6080"/>
                    <a:pt x="20041" y="11422"/>
                  </a:cubicBezTo>
                  <a:cubicBezTo>
                    <a:pt x="20375" y="12119"/>
                    <a:pt x="21600" y="16067"/>
                    <a:pt x="21377" y="17229"/>
                  </a:cubicBezTo>
                  <a:cubicBezTo>
                    <a:pt x="21043" y="21177"/>
                    <a:pt x="17592" y="21177"/>
                    <a:pt x="16256" y="21177"/>
                  </a:cubicBezTo>
                  <a:cubicBezTo>
                    <a:pt x="13806" y="20712"/>
                    <a:pt x="11579" y="19319"/>
                    <a:pt x="8796" y="18622"/>
                  </a:cubicBezTo>
                  <a:cubicBezTo>
                    <a:pt x="6903" y="17925"/>
                    <a:pt x="2784" y="17925"/>
                    <a:pt x="891" y="16764"/>
                  </a:cubicBezTo>
                  <a:cubicBezTo>
                    <a:pt x="0" y="15371"/>
                    <a:pt x="0" y="10725"/>
                    <a:pt x="0" y="8171"/>
                  </a:cubicBezTo>
                  <a:cubicBezTo>
                    <a:pt x="0" y="6777"/>
                    <a:pt x="1225" y="4222"/>
                    <a:pt x="1225" y="4222"/>
                  </a:cubicBezTo>
                  <a:cubicBezTo>
                    <a:pt x="2784" y="5616"/>
                    <a:pt x="3452" y="6777"/>
                    <a:pt x="5567" y="6080"/>
                  </a:cubicBezTo>
                  <a:cubicBezTo>
                    <a:pt x="5901" y="5616"/>
                    <a:pt x="6569" y="5616"/>
                    <a:pt x="7237" y="5616"/>
                  </a:cubicBezTo>
                  <a:cubicBezTo>
                    <a:pt x="9019" y="971"/>
                    <a:pt x="10355" y="-423"/>
                    <a:pt x="10911" y="274"/>
                  </a:cubicBezTo>
                  <a:cubicBezTo>
                    <a:pt x="10689" y="-423"/>
                    <a:pt x="10911" y="274"/>
                    <a:pt x="11579" y="1667"/>
                  </a:cubicBezTo>
                </a:path>
              </a:pathLst>
            </a:custGeom>
            <a:solidFill>
              <a:srgbClr val="47766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5" name="Shape 1446"/>
            <p:cNvSpPr/>
            <p:nvPr/>
          </p:nvSpPr>
          <p:spPr>
            <a:xfrm>
              <a:off x="946672" y="284821"/>
              <a:ext cx="137531" cy="1037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1" h="20336" extrusionOk="0">
                  <a:moveTo>
                    <a:pt x="0" y="2278"/>
                  </a:moveTo>
                  <a:lnTo>
                    <a:pt x="6336" y="0"/>
                  </a:lnTo>
                  <a:lnTo>
                    <a:pt x="7128" y="4101"/>
                  </a:lnTo>
                  <a:cubicBezTo>
                    <a:pt x="7128" y="4101"/>
                    <a:pt x="14040" y="11028"/>
                    <a:pt x="16704" y="13397"/>
                  </a:cubicBezTo>
                  <a:cubicBezTo>
                    <a:pt x="16704" y="13397"/>
                    <a:pt x="21600" y="14400"/>
                    <a:pt x="21384" y="17772"/>
                  </a:cubicBezTo>
                  <a:cubicBezTo>
                    <a:pt x="21384" y="21053"/>
                    <a:pt x="17280" y="21600"/>
                    <a:pt x="14472" y="16952"/>
                  </a:cubicBezTo>
                  <a:cubicBezTo>
                    <a:pt x="14472" y="16952"/>
                    <a:pt x="6120" y="12577"/>
                    <a:pt x="4320" y="10299"/>
                  </a:cubicBezTo>
                  <a:cubicBezTo>
                    <a:pt x="2664" y="7929"/>
                    <a:pt x="0" y="2278"/>
                    <a:pt x="0" y="2278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6" name="Shape 1447"/>
            <p:cNvSpPr/>
            <p:nvPr/>
          </p:nvSpPr>
          <p:spPr>
            <a:xfrm>
              <a:off x="928694" y="221530"/>
              <a:ext cx="68739" cy="853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54" h="19239" extrusionOk="0">
                  <a:moveTo>
                    <a:pt x="3504" y="260"/>
                  </a:moveTo>
                  <a:cubicBezTo>
                    <a:pt x="11829" y="-2361"/>
                    <a:pt x="16554" y="15674"/>
                    <a:pt x="16554" y="15674"/>
                  </a:cubicBezTo>
                  <a:cubicBezTo>
                    <a:pt x="16554" y="15674"/>
                    <a:pt x="15316" y="16827"/>
                    <a:pt x="11829" y="17981"/>
                  </a:cubicBezTo>
                  <a:cubicBezTo>
                    <a:pt x="8004" y="19239"/>
                    <a:pt x="4742" y="19239"/>
                    <a:pt x="4742" y="19239"/>
                  </a:cubicBezTo>
                  <a:cubicBezTo>
                    <a:pt x="4742" y="19239"/>
                    <a:pt x="-5046" y="2987"/>
                    <a:pt x="3504" y="260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7" name="Shape 1448"/>
            <p:cNvSpPr/>
            <p:nvPr/>
          </p:nvSpPr>
          <p:spPr>
            <a:xfrm>
              <a:off x="831924" y="417266"/>
              <a:ext cx="114289" cy="1867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138" extrusionOk="0">
                  <a:moveTo>
                    <a:pt x="9842" y="123"/>
                  </a:moveTo>
                  <a:cubicBezTo>
                    <a:pt x="12019" y="-582"/>
                    <a:pt x="21600" y="1986"/>
                    <a:pt x="21600" y="1986"/>
                  </a:cubicBezTo>
                  <a:cubicBezTo>
                    <a:pt x="21600" y="1986"/>
                    <a:pt x="15765" y="11754"/>
                    <a:pt x="14023" y="13315"/>
                  </a:cubicBezTo>
                  <a:cubicBezTo>
                    <a:pt x="12019" y="14875"/>
                    <a:pt x="7403" y="19558"/>
                    <a:pt x="7403" y="19558"/>
                  </a:cubicBezTo>
                  <a:cubicBezTo>
                    <a:pt x="7403" y="19558"/>
                    <a:pt x="1481" y="21018"/>
                    <a:pt x="0" y="19306"/>
                  </a:cubicBezTo>
                  <a:cubicBezTo>
                    <a:pt x="0" y="19306"/>
                    <a:pt x="1481" y="13466"/>
                    <a:pt x="4965" y="11049"/>
                  </a:cubicBezTo>
                  <a:cubicBezTo>
                    <a:pt x="4965" y="11049"/>
                    <a:pt x="7839" y="828"/>
                    <a:pt x="9842" y="123"/>
                  </a:cubicBezTo>
                </a:path>
              </a:pathLst>
            </a:custGeom>
            <a:solidFill>
              <a:srgbClr val="4773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8" name="Shape 1449"/>
            <p:cNvSpPr/>
            <p:nvPr/>
          </p:nvSpPr>
          <p:spPr>
            <a:xfrm>
              <a:off x="858970" y="430305"/>
              <a:ext cx="109776" cy="2345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27" h="21172" extrusionOk="0">
                  <a:moveTo>
                    <a:pt x="13477" y="710"/>
                  </a:moveTo>
                  <a:cubicBezTo>
                    <a:pt x="13477" y="710"/>
                    <a:pt x="17977" y="8941"/>
                    <a:pt x="18787" y="10612"/>
                  </a:cubicBezTo>
                  <a:cubicBezTo>
                    <a:pt x="19507" y="12241"/>
                    <a:pt x="21127" y="20514"/>
                    <a:pt x="21127" y="20514"/>
                  </a:cubicBezTo>
                  <a:cubicBezTo>
                    <a:pt x="17257" y="21600"/>
                    <a:pt x="12757" y="21015"/>
                    <a:pt x="12757" y="21015"/>
                  </a:cubicBezTo>
                  <a:lnTo>
                    <a:pt x="8437" y="10487"/>
                  </a:lnTo>
                  <a:cubicBezTo>
                    <a:pt x="8437" y="10487"/>
                    <a:pt x="3577" y="5682"/>
                    <a:pt x="1507" y="3885"/>
                  </a:cubicBezTo>
                  <a:cubicBezTo>
                    <a:pt x="-473" y="2005"/>
                    <a:pt x="67" y="0"/>
                    <a:pt x="67" y="0"/>
                  </a:cubicBezTo>
                  <a:lnTo>
                    <a:pt x="13477" y="71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9" name="Shape 1450"/>
            <p:cNvSpPr/>
            <p:nvPr/>
          </p:nvSpPr>
          <p:spPr>
            <a:xfrm>
              <a:off x="852415" y="215186"/>
              <a:ext cx="114285" cy="2296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9403" extrusionOk="0">
                  <a:moveTo>
                    <a:pt x="21600" y="2555"/>
                  </a:moveTo>
                  <a:lnTo>
                    <a:pt x="19580" y="18618"/>
                  </a:lnTo>
                  <a:cubicBezTo>
                    <a:pt x="10712" y="20385"/>
                    <a:pt x="0" y="18618"/>
                    <a:pt x="0" y="18618"/>
                  </a:cubicBezTo>
                  <a:lnTo>
                    <a:pt x="0" y="2241"/>
                  </a:lnTo>
                  <a:cubicBezTo>
                    <a:pt x="8166" y="-1215"/>
                    <a:pt x="18351" y="356"/>
                    <a:pt x="18351" y="356"/>
                  </a:cubicBezTo>
                  <a:cubicBezTo>
                    <a:pt x="20810" y="1024"/>
                    <a:pt x="21600" y="2673"/>
                    <a:pt x="21600" y="2555"/>
                  </a:cubicBezTo>
                </a:path>
              </a:pathLst>
            </a:custGeom>
            <a:solidFill>
              <a:srgbClr val="52838D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0" name="Shape 1451"/>
            <p:cNvSpPr/>
            <p:nvPr/>
          </p:nvSpPr>
          <p:spPr>
            <a:xfrm>
              <a:off x="858562" y="305312"/>
              <a:ext cx="137525" cy="1039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0" h="20371" extrusionOk="0">
                  <a:moveTo>
                    <a:pt x="0" y="2370"/>
                  </a:moveTo>
                  <a:lnTo>
                    <a:pt x="6285" y="0"/>
                  </a:lnTo>
                  <a:lnTo>
                    <a:pt x="7080" y="4101"/>
                  </a:lnTo>
                  <a:cubicBezTo>
                    <a:pt x="7080" y="4101"/>
                    <a:pt x="14015" y="11028"/>
                    <a:pt x="16688" y="13397"/>
                  </a:cubicBezTo>
                  <a:cubicBezTo>
                    <a:pt x="16688" y="13397"/>
                    <a:pt x="21600" y="14400"/>
                    <a:pt x="21383" y="17772"/>
                  </a:cubicBezTo>
                  <a:cubicBezTo>
                    <a:pt x="21383" y="21144"/>
                    <a:pt x="17266" y="21600"/>
                    <a:pt x="14448" y="16952"/>
                  </a:cubicBezTo>
                  <a:cubicBezTo>
                    <a:pt x="14448" y="16952"/>
                    <a:pt x="6068" y="12577"/>
                    <a:pt x="4262" y="10299"/>
                  </a:cubicBezTo>
                  <a:cubicBezTo>
                    <a:pt x="2601" y="8020"/>
                    <a:pt x="0" y="2370"/>
                    <a:pt x="0" y="237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1" name="Shape 1452"/>
            <p:cNvSpPr/>
            <p:nvPr/>
          </p:nvSpPr>
          <p:spPr>
            <a:xfrm>
              <a:off x="838637" y="240347"/>
              <a:ext cx="68636" cy="8499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29" h="19154" extrusionOk="0">
                  <a:moveTo>
                    <a:pt x="3479" y="280"/>
                  </a:moveTo>
                  <a:cubicBezTo>
                    <a:pt x="11804" y="-2446"/>
                    <a:pt x="16529" y="15589"/>
                    <a:pt x="16529" y="15589"/>
                  </a:cubicBezTo>
                  <a:cubicBezTo>
                    <a:pt x="16529" y="15589"/>
                    <a:pt x="15291" y="16847"/>
                    <a:pt x="11804" y="18001"/>
                  </a:cubicBezTo>
                  <a:cubicBezTo>
                    <a:pt x="7979" y="19154"/>
                    <a:pt x="4829" y="19154"/>
                    <a:pt x="4829" y="19154"/>
                  </a:cubicBezTo>
                  <a:cubicBezTo>
                    <a:pt x="4829" y="19154"/>
                    <a:pt x="-5071" y="2902"/>
                    <a:pt x="3479" y="280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2" name="Shape 1453"/>
            <p:cNvSpPr/>
            <p:nvPr/>
          </p:nvSpPr>
          <p:spPr>
            <a:xfrm>
              <a:off x="887249" y="188514"/>
              <a:ext cx="38255" cy="537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517" h="19015" extrusionOk="0">
                  <a:moveTo>
                    <a:pt x="16090" y="0"/>
                  </a:moveTo>
                  <a:lnTo>
                    <a:pt x="17412" y="8770"/>
                  </a:lnTo>
                  <a:cubicBezTo>
                    <a:pt x="17412" y="8770"/>
                    <a:pt x="21600" y="16078"/>
                    <a:pt x="13665" y="18352"/>
                  </a:cubicBezTo>
                  <a:cubicBezTo>
                    <a:pt x="1102" y="21600"/>
                    <a:pt x="0" y="11856"/>
                    <a:pt x="0" y="11856"/>
                  </a:cubicBezTo>
                  <a:lnTo>
                    <a:pt x="3747" y="2761"/>
                  </a:lnTo>
                  <a:lnTo>
                    <a:pt x="16090" y="0"/>
                  </a:lnTo>
                </a:path>
              </a:pathLst>
            </a:custGeom>
            <a:solidFill>
              <a:srgbClr val="FFE98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3" name="Shape 1454"/>
            <p:cNvSpPr/>
            <p:nvPr/>
          </p:nvSpPr>
          <p:spPr>
            <a:xfrm>
              <a:off x="860449" y="101691"/>
              <a:ext cx="94927" cy="1220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1" h="18710" extrusionOk="0">
                  <a:moveTo>
                    <a:pt x="5546" y="18465"/>
                  </a:moveTo>
                  <a:cubicBezTo>
                    <a:pt x="5546" y="20461"/>
                    <a:pt x="-2293" y="9768"/>
                    <a:pt x="668" y="5134"/>
                  </a:cubicBezTo>
                  <a:cubicBezTo>
                    <a:pt x="3368" y="714"/>
                    <a:pt x="9988" y="-1139"/>
                    <a:pt x="14691" y="714"/>
                  </a:cubicBezTo>
                  <a:cubicBezTo>
                    <a:pt x="19307" y="2497"/>
                    <a:pt x="17652" y="5990"/>
                    <a:pt x="17652" y="5990"/>
                  </a:cubicBezTo>
                  <a:cubicBezTo>
                    <a:pt x="17652" y="5990"/>
                    <a:pt x="7549" y="9198"/>
                    <a:pt x="5546" y="18465"/>
                  </a:cubicBezTo>
                </a:path>
              </a:pathLst>
            </a:custGeom>
            <a:solidFill>
              <a:srgbClr val="DFD85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4" name="Shape 1455"/>
            <p:cNvSpPr/>
            <p:nvPr/>
          </p:nvSpPr>
          <p:spPr>
            <a:xfrm>
              <a:off x="875141" y="124993"/>
              <a:ext cx="74100" cy="904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39" h="20836" extrusionOk="0">
                  <a:moveTo>
                    <a:pt x="3678" y="15797"/>
                  </a:moveTo>
                  <a:cubicBezTo>
                    <a:pt x="3307" y="15260"/>
                    <a:pt x="3307" y="14615"/>
                    <a:pt x="2690" y="13970"/>
                  </a:cubicBezTo>
                  <a:cubicBezTo>
                    <a:pt x="1333" y="12466"/>
                    <a:pt x="-1136" y="8275"/>
                    <a:pt x="592" y="6985"/>
                  </a:cubicBezTo>
                  <a:cubicBezTo>
                    <a:pt x="3678" y="4943"/>
                    <a:pt x="4418" y="9779"/>
                    <a:pt x="4418" y="9779"/>
                  </a:cubicBezTo>
                  <a:cubicBezTo>
                    <a:pt x="4789" y="6985"/>
                    <a:pt x="10713" y="5803"/>
                    <a:pt x="14539" y="4943"/>
                  </a:cubicBezTo>
                  <a:cubicBezTo>
                    <a:pt x="18366" y="3976"/>
                    <a:pt x="18736" y="0"/>
                    <a:pt x="18736" y="0"/>
                  </a:cubicBezTo>
                  <a:cubicBezTo>
                    <a:pt x="20464" y="2794"/>
                    <a:pt x="19353" y="8275"/>
                    <a:pt x="18366" y="13970"/>
                  </a:cubicBezTo>
                  <a:cubicBezTo>
                    <a:pt x="17995" y="17301"/>
                    <a:pt x="16638" y="18806"/>
                    <a:pt x="15527" y="20096"/>
                  </a:cubicBezTo>
                  <a:cubicBezTo>
                    <a:pt x="14539" y="20633"/>
                    <a:pt x="12071" y="21600"/>
                    <a:pt x="8985" y="19773"/>
                  </a:cubicBezTo>
                  <a:cubicBezTo>
                    <a:pt x="6887" y="18591"/>
                    <a:pt x="5159" y="17087"/>
                    <a:pt x="3678" y="15797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5" name="Shape 1456"/>
            <p:cNvSpPr/>
            <p:nvPr/>
          </p:nvSpPr>
          <p:spPr>
            <a:xfrm>
              <a:off x="1808103" y="73766"/>
              <a:ext cx="16394" cy="999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276"/>
                  </a:moveTo>
                  <a:lnTo>
                    <a:pt x="21600" y="21600"/>
                  </a:lnTo>
                  <a:cubicBezTo>
                    <a:pt x="4629" y="19908"/>
                    <a:pt x="0" y="17917"/>
                    <a:pt x="0" y="16225"/>
                  </a:cubicBezTo>
                  <a:lnTo>
                    <a:pt x="0" y="0"/>
                  </a:lnTo>
                  <a:cubicBezTo>
                    <a:pt x="0" y="1692"/>
                    <a:pt x="9257" y="3285"/>
                    <a:pt x="21600" y="5276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6" name="Shape 1457"/>
            <p:cNvSpPr/>
            <p:nvPr/>
          </p:nvSpPr>
          <p:spPr>
            <a:xfrm>
              <a:off x="1307310" y="157778"/>
              <a:ext cx="38470" cy="93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256"/>
                  </a:moveTo>
                  <a:lnTo>
                    <a:pt x="21600" y="21600"/>
                  </a:lnTo>
                  <a:lnTo>
                    <a:pt x="0" y="17450"/>
                  </a:lnTo>
                  <a:lnTo>
                    <a:pt x="0" y="0"/>
                  </a:lnTo>
                  <a:lnTo>
                    <a:pt x="21600" y="4256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7" name="Shape 1458"/>
            <p:cNvSpPr/>
            <p:nvPr/>
          </p:nvSpPr>
          <p:spPr>
            <a:xfrm>
              <a:off x="1344193" y="163926"/>
              <a:ext cx="122483" cy="12042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7816"/>
                  </a:moveTo>
                  <a:lnTo>
                    <a:pt x="21600" y="21600"/>
                  </a:lnTo>
                  <a:cubicBezTo>
                    <a:pt x="21600" y="18995"/>
                    <a:pt x="20214" y="16893"/>
                    <a:pt x="17688" y="15633"/>
                  </a:cubicBezTo>
                  <a:cubicBezTo>
                    <a:pt x="17198" y="15465"/>
                    <a:pt x="16546" y="15212"/>
                    <a:pt x="16057" y="14960"/>
                  </a:cubicBezTo>
                  <a:cubicBezTo>
                    <a:pt x="15568" y="14708"/>
                    <a:pt x="14916" y="14708"/>
                    <a:pt x="14427" y="14456"/>
                  </a:cubicBezTo>
                  <a:lnTo>
                    <a:pt x="14020" y="14456"/>
                  </a:lnTo>
                  <a:cubicBezTo>
                    <a:pt x="13531" y="14456"/>
                    <a:pt x="13042" y="14204"/>
                    <a:pt x="12389" y="14204"/>
                  </a:cubicBezTo>
                  <a:lnTo>
                    <a:pt x="9863" y="14204"/>
                  </a:lnTo>
                  <a:cubicBezTo>
                    <a:pt x="9129" y="14204"/>
                    <a:pt x="8477" y="14204"/>
                    <a:pt x="7988" y="14456"/>
                  </a:cubicBezTo>
                  <a:cubicBezTo>
                    <a:pt x="7825" y="14456"/>
                    <a:pt x="7580" y="14456"/>
                    <a:pt x="7091" y="14708"/>
                  </a:cubicBezTo>
                  <a:cubicBezTo>
                    <a:pt x="6602" y="14708"/>
                    <a:pt x="6195" y="14960"/>
                    <a:pt x="5706" y="14960"/>
                  </a:cubicBezTo>
                  <a:cubicBezTo>
                    <a:pt x="5217" y="14960"/>
                    <a:pt x="4809" y="15212"/>
                    <a:pt x="4320" y="15212"/>
                  </a:cubicBezTo>
                  <a:cubicBezTo>
                    <a:pt x="3912" y="15212"/>
                    <a:pt x="3668" y="15465"/>
                    <a:pt x="3179" y="15465"/>
                  </a:cubicBezTo>
                  <a:cubicBezTo>
                    <a:pt x="2282" y="15633"/>
                    <a:pt x="1304" y="15885"/>
                    <a:pt x="408" y="16137"/>
                  </a:cubicBezTo>
                  <a:cubicBezTo>
                    <a:pt x="163" y="16137"/>
                    <a:pt x="0" y="16389"/>
                    <a:pt x="0" y="16389"/>
                  </a:cubicBezTo>
                  <a:lnTo>
                    <a:pt x="0" y="2605"/>
                  </a:lnTo>
                  <a:lnTo>
                    <a:pt x="163" y="2605"/>
                  </a:lnTo>
                  <a:cubicBezTo>
                    <a:pt x="408" y="2605"/>
                    <a:pt x="408" y="2605"/>
                    <a:pt x="652" y="2353"/>
                  </a:cubicBezTo>
                  <a:cubicBezTo>
                    <a:pt x="1549" y="2185"/>
                    <a:pt x="2527" y="1933"/>
                    <a:pt x="3423" y="1681"/>
                  </a:cubicBezTo>
                  <a:cubicBezTo>
                    <a:pt x="3668" y="1681"/>
                    <a:pt x="3668" y="1429"/>
                    <a:pt x="3912" y="1429"/>
                  </a:cubicBezTo>
                  <a:cubicBezTo>
                    <a:pt x="4075" y="1429"/>
                    <a:pt x="4320" y="1429"/>
                    <a:pt x="4565" y="1177"/>
                  </a:cubicBezTo>
                  <a:cubicBezTo>
                    <a:pt x="5054" y="1177"/>
                    <a:pt x="5461" y="925"/>
                    <a:pt x="5950" y="925"/>
                  </a:cubicBezTo>
                  <a:cubicBezTo>
                    <a:pt x="6195" y="925"/>
                    <a:pt x="6439" y="756"/>
                    <a:pt x="6439" y="756"/>
                  </a:cubicBezTo>
                  <a:cubicBezTo>
                    <a:pt x="6602" y="756"/>
                    <a:pt x="6847" y="756"/>
                    <a:pt x="7336" y="504"/>
                  </a:cubicBezTo>
                  <a:cubicBezTo>
                    <a:pt x="7580" y="504"/>
                    <a:pt x="7825" y="252"/>
                    <a:pt x="8232" y="252"/>
                  </a:cubicBezTo>
                  <a:lnTo>
                    <a:pt x="8722" y="252"/>
                  </a:lnTo>
                  <a:cubicBezTo>
                    <a:pt x="9129" y="252"/>
                    <a:pt x="9863" y="0"/>
                    <a:pt x="10352" y="0"/>
                  </a:cubicBezTo>
                  <a:cubicBezTo>
                    <a:pt x="10352" y="0"/>
                    <a:pt x="10352" y="0"/>
                    <a:pt x="10515" y="0"/>
                  </a:cubicBezTo>
                  <a:lnTo>
                    <a:pt x="13775" y="0"/>
                  </a:lnTo>
                  <a:cubicBezTo>
                    <a:pt x="14264" y="0"/>
                    <a:pt x="14427" y="0"/>
                    <a:pt x="14672" y="252"/>
                  </a:cubicBezTo>
                  <a:lnTo>
                    <a:pt x="15405" y="252"/>
                  </a:lnTo>
                  <a:cubicBezTo>
                    <a:pt x="15813" y="252"/>
                    <a:pt x="16546" y="504"/>
                    <a:pt x="16954" y="756"/>
                  </a:cubicBezTo>
                  <a:cubicBezTo>
                    <a:pt x="17688" y="925"/>
                    <a:pt x="18177" y="1177"/>
                    <a:pt x="18584" y="1429"/>
                  </a:cubicBezTo>
                  <a:cubicBezTo>
                    <a:pt x="20214" y="3110"/>
                    <a:pt x="21600" y="5211"/>
                    <a:pt x="21600" y="7816"/>
                  </a:cubicBez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8" name="Shape 1459"/>
            <p:cNvSpPr/>
            <p:nvPr/>
          </p:nvSpPr>
          <p:spPr>
            <a:xfrm>
              <a:off x="1952768" y="104502"/>
              <a:ext cx="124530" cy="1388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2145"/>
                  </a:lnTo>
                  <a:cubicBezTo>
                    <a:pt x="21600" y="12509"/>
                    <a:pt x="21600" y="12727"/>
                    <a:pt x="21358" y="13164"/>
                  </a:cubicBezTo>
                  <a:cubicBezTo>
                    <a:pt x="21358" y="13382"/>
                    <a:pt x="21358" y="13382"/>
                    <a:pt x="21197" y="13600"/>
                  </a:cubicBezTo>
                  <a:lnTo>
                    <a:pt x="21197" y="14182"/>
                  </a:lnTo>
                  <a:cubicBezTo>
                    <a:pt x="20955" y="14618"/>
                    <a:pt x="20955" y="14836"/>
                    <a:pt x="20713" y="14982"/>
                  </a:cubicBezTo>
                  <a:cubicBezTo>
                    <a:pt x="20713" y="15200"/>
                    <a:pt x="20713" y="15200"/>
                    <a:pt x="20472" y="15200"/>
                  </a:cubicBezTo>
                  <a:cubicBezTo>
                    <a:pt x="20472" y="15200"/>
                    <a:pt x="20472" y="15418"/>
                    <a:pt x="20230" y="15418"/>
                  </a:cubicBezTo>
                  <a:cubicBezTo>
                    <a:pt x="19988" y="15636"/>
                    <a:pt x="19988" y="15636"/>
                    <a:pt x="19988" y="15855"/>
                  </a:cubicBezTo>
                  <a:cubicBezTo>
                    <a:pt x="19827" y="16218"/>
                    <a:pt x="19585" y="16436"/>
                    <a:pt x="19101" y="16655"/>
                  </a:cubicBezTo>
                  <a:lnTo>
                    <a:pt x="17731" y="17891"/>
                  </a:lnTo>
                  <a:cubicBezTo>
                    <a:pt x="17731" y="17891"/>
                    <a:pt x="17731" y="17891"/>
                    <a:pt x="17490" y="18109"/>
                  </a:cubicBezTo>
                  <a:cubicBezTo>
                    <a:pt x="17087" y="18473"/>
                    <a:pt x="16603" y="18691"/>
                    <a:pt x="15958" y="18909"/>
                  </a:cubicBezTo>
                  <a:cubicBezTo>
                    <a:pt x="15716" y="18909"/>
                    <a:pt x="15475" y="19127"/>
                    <a:pt x="15475" y="19127"/>
                  </a:cubicBezTo>
                  <a:cubicBezTo>
                    <a:pt x="15233" y="19345"/>
                    <a:pt x="14991" y="19345"/>
                    <a:pt x="14749" y="19491"/>
                  </a:cubicBezTo>
                  <a:cubicBezTo>
                    <a:pt x="14749" y="19491"/>
                    <a:pt x="14588" y="19491"/>
                    <a:pt x="14588" y="19709"/>
                  </a:cubicBezTo>
                  <a:cubicBezTo>
                    <a:pt x="14104" y="19927"/>
                    <a:pt x="13460" y="20145"/>
                    <a:pt x="12734" y="20364"/>
                  </a:cubicBezTo>
                  <a:cubicBezTo>
                    <a:pt x="12493" y="20364"/>
                    <a:pt x="12493" y="20582"/>
                    <a:pt x="12251" y="20582"/>
                  </a:cubicBezTo>
                  <a:lnTo>
                    <a:pt x="12090" y="20582"/>
                  </a:lnTo>
                  <a:cubicBezTo>
                    <a:pt x="11928" y="20582"/>
                    <a:pt x="11606" y="20727"/>
                    <a:pt x="11364" y="20727"/>
                  </a:cubicBezTo>
                  <a:cubicBezTo>
                    <a:pt x="10961" y="20945"/>
                    <a:pt x="10719" y="20945"/>
                    <a:pt x="10236" y="20945"/>
                  </a:cubicBezTo>
                  <a:lnTo>
                    <a:pt x="9994" y="20945"/>
                  </a:lnTo>
                  <a:cubicBezTo>
                    <a:pt x="9752" y="20945"/>
                    <a:pt x="9591" y="20945"/>
                    <a:pt x="9349" y="21164"/>
                  </a:cubicBezTo>
                  <a:cubicBezTo>
                    <a:pt x="9107" y="21164"/>
                    <a:pt x="8624" y="21382"/>
                    <a:pt x="8382" y="21382"/>
                  </a:cubicBezTo>
                  <a:lnTo>
                    <a:pt x="7979" y="21382"/>
                  </a:lnTo>
                  <a:cubicBezTo>
                    <a:pt x="7737" y="21382"/>
                    <a:pt x="7496" y="21382"/>
                    <a:pt x="7093" y="21600"/>
                  </a:cubicBezTo>
                  <a:lnTo>
                    <a:pt x="1854" y="21600"/>
                  </a:lnTo>
                  <a:cubicBezTo>
                    <a:pt x="1128" y="21600"/>
                    <a:pt x="725" y="21600"/>
                    <a:pt x="0" y="21382"/>
                  </a:cubicBezTo>
                  <a:lnTo>
                    <a:pt x="0" y="9455"/>
                  </a:lnTo>
                  <a:cubicBezTo>
                    <a:pt x="725" y="9455"/>
                    <a:pt x="1370" y="9673"/>
                    <a:pt x="2015" y="9673"/>
                  </a:cubicBezTo>
                  <a:lnTo>
                    <a:pt x="5481" y="9673"/>
                  </a:lnTo>
                  <a:cubicBezTo>
                    <a:pt x="5884" y="9673"/>
                    <a:pt x="6367" y="9673"/>
                    <a:pt x="6851" y="9455"/>
                  </a:cubicBezTo>
                  <a:cubicBezTo>
                    <a:pt x="7093" y="9455"/>
                    <a:pt x="7254" y="9455"/>
                    <a:pt x="7737" y="9236"/>
                  </a:cubicBezTo>
                  <a:cubicBezTo>
                    <a:pt x="8221" y="9236"/>
                    <a:pt x="8624" y="9091"/>
                    <a:pt x="9107" y="9091"/>
                  </a:cubicBezTo>
                  <a:cubicBezTo>
                    <a:pt x="9349" y="9091"/>
                    <a:pt x="9591" y="9091"/>
                    <a:pt x="9752" y="8873"/>
                  </a:cubicBezTo>
                  <a:cubicBezTo>
                    <a:pt x="10236" y="8655"/>
                    <a:pt x="10719" y="8655"/>
                    <a:pt x="11122" y="8436"/>
                  </a:cubicBezTo>
                  <a:cubicBezTo>
                    <a:pt x="11364" y="8436"/>
                    <a:pt x="11606" y="8218"/>
                    <a:pt x="11848" y="8218"/>
                  </a:cubicBezTo>
                  <a:cubicBezTo>
                    <a:pt x="12090" y="8218"/>
                    <a:pt x="12251" y="8000"/>
                    <a:pt x="12251" y="8000"/>
                  </a:cubicBezTo>
                  <a:cubicBezTo>
                    <a:pt x="12976" y="7855"/>
                    <a:pt x="13460" y="7636"/>
                    <a:pt x="14104" y="7418"/>
                  </a:cubicBezTo>
                  <a:cubicBezTo>
                    <a:pt x="14588" y="7200"/>
                    <a:pt x="14749" y="7200"/>
                    <a:pt x="15233" y="6982"/>
                  </a:cubicBezTo>
                  <a:cubicBezTo>
                    <a:pt x="15475" y="6982"/>
                    <a:pt x="15716" y="6764"/>
                    <a:pt x="15716" y="6764"/>
                  </a:cubicBezTo>
                  <a:cubicBezTo>
                    <a:pt x="16119" y="6618"/>
                    <a:pt x="16845" y="6182"/>
                    <a:pt x="17328" y="5964"/>
                  </a:cubicBezTo>
                  <a:cubicBezTo>
                    <a:pt x="17973" y="5600"/>
                    <a:pt x="18457" y="5164"/>
                    <a:pt x="18860" y="4727"/>
                  </a:cubicBezTo>
                  <a:cubicBezTo>
                    <a:pt x="19343" y="4364"/>
                    <a:pt x="19585" y="3927"/>
                    <a:pt x="19988" y="3491"/>
                  </a:cubicBezTo>
                  <a:cubicBezTo>
                    <a:pt x="19988" y="3491"/>
                    <a:pt x="19988" y="3273"/>
                    <a:pt x="20230" y="3273"/>
                  </a:cubicBezTo>
                  <a:cubicBezTo>
                    <a:pt x="20472" y="2909"/>
                    <a:pt x="20713" y="2473"/>
                    <a:pt x="20955" y="2109"/>
                  </a:cubicBezTo>
                  <a:lnTo>
                    <a:pt x="20955" y="1891"/>
                  </a:lnTo>
                  <a:cubicBezTo>
                    <a:pt x="21600" y="1236"/>
                    <a:pt x="21600" y="655"/>
                    <a:pt x="21600" y="0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9" name="Shape 1460"/>
            <p:cNvSpPr/>
            <p:nvPr/>
          </p:nvSpPr>
          <p:spPr>
            <a:xfrm>
              <a:off x="1917934" y="163926"/>
              <a:ext cx="38464" cy="1040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810" y="0"/>
                  </a:moveTo>
                  <a:lnTo>
                    <a:pt x="21600" y="16176"/>
                  </a:lnTo>
                  <a:lnTo>
                    <a:pt x="0" y="21600"/>
                  </a:lnTo>
                  <a:lnTo>
                    <a:pt x="0" y="5812"/>
                  </a:lnTo>
                  <a:lnTo>
                    <a:pt x="2081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0" name="Shape 1461"/>
            <p:cNvSpPr/>
            <p:nvPr/>
          </p:nvSpPr>
          <p:spPr>
            <a:xfrm>
              <a:off x="1199528" y="274575"/>
              <a:ext cx="16394" cy="93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086" y="21600"/>
                  </a:moveTo>
                  <a:cubicBezTo>
                    <a:pt x="3086" y="21387"/>
                    <a:pt x="3086" y="21068"/>
                    <a:pt x="0" y="21068"/>
                  </a:cubicBezTo>
                  <a:cubicBezTo>
                    <a:pt x="0" y="20749"/>
                    <a:pt x="3086" y="20110"/>
                    <a:pt x="3086" y="19791"/>
                  </a:cubicBezTo>
                  <a:lnTo>
                    <a:pt x="3086" y="21600"/>
                  </a:lnTo>
                  <a:close/>
                  <a:moveTo>
                    <a:pt x="3086" y="6065"/>
                  </a:moveTo>
                  <a:lnTo>
                    <a:pt x="3086" y="3618"/>
                  </a:lnTo>
                  <a:cubicBezTo>
                    <a:pt x="3086" y="3299"/>
                    <a:pt x="7714" y="2767"/>
                    <a:pt x="7714" y="2447"/>
                  </a:cubicBezTo>
                  <a:lnTo>
                    <a:pt x="7714" y="1809"/>
                  </a:lnTo>
                  <a:lnTo>
                    <a:pt x="21600" y="0"/>
                  </a:lnTo>
                  <a:lnTo>
                    <a:pt x="21600" y="17450"/>
                  </a:lnTo>
                  <a:lnTo>
                    <a:pt x="7714" y="19259"/>
                  </a:lnTo>
                  <a:cubicBezTo>
                    <a:pt x="7714" y="19578"/>
                    <a:pt x="7714" y="19578"/>
                    <a:pt x="3086" y="19791"/>
                  </a:cubicBezTo>
                  <a:lnTo>
                    <a:pt x="3086" y="6065"/>
                  </a:lnTo>
                  <a:close/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1" name="Shape 1462"/>
            <p:cNvSpPr/>
            <p:nvPr/>
          </p:nvSpPr>
          <p:spPr>
            <a:xfrm>
              <a:off x="954869" y="413913"/>
              <a:ext cx="257718" cy="2023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3457"/>
                  </a:moveTo>
                  <a:lnTo>
                    <a:pt x="21600" y="21600"/>
                  </a:lnTo>
                  <a:lnTo>
                    <a:pt x="0" y="8143"/>
                  </a:lnTo>
                  <a:lnTo>
                    <a:pt x="0" y="0"/>
                  </a:lnTo>
                  <a:lnTo>
                    <a:pt x="21600" y="13457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2" name="Shape 1463"/>
            <p:cNvSpPr/>
            <p:nvPr/>
          </p:nvSpPr>
          <p:spPr>
            <a:xfrm>
              <a:off x="1655652" y="391373"/>
              <a:ext cx="270013" cy="2064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117"/>
                  </a:moveTo>
                  <a:lnTo>
                    <a:pt x="21600" y="12059"/>
                  </a:lnTo>
                  <a:cubicBezTo>
                    <a:pt x="21600" y="10558"/>
                    <a:pt x="20966" y="9299"/>
                    <a:pt x="19809" y="8621"/>
                  </a:cubicBezTo>
                  <a:cubicBezTo>
                    <a:pt x="19585" y="8475"/>
                    <a:pt x="19399" y="8378"/>
                    <a:pt x="19063" y="8233"/>
                  </a:cubicBezTo>
                  <a:cubicBezTo>
                    <a:pt x="18951" y="8088"/>
                    <a:pt x="18877" y="8088"/>
                    <a:pt x="18653" y="8088"/>
                  </a:cubicBezTo>
                  <a:cubicBezTo>
                    <a:pt x="18466" y="8088"/>
                    <a:pt x="18429" y="7943"/>
                    <a:pt x="18317" y="7943"/>
                  </a:cubicBezTo>
                  <a:cubicBezTo>
                    <a:pt x="18131" y="7797"/>
                    <a:pt x="17907" y="7797"/>
                    <a:pt x="17683" y="7797"/>
                  </a:cubicBezTo>
                  <a:lnTo>
                    <a:pt x="17608" y="7797"/>
                  </a:lnTo>
                  <a:cubicBezTo>
                    <a:pt x="17384" y="7797"/>
                    <a:pt x="17049" y="7652"/>
                    <a:pt x="16862" y="7652"/>
                  </a:cubicBezTo>
                  <a:lnTo>
                    <a:pt x="15818" y="7652"/>
                  </a:lnTo>
                  <a:cubicBezTo>
                    <a:pt x="15594" y="7652"/>
                    <a:pt x="15482" y="7652"/>
                    <a:pt x="15258" y="7797"/>
                  </a:cubicBezTo>
                  <a:cubicBezTo>
                    <a:pt x="15072" y="7797"/>
                    <a:pt x="14960" y="7797"/>
                    <a:pt x="14848" y="7943"/>
                  </a:cubicBezTo>
                  <a:cubicBezTo>
                    <a:pt x="14736" y="7943"/>
                    <a:pt x="14549" y="7943"/>
                    <a:pt x="14437" y="8088"/>
                  </a:cubicBezTo>
                  <a:cubicBezTo>
                    <a:pt x="14213" y="8233"/>
                    <a:pt x="14027" y="8233"/>
                    <a:pt x="13691" y="8233"/>
                  </a:cubicBezTo>
                  <a:cubicBezTo>
                    <a:pt x="13579" y="8233"/>
                    <a:pt x="13467" y="8378"/>
                    <a:pt x="13281" y="8378"/>
                  </a:cubicBezTo>
                  <a:cubicBezTo>
                    <a:pt x="12870" y="8475"/>
                    <a:pt x="12423" y="8621"/>
                    <a:pt x="11901" y="8766"/>
                  </a:cubicBezTo>
                  <a:cubicBezTo>
                    <a:pt x="11789" y="8911"/>
                    <a:pt x="11714" y="8911"/>
                    <a:pt x="11602" y="8911"/>
                  </a:cubicBezTo>
                  <a:cubicBezTo>
                    <a:pt x="11266" y="9057"/>
                    <a:pt x="10968" y="9153"/>
                    <a:pt x="10632" y="9299"/>
                  </a:cubicBezTo>
                  <a:cubicBezTo>
                    <a:pt x="10520" y="9299"/>
                    <a:pt x="10446" y="9444"/>
                    <a:pt x="10222" y="9444"/>
                  </a:cubicBezTo>
                  <a:cubicBezTo>
                    <a:pt x="9923" y="9589"/>
                    <a:pt x="9588" y="9880"/>
                    <a:pt x="9177" y="9977"/>
                  </a:cubicBezTo>
                  <a:cubicBezTo>
                    <a:pt x="9065" y="9977"/>
                    <a:pt x="9065" y="10122"/>
                    <a:pt x="8953" y="10122"/>
                  </a:cubicBezTo>
                  <a:cubicBezTo>
                    <a:pt x="8319" y="10558"/>
                    <a:pt x="7573" y="10945"/>
                    <a:pt x="6976" y="11478"/>
                  </a:cubicBezTo>
                  <a:lnTo>
                    <a:pt x="6864" y="11478"/>
                  </a:lnTo>
                  <a:cubicBezTo>
                    <a:pt x="6230" y="12059"/>
                    <a:pt x="5596" y="12447"/>
                    <a:pt x="4962" y="13125"/>
                  </a:cubicBezTo>
                  <a:cubicBezTo>
                    <a:pt x="4738" y="13270"/>
                    <a:pt x="4626" y="13561"/>
                    <a:pt x="4439" y="13706"/>
                  </a:cubicBezTo>
                  <a:cubicBezTo>
                    <a:pt x="4104" y="13948"/>
                    <a:pt x="3917" y="14239"/>
                    <a:pt x="3693" y="14529"/>
                  </a:cubicBezTo>
                  <a:cubicBezTo>
                    <a:pt x="3581" y="14626"/>
                    <a:pt x="3469" y="14771"/>
                    <a:pt x="3283" y="14917"/>
                  </a:cubicBezTo>
                  <a:cubicBezTo>
                    <a:pt x="3059" y="15207"/>
                    <a:pt x="2873" y="15449"/>
                    <a:pt x="2649" y="15740"/>
                  </a:cubicBezTo>
                  <a:cubicBezTo>
                    <a:pt x="2574" y="15885"/>
                    <a:pt x="2425" y="16127"/>
                    <a:pt x="2238" y="16273"/>
                  </a:cubicBezTo>
                  <a:cubicBezTo>
                    <a:pt x="2126" y="16418"/>
                    <a:pt x="2164" y="16418"/>
                    <a:pt x="2015" y="16563"/>
                  </a:cubicBezTo>
                  <a:cubicBezTo>
                    <a:pt x="1828" y="16805"/>
                    <a:pt x="1679" y="17096"/>
                    <a:pt x="1492" y="17387"/>
                  </a:cubicBezTo>
                  <a:lnTo>
                    <a:pt x="1380" y="17532"/>
                  </a:lnTo>
                  <a:cubicBezTo>
                    <a:pt x="1268" y="17629"/>
                    <a:pt x="1268" y="17774"/>
                    <a:pt x="1268" y="17774"/>
                  </a:cubicBezTo>
                  <a:cubicBezTo>
                    <a:pt x="1045" y="18065"/>
                    <a:pt x="970" y="18355"/>
                    <a:pt x="858" y="18597"/>
                  </a:cubicBezTo>
                  <a:cubicBezTo>
                    <a:pt x="746" y="18743"/>
                    <a:pt x="746" y="18985"/>
                    <a:pt x="634" y="19130"/>
                  </a:cubicBezTo>
                  <a:cubicBezTo>
                    <a:pt x="522" y="19227"/>
                    <a:pt x="522" y="19421"/>
                    <a:pt x="448" y="19711"/>
                  </a:cubicBezTo>
                  <a:cubicBezTo>
                    <a:pt x="336" y="19953"/>
                    <a:pt x="336" y="20244"/>
                    <a:pt x="224" y="20389"/>
                  </a:cubicBezTo>
                  <a:cubicBezTo>
                    <a:pt x="224" y="20535"/>
                    <a:pt x="112" y="20535"/>
                    <a:pt x="112" y="20680"/>
                  </a:cubicBezTo>
                  <a:cubicBezTo>
                    <a:pt x="0" y="21067"/>
                    <a:pt x="0" y="21358"/>
                    <a:pt x="0" y="21600"/>
                  </a:cubicBezTo>
                  <a:lnTo>
                    <a:pt x="0" y="13561"/>
                  </a:lnTo>
                  <a:cubicBezTo>
                    <a:pt x="0" y="13270"/>
                    <a:pt x="0" y="12979"/>
                    <a:pt x="112" y="12737"/>
                  </a:cubicBezTo>
                  <a:cubicBezTo>
                    <a:pt x="112" y="12592"/>
                    <a:pt x="112" y="12592"/>
                    <a:pt x="224" y="12447"/>
                  </a:cubicBezTo>
                  <a:cubicBezTo>
                    <a:pt x="224" y="12301"/>
                    <a:pt x="336" y="12059"/>
                    <a:pt x="336" y="11914"/>
                  </a:cubicBezTo>
                  <a:lnTo>
                    <a:pt x="336" y="11769"/>
                  </a:lnTo>
                  <a:cubicBezTo>
                    <a:pt x="448" y="11623"/>
                    <a:pt x="448" y="11478"/>
                    <a:pt x="522" y="11236"/>
                  </a:cubicBezTo>
                  <a:cubicBezTo>
                    <a:pt x="634" y="11091"/>
                    <a:pt x="634" y="10945"/>
                    <a:pt x="634" y="10800"/>
                  </a:cubicBezTo>
                  <a:cubicBezTo>
                    <a:pt x="634" y="10800"/>
                    <a:pt x="634" y="10655"/>
                    <a:pt x="746" y="10655"/>
                  </a:cubicBezTo>
                  <a:cubicBezTo>
                    <a:pt x="858" y="10413"/>
                    <a:pt x="1045" y="10122"/>
                    <a:pt x="1156" y="9880"/>
                  </a:cubicBezTo>
                  <a:cubicBezTo>
                    <a:pt x="1156" y="9735"/>
                    <a:pt x="1268" y="9735"/>
                    <a:pt x="1268" y="9589"/>
                  </a:cubicBezTo>
                  <a:cubicBezTo>
                    <a:pt x="1268" y="9444"/>
                    <a:pt x="1380" y="9444"/>
                    <a:pt x="1380" y="9444"/>
                  </a:cubicBezTo>
                  <a:cubicBezTo>
                    <a:pt x="1492" y="9153"/>
                    <a:pt x="1679" y="8911"/>
                    <a:pt x="1903" y="8621"/>
                  </a:cubicBezTo>
                  <a:cubicBezTo>
                    <a:pt x="2015" y="8475"/>
                    <a:pt x="2052" y="8475"/>
                    <a:pt x="2126" y="8378"/>
                  </a:cubicBezTo>
                  <a:cubicBezTo>
                    <a:pt x="2276" y="8233"/>
                    <a:pt x="2238" y="8185"/>
                    <a:pt x="2313" y="8088"/>
                  </a:cubicBezTo>
                  <a:cubicBezTo>
                    <a:pt x="2425" y="7894"/>
                    <a:pt x="2537" y="7943"/>
                    <a:pt x="2537" y="7797"/>
                  </a:cubicBezTo>
                  <a:cubicBezTo>
                    <a:pt x="2761" y="7555"/>
                    <a:pt x="2947" y="7265"/>
                    <a:pt x="3171" y="6974"/>
                  </a:cubicBezTo>
                  <a:cubicBezTo>
                    <a:pt x="3283" y="6829"/>
                    <a:pt x="3395" y="6732"/>
                    <a:pt x="3581" y="6587"/>
                  </a:cubicBezTo>
                  <a:cubicBezTo>
                    <a:pt x="3805" y="6296"/>
                    <a:pt x="4104" y="6054"/>
                    <a:pt x="4327" y="5763"/>
                  </a:cubicBezTo>
                  <a:cubicBezTo>
                    <a:pt x="4439" y="5618"/>
                    <a:pt x="4551" y="5473"/>
                    <a:pt x="4626" y="5473"/>
                  </a:cubicBezTo>
                  <a:cubicBezTo>
                    <a:pt x="4738" y="5327"/>
                    <a:pt x="4850" y="5327"/>
                    <a:pt x="4850" y="5230"/>
                  </a:cubicBezTo>
                  <a:cubicBezTo>
                    <a:pt x="5484" y="4649"/>
                    <a:pt x="6118" y="4117"/>
                    <a:pt x="6752" y="3584"/>
                  </a:cubicBezTo>
                  <a:lnTo>
                    <a:pt x="6864" y="3584"/>
                  </a:lnTo>
                  <a:cubicBezTo>
                    <a:pt x="7498" y="3003"/>
                    <a:pt x="8133" y="2615"/>
                    <a:pt x="8841" y="2228"/>
                  </a:cubicBezTo>
                  <a:cubicBezTo>
                    <a:pt x="8953" y="2228"/>
                    <a:pt x="8953" y="2228"/>
                    <a:pt x="9065" y="2083"/>
                  </a:cubicBezTo>
                  <a:cubicBezTo>
                    <a:pt x="9364" y="1792"/>
                    <a:pt x="9811" y="1647"/>
                    <a:pt x="10110" y="1501"/>
                  </a:cubicBezTo>
                  <a:cubicBezTo>
                    <a:pt x="10222" y="1404"/>
                    <a:pt x="10334" y="1404"/>
                    <a:pt x="10520" y="1404"/>
                  </a:cubicBezTo>
                  <a:cubicBezTo>
                    <a:pt x="10856" y="1259"/>
                    <a:pt x="11154" y="1114"/>
                    <a:pt x="11490" y="969"/>
                  </a:cubicBezTo>
                  <a:cubicBezTo>
                    <a:pt x="11602" y="969"/>
                    <a:pt x="11602" y="823"/>
                    <a:pt x="11714" y="823"/>
                  </a:cubicBezTo>
                  <a:lnTo>
                    <a:pt x="11789" y="823"/>
                  </a:lnTo>
                  <a:cubicBezTo>
                    <a:pt x="12236" y="678"/>
                    <a:pt x="12647" y="581"/>
                    <a:pt x="13169" y="436"/>
                  </a:cubicBezTo>
                  <a:lnTo>
                    <a:pt x="13281" y="436"/>
                  </a:lnTo>
                  <a:cubicBezTo>
                    <a:pt x="13393" y="436"/>
                    <a:pt x="13467" y="436"/>
                    <a:pt x="13467" y="291"/>
                  </a:cubicBezTo>
                  <a:cubicBezTo>
                    <a:pt x="13691" y="145"/>
                    <a:pt x="14027" y="145"/>
                    <a:pt x="14213" y="145"/>
                  </a:cubicBezTo>
                  <a:lnTo>
                    <a:pt x="14661" y="145"/>
                  </a:lnTo>
                  <a:cubicBezTo>
                    <a:pt x="14848" y="145"/>
                    <a:pt x="14960" y="145"/>
                    <a:pt x="15072" y="0"/>
                  </a:cubicBezTo>
                  <a:lnTo>
                    <a:pt x="16862" y="0"/>
                  </a:lnTo>
                  <a:cubicBezTo>
                    <a:pt x="17049" y="0"/>
                    <a:pt x="17273" y="0"/>
                    <a:pt x="17496" y="145"/>
                  </a:cubicBezTo>
                  <a:lnTo>
                    <a:pt x="17608" y="145"/>
                  </a:lnTo>
                  <a:cubicBezTo>
                    <a:pt x="17795" y="145"/>
                    <a:pt x="18019" y="291"/>
                    <a:pt x="18131" y="291"/>
                  </a:cubicBezTo>
                  <a:lnTo>
                    <a:pt x="18205" y="291"/>
                  </a:lnTo>
                  <a:cubicBezTo>
                    <a:pt x="18317" y="291"/>
                    <a:pt x="18429" y="436"/>
                    <a:pt x="18541" y="436"/>
                  </a:cubicBezTo>
                  <a:cubicBezTo>
                    <a:pt x="18653" y="436"/>
                    <a:pt x="18765" y="581"/>
                    <a:pt x="18839" y="581"/>
                  </a:cubicBezTo>
                  <a:cubicBezTo>
                    <a:pt x="18839" y="581"/>
                    <a:pt x="18839" y="581"/>
                    <a:pt x="18951" y="581"/>
                  </a:cubicBezTo>
                  <a:cubicBezTo>
                    <a:pt x="19175" y="678"/>
                    <a:pt x="19474" y="823"/>
                    <a:pt x="19697" y="969"/>
                  </a:cubicBezTo>
                  <a:cubicBezTo>
                    <a:pt x="20966" y="1501"/>
                    <a:pt x="21488" y="2761"/>
                    <a:pt x="21600" y="4117"/>
                  </a:cubicBez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3" name="Shape 1464"/>
            <p:cNvSpPr/>
            <p:nvPr/>
          </p:nvSpPr>
          <p:spPr>
            <a:xfrm>
              <a:off x="1917934" y="456943"/>
              <a:ext cx="38464" cy="958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194"/>
                  </a:moveTo>
                  <a:lnTo>
                    <a:pt x="21600" y="21600"/>
                  </a:lnTo>
                  <a:lnTo>
                    <a:pt x="0" y="17196"/>
                  </a:lnTo>
                  <a:lnTo>
                    <a:pt x="0" y="0"/>
                  </a:lnTo>
                  <a:lnTo>
                    <a:pt x="21600" y="4194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4" name="Shape 1465"/>
            <p:cNvSpPr/>
            <p:nvPr/>
          </p:nvSpPr>
          <p:spPr>
            <a:xfrm>
              <a:off x="1956866" y="317606"/>
              <a:ext cx="216740" cy="2351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6944"/>
                  </a:lnTo>
                  <a:lnTo>
                    <a:pt x="0" y="21600"/>
                  </a:lnTo>
                  <a:lnTo>
                    <a:pt x="0" y="14528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5" name="Shape 1466"/>
            <p:cNvSpPr/>
            <p:nvPr/>
          </p:nvSpPr>
          <p:spPr>
            <a:xfrm>
              <a:off x="1309359" y="606526"/>
              <a:ext cx="38458" cy="1040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5885"/>
                  </a:lnTo>
                  <a:lnTo>
                    <a:pt x="0" y="21600"/>
                  </a:lnTo>
                  <a:lnTo>
                    <a:pt x="0" y="5715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6" name="Shape 1467"/>
            <p:cNvSpPr/>
            <p:nvPr/>
          </p:nvSpPr>
          <p:spPr>
            <a:xfrm>
              <a:off x="1045028" y="629066"/>
              <a:ext cx="272065" cy="1675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3889"/>
                  </a:moveTo>
                  <a:lnTo>
                    <a:pt x="21600" y="13881"/>
                  </a:lnTo>
                  <a:cubicBezTo>
                    <a:pt x="21600" y="14181"/>
                    <a:pt x="21600" y="14360"/>
                    <a:pt x="21490" y="14719"/>
                  </a:cubicBezTo>
                  <a:cubicBezTo>
                    <a:pt x="21490" y="14899"/>
                    <a:pt x="21490" y="14899"/>
                    <a:pt x="21416" y="15018"/>
                  </a:cubicBezTo>
                  <a:lnTo>
                    <a:pt x="21416" y="15557"/>
                  </a:lnTo>
                  <a:cubicBezTo>
                    <a:pt x="21306" y="15856"/>
                    <a:pt x="21306" y="16035"/>
                    <a:pt x="21195" y="16215"/>
                  </a:cubicBezTo>
                  <a:cubicBezTo>
                    <a:pt x="21195" y="16394"/>
                    <a:pt x="21195" y="16394"/>
                    <a:pt x="21085" y="16394"/>
                  </a:cubicBezTo>
                  <a:cubicBezTo>
                    <a:pt x="21085" y="16394"/>
                    <a:pt x="21085" y="16574"/>
                    <a:pt x="20974" y="16574"/>
                  </a:cubicBezTo>
                  <a:cubicBezTo>
                    <a:pt x="20901" y="16753"/>
                    <a:pt x="20901" y="16753"/>
                    <a:pt x="20901" y="16873"/>
                  </a:cubicBezTo>
                  <a:cubicBezTo>
                    <a:pt x="20790" y="17232"/>
                    <a:pt x="20680" y="17412"/>
                    <a:pt x="20570" y="17591"/>
                  </a:cubicBezTo>
                  <a:lnTo>
                    <a:pt x="20459" y="17711"/>
                  </a:lnTo>
                  <a:cubicBezTo>
                    <a:pt x="20275" y="18070"/>
                    <a:pt x="20055" y="18429"/>
                    <a:pt x="19834" y="18608"/>
                  </a:cubicBezTo>
                  <a:cubicBezTo>
                    <a:pt x="19834" y="18608"/>
                    <a:pt x="19760" y="18608"/>
                    <a:pt x="19760" y="18728"/>
                  </a:cubicBezTo>
                  <a:cubicBezTo>
                    <a:pt x="19539" y="19087"/>
                    <a:pt x="19319" y="19266"/>
                    <a:pt x="19135" y="19446"/>
                  </a:cubicBezTo>
                  <a:cubicBezTo>
                    <a:pt x="19024" y="19446"/>
                    <a:pt x="19024" y="19625"/>
                    <a:pt x="18914" y="19625"/>
                  </a:cubicBezTo>
                  <a:cubicBezTo>
                    <a:pt x="18803" y="19745"/>
                    <a:pt x="18693" y="19745"/>
                    <a:pt x="18509" y="19925"/>
                  </a:cubicBezTo>
                  <a:cubicBezTo>
                    <a:pt x="18509" y="19925"/>
                    <a:pt x="18509" y="19925"/>
                    <a:pt x="18399" y="19925"/>
                  </a:cubicBezTo>
                  <a:cubicBezTo>
                    <a:pt x="18067" y="20284"/>
                    <a:pt x="17663" y="20463"/>
                    <a:pt x="17368" y="20583"/>
                  </a:cubicBezTo>
                  <a:lnTo>
                    <a:pt x="17258" y="20583"/>
                  </a:lnTo>
                  <a:cubicBezTo>
                    <a:pt x="17148" y="20583"/>
                    <a:pt x="17037" y="20762"/>
                    <a:pt x="16927" y="20762"/>
                  </a:cubicBezTo>
                  <a:cubicBezTo>
                    <a:pt x="16743" y="20942"/>
                    <a:pt x="16632" y="20942"/>
                    <a:pt x="16412" y="20942"/>
                  </a:cubicBezTo>
                  <a:cubicBezTo>
                    <a:pt x="16301" y="20942"/>
                    <a:pt x="16301" y="21121"/>
                    <a:pt x="16228" y="21121"/>
                  </a:cubicBezTo>
                  <a:cubicBezTo>
                    <a:pt x="16117" y="21121"/>
                    <a:pt x="16007" y="21121"/>
                    <a:pt x="15896" y="21301"/>
                  </a:cubicBezTo>
                  <a:cubicBezTo>
                    <a:pt x="15786" y="21301"/>
                    <a:pt x="15602" y="21480"/>
                    <a:pt x="15492" y="21480"/>
                  </a:cubicBezTo>
                  <a:lnTo>
                    <a:pt x="14976" y="21480"/>
                  </a:lnTo>
                  <a:cubicBezTo>
                    <a:pt x="14866" y="21480"/>
                    <a:pt x="14645" y="21480"/>
                    <a:pt x="14535" y="21600"/>
                  </a:cubicBezTo>
                  <a:lnTo>
                    <a:pt x="11959" y="21600"/>
                  </a:lnTo>
                  <a:cubicBezTo>
                    <a:pt x="11628" y="21600"/>
                    <a:pt x="11444" y="21600"/>
                    <a:pt x="11113" y="21480"/>
                  </a:cubicBezTo>
                  <a:lnTo>
                    <a:pt x="10818" y="21480"/>
                  </a:lnTo>
                  <a:cubicBezTo>
                    <a:pt x="10414" y="21301"/>
                    <a:pt x="9972" y="21301"/>
                    <a:pt x="9457" y="21121"/>
                  </a:cubicBezTo>
                  <a:lnTo>
                    <a:pt x="9236" y="21121"/>
                  </a:lnTo>
                  <a:cubicBezTo>
                    <a:pt x="8647" y="20942"/>
                    <a:pt x="8022" y="20762"/>
                    <a:pt x="7470" y="20463"/>
                  </a:cubicBezTo>
                  <a:lnTo>
                    <a:pt x="7396" y="20463"/>
                  </a:lnTo>
                  <a:cubicBezTo>
                    <a:pt x="7286" y="20463"/>
                    <a:pt x="7286" y="20284"/>
                    <a:pt x="7175" y="20284"/>
                  </a:cubicBezTo>
                  <a:cubicBezTo>
                    <a:pt x="6881" y="20104"/>
                    <a:pt x="6550" y="19925"/>
                    <a:pt x="6256" y="19745"/>
                  </a:cubicBezTo>
                  <a:cubicBezTo>
                    <a:pt x="6145" y="19625"/>
                    <a:pt x="6035" y="19625"/>
                    <a:pt x="5924" y="19625"/>
                  </a:cubicBezTo>
                  <a:cubicBezTo>
                    <a:pt x="5520" y="19266"/>
                    <a:pt x="5188" y="19087"/>
                    <a:pt x="4784" y="18728"/>
                  </a:cubicBezTo>
                  <a:cubicBezTo>
                    <a:pt x="1766" y="16215"/>
                    <a:pt x="0" y="12984"/>
                    <a:pt x="0" y="9813"/>
                  </a:cubicBezTo>
                  <a:lnTo>
                    <a:pt x="0" y="0"/>
                  </a:lnTo>
                  <a:cubicBezTo>
                    <a:pt x="0" y="3052"/>
                    <a:pt x="1619" y="6402"/>
                    <a:pt x="4784" y="8975"/>
                  </a:cubicBezTo>
                  <a:cubicBezTo>
                    <a:pt x="5152" y="9274"/>
                    <a:pt x="5520" y="9454"/>
                    <a:pt x="5924" y="9813"/>
                  </a:cubicBezTo>
                  <a:cubicBezTo>
                    <a:pt x="6035" y="9992"/>
                    <a:pt x="6145" y="9992"/>
                    <a:pt x="6256" y="9992"/>
                  </a:cubicBezTo>
                  <a:cubicBezTo>
                    <a:pt x="6550" y="10112"/>
                    <a:pt x="6881" y="10291"/>
                    <a:pt x="7175" y="10471"/>
                  </a:cubicBezTo>
                  <a:cubicBezTo>
                    <a:pt x="7286" y="10471"/>
                    <a:pt x="7396" y="10650"/>
                    <a:pt x="7470" y="10650"/>
                  </a:cubicBezTo>
                  <a:cubicBezTo>
                    <a:pt x="8095" y="11009"/>
                    <a:pt x="8721" y="11129"/>
                    <a:pt x="9236" y="11309"/>
                  </a:cubicBezTo>
                  <a:cubicBezTo>
                    <a:pt x="9347" y="11309"/>
                    <a:pt x="9347" y="11488"/>
                    <a:pt x="9457" y="11488"/>
                  </a:cubicBezTo>
                  <a:cubicBezTo>
                    <a:pt x="9862" y="11668"/>
                    <a:pt x="10303" y="11668"/>
                    <a:pt x="10818" y="11847"/>
                  </a:cubicBezTo>
                  <a:lnTo>
                    <a:pt x="11113" y="11847"/>
                  </a:lnTo>
                  <a:cubicBezTo>
                    <a:pt x="11444" y="11847"/>
                    <a:pt x="11628" y="12027"/>
                    <a:pt x="11959" y="12027"/>
                  </a:cubicBezTo>
                  <a:lnTo>
                    <a:pt x="14461" y="12027"/>
                  </a:lnTo>
                  <a:cubicBezTo>
                    <a:pt x="14535" y="12027"/>
                    <a:pt x="14756" y="12027"/>
                    <a:pt x="14866" y="11847"/>
                  </a:cubicBezTo>
                  <a:cubicBezTo>
                    <a:pt x="15087" y="11847"/>
                    <a:pt x="15160" y="11668"/>
                    <a:pt x="15381" y="11668"/>
                  </a:cubicBezTo>
                  <a:cubicBezTo>
                    <a:pt x="15602" y="11668"/>
                    <a:pt x="15676" y="11488"/>
                    <a:pt x="15786" y="11488"/>
                  </a:cubicBezTo>
                  <a:cubicBezTo>
                    <a:pt x="15896" y="11488"/>
                    <a:pt x="16117" y="11309"/>
                    <a:pt x="16228" y="11309"/>
                  </a:cubicBezTo>
                  <a:cubicBezTo>
                    <a:pt x="16412" y="11129"/>
                    <a:pt x="16522" y="11129"/>
                    <a:pt x="16743" y="11129"/>
                  </a:cubicBezTo>
                  <a:cubicBezTo>
                    <a:pt x="16816" y="11129"/>
                    <a:pt x="16927" y="11009"/>
                    <a:pt x="17037" y="11009"/>
                  </a:cubicBezTo>
                  <a:cubicBezTo>
                    <a:pt x="17442" y="10830"/>
                    <a:pt x="17773" y="10650"/>
                    <a:pt x="18067" y="10291"/>
                  </a:cubicBezTo>
                  <a:cubicBezTo>
                    <a:pt x="18178" y="10112"/>
                    <a:pt x="18399" y="10112"/>
                    <a:pt x="18509" y="9992"/>
                  </a:cubicBezTo>
                  <a:cubicBezTo>
                    <a:pt x="18583" y="9992"/>
                    <a:pt x="18583" y="9813"/>
                    <a:pt x="18693" y="9813"/>
                  </a:cubicBezTo>
                  <a:cubicBezTo>
                    <a:pt x="18914" y="9633"/>
                    <a:pt x="19135" y="9274"/>
                    <a:pt x="19319" y="9155"/>
                  </a:cubicBezTo>
                  <a:cubicBezTo>
                    <a:pt x="19650" y="8796"/>
                    <a:pt x="19834" y="8437"/>
                    <a:pt x="20055" y="8137"/>
                  </a:cubicBezTo>
                  <a:lnTo>
                    <a:pt x="20165" y="7958"/>
                  </a:lnTo>
                  <a:cubicBezTo>
                    <a:pt x="20349" y="7599"/>
                    <a:pt x="20459" y="7300"/>
                    <a:pt x="20680" y="6941"/>
                  </a:cubicBezTo>
                  <a:cubicBezTo>
                    <a:pt x="20680" y="6941"/>
                    <a:pt x="20680" y="6761"/>
                    <a:pt x="20790" y="6761"/>
                  </a:cubicBezTo>
                  <a:cubicBezTo>
                    <a:pt x="20901" y="6402"/>
                    <a:pt x="20974" y="6103"/>
                    <a:pt x="21085" y="5744"/>
                  </a:cubicBezTo>
                  <a:lnTo>
                    <a:pt x="21085" y="5565"/>
                  </a:lnTo>
                  <a:cubicBezTo>
                    <a:pt x="21490" y="4727"/>
                    <a:pt x="21490" y="4248"/>
                    <a:pt x="21600" y="3889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7" name="Shape 1468"/>
            <p:cNvSpPr/>
            <p:nvPr/>
          </p:nvSpPr>
          <p:spPr>
            <a:xfrm>
              <a:off x="1346243" y="606526"/>
              <a:ext cx="255671" cy="2023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3457"/>
                  </a:moveTo>
                  <a:lnTo>
                    <a:pt x="21600" y="21600"/>
                  </a:lnTo>
                  <a:lnTo>
                    <a:pt x="0" y="8143"/>
                  </a:lnTo>
                  <a:lnTo>
                    <a:pt x="0" y="0"/>
                  </a:lnTo>
                  <a:lnTo>
                    <a:pt x="21600" y="13457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8" name="Shape 1469"/>
            <p:cNvSpPr/>
            <p:nvPr/>
          </p:nvSpPr>
          <p:spPr>
            <a:xfrm>
              <a:off x="1602376" y="573740"/>
              <a:ext cx="218788" cy="2351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6972"/>
                  </a:lnTo>
                  <a:lnTo>
                    <a:pt x="0" y="21600"/>
                  </a:lnTo>
                  <a:lnTo>
                    <a:pt x="0" y="14585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9" name="Shape 1470"/>
            <p:cNvSpPr/>
            <p:nvPr/>
          </p:nvSpPr>
          <p:spPr>
            <a:xfrm>
              <a:off x="952820" y="0"/>
              <a:ext cx="1220785" cy="7331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9355"/>
                  </a:moveTo>
                  <a:lnTo>
                    <a:pt x="17730" y="14026"/>
                  </a:lnTo>
                  <a:lnTo>
                    <a:pt x="17057" y="13478"/>
                  </a:lnTo>
                  <a:cubicBezTo>
                    <a:pt x="17262" y="12752"/>
                    <a:pt x="17196" y="12094"/>
                    <a:pt x="16777" y="11738"/>
                  </a:cubicBezTo>
                  <a:cubicBezTo>
                    <a:pt x="16054" y="11163"/>
                    <a:pt x="14625" y="11738"/>
                    <a:pt x="13556" y="13026"/>
                  </a:cubicBezTo>
                  <a:cubicBezTo>
                    <a:pt x="12488" y="14341"/>
                    <a:pt x="12209" y="15847"/>
                    <a:pt x="12932" y="16423"/>
                  </a:cubicBezTo>
                  <a:cubicBezTo>
                    <a:pt x="13343" y="16765"/>
                    <a:pt x="14017" y="16697"/>
                    <a:pt x="14690" y="16340"/>
                  </a:cubicBezTo>
                  <a:lnTo>
                    <a:pt x="15364" y="16888"/>
                  </a:lnTo>
                  <a:lnTo>
                    <a:pt x="11494" y="21600"/>
                  </a:lnTo>
                  <a:lnTo>
                    <a:pt x="6943" y="17888"/>
                  </a:lnTo>
                  <a:lnTo>
                    <a:pt x="6285" y="18696"/>
                  </a:lnTo>
                  <a:cubicBezTo>
                    <a:pt x="6515" y="19354"/>
                    <a:pt x="6441" y="20052"/>
                    <a:pt x="6031" y="20559"/>
                  </a:cubicBezTo>
                  <a:cubicBezTo>
                    <a:pt x="5308" y="21408"/>
                    <a:pt x="3862" y="21408"/>
                    <a:pt x="2777" y="20518"/>
                  </a:cubicBezTo>
                  <a:cubicBezTo>
                    <a:pt x="1684" y="19628"/>
                    <a:pt x="1389" y="18244"/>
                    <a:pt x="2112" y="17354"/>
                  </a:cubicBezTo>
                  <a:cubicBezTo>
                    <a:pt x="2522" y="16847"/>
                    <a:pt x="3171" y="16655"/>
                    <a:pt x="3870" y="16738"/>
                  </a:cubicBezTo>
                  <a:lnTo>
                    <a:pt x="4543" y="15916"/>
                  </a:lnTo>
                  <a:lnTo>
                    <a:pt x="0" y="12204"/>
                  </a:lnTo>
                  <a:lnTo>
                    <a:pt x="3870" y="7533"/>
                  </a:lnTo>
                  <a:lnTo>
                    <a:pt x="4543" y="8067"/>
                  </a:lnTo>
                  <a:cubicBezTo>
                    <a:pt x="4330" y="8807"/>
                    <a:pt x="4404" y="9465"/>
                    <a:pt x="4823" y="9807"/>
                  </a:cubicBezTo>
                  <a:cubicBezTo>
                    <a:pt x="5538" y="10396"/>
                    <a:pt x="6967" y="9848"/>
                    <a:pt x="8035" y="8533"/>
                  </a:cubicBezTo>
                  <a:cubicBezTo>
                    <a:pt x="9103" y="7218"/>
                    <a:pt x="9383" y="5712"/>
                    <a:pt x="8660" y="5136"/>
                  </a:cubicBezTo>
                  <a:cubicBezTo>
                    <a:pt x="8241" y="4794"/>
                    <a:pt x="7575" y="4862"/>
                    <a:pt x="6901" y="5219"/>
                  </a:cubicBezTo>
                  <a:lnTo>
                    <a:pt x="6236" y="4671"/>
                  </a:lnTo>
                  <a:lnTo>
                    <a:pt x="10098" y="0"/>
                  </a:lnTo>
                  <a:lnTo>
                    <a:pt x="14641" y="3698"/>
                  </a:lnTo>
                  <a:lnTo>
                    <a:pt x="15315" y="2890"/>
                  </a:lnTo>
                  <a:cubicBezTo>
                    <a:pt x="15085" y="2233"/>
                    <a:pt x="15150" y="1534"/>
                    <a:pt x="15569" y="1041"/>
                  </a:cubicBezTo>
                  <a:cubicBezTo>
                    <a:pt x="16292" y="192"/>
                    <a:pt x="17730" y="192"/>
                    <a:pt x="18815" y="1082"/>
                  </a:cubicBezTo>
                  <a:cubicBezTo>
                    <a:pt x="19907" y="1972"/>
                    <a:pt x="20211" y="3356"/>
                    <a:pt x="19488" y="4246"/>
                  </a:cubicBezTo>
                  <a:cubicBezTo>
                    <a:pt x="19069" y="4753"/>
                    <a:pt x="18420" y="4945"/>
                    <a:pt x="17730" y="4862"/>
                  </a:cubicBezTo>
                  <a:lnTo>
                    <a:pt x="17057" y="5671"/>
                  </a:lnTo>
                  <a:lnTo>
                    <a:pt x="21600" y="9355"/>
                  </a:lnTo>
                </a:path>
              </a:pathLst>
            </a:custGeom>
            <a:solidFill>
              <a:srgbClr val="EAFFE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0" name="Shape 1471"/>
            <p:cNvSpPr/>
            <p:nvPr/>
          </p:nvSpPr>
          <p:spPr>
            <a:xfrm>
              <a:off x="1791232" y="778303"/>
              <a:ext cx="346850" cy="2008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81" h="19646" extrusionOk="0">
                  <a:moveTo>
                    <a:pt x="2849" y="16759"/>
                  </a:moveTo>
                  <a:cubicBezTo>
                    <a:pt x="-949" y="12885"/>
                    <a:pt x="-949" y="6688"/>
                    <a:pt x="2849" y="2905"/>
                  </a:cubicBezTo>
                  <a:cubicBezTo>
                    <a:pt x="6726" y="-968"/>
                    <a:pt x="12897" y="-968"/>
                    <a:pt x="16774" y="2905"/>
                  </a:cubicBezTo>
                  <a:cubicBezTo>
                    <a:pt x="20651" y="6733"/>
                    <a:pt x="20651" y="12931"/>
                    <a:pt x="16774" y="16759"/>
                  </a:cubicBezTo>
                  <a:cubicBezTo>
                    <a:pt x="12897" y="20632"/>
                    <a:pt x="6726" y="20586"/>
                    <a:pt x="2849" y="16759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1" name="Shape 1472"/>
            <p:cNvSpPr/>
            <p:nvPr/>
          </p:nvSpPr>
          <p:spPr>
            <a:xfrm>
              <a:off x="1844191" y="820483"/>
              <a:ext cx="99532" cy="446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882" h="17564" extrusionOk="0">
                  <a:moveTo>
                    <a:pt x="6902" y="1562"/>
                  </a:moveTo>
                  <a:cubicBezTo>
                    <a:pt x="9520" y="2661"/>
                    <a:pt x="14850" y="-3563"/>
                    <a:pt x="19058" y="3210"/>
                  </a:cubicBezTo>
                  <a:cubicBezTo>
                    <a:pt x="20367" y="6139"/>
                    <a:pt x="20367" y="16939"/>
                    <a:pt x="17188" y="17488"/>
                  </a:cubicBezTo>
                  <a:cubicBezTo>
                    <a:pt x="14009" y="18037"/>
                    <a:pt x="13728" y="15474"/>
                    <a:pt x="11390" y="13827"/>
                  </a:cubicBezTo>
                  <a:cubicBezTo>
                    <a:pt x="9053" y="12912"/>
                    <a:pt x="1853" y="11813"/>
                    <a:pt x="263" y="8701"/>
                  </a:cubicBezTo>
                  <a:cubicBezTo>
                    <a:pt x="-1233" y="5590"/>
                    <a:pt x="4003" y="647"/>
                    <a:pt x="6902" y="1562"/>
                  </a:cubicBezTo>
                </a:path>
              </a:pathLst>
            </a:custGeom>
            <a:solidFill>
              <a:srgbClr val="47716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2" name="Shape 1473"/>
            <p:cNvSpPr/>
            <p:nvPr/>
          </p:nvSpPr>
          <p:spPr>
            <a:xfrm>
              <a:off x="1836955" y="647507"/>
              <a:ext cx="136138" cy="1886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193" h="20545" extrusionOk="0">
                  <a:moveTo>
                    <a:pt x="16801" y="7368"/>
                  </a:moveTo>
                  <a:cubicBezTo>
                    <a:pt x="12718" y="7267"/>
                    <a:pt x="9557" y="7671"/>
                    <a:pt x="10282" y="9538"/>
                  </a:cubicBezTo>
                  <a:cubicBezTo>
                    <a:pt x="11006" y="11355"/>
                    <a:pt x="14167" y="19935"/>
                    <a:pt x="14167" y="19935"/>
                  </a:cubicBezTo>
                  <a:cubicBezTo>
                    <a:pt x="11928" y="21600"/>
                    <a:pt x="7121" y="19329"/>
                    <a:pt x="7121" y="19329"/>
                  </a:cubicBezTo>
                  <a:cubicBezTo>
                    <a:pt x="7121" y="19329"/>
                    <a:pt x="2313" y="10800"/>
                    <a:pt x="799" y="8226"/>
                  </a:cubicBezTo>
                  <a:cubicBezTo>
                    <a:pt x="-716" y="5703"/>
                    <a:pt x="74" y="3684"/>
                    <a:pt x="1918" y="2826"/>
                  </a:cubicBezTo>
                  <a:cubicBezTo>
                    <a:pt x="3762" y="1968"/>
                    <a:pt x="14167" y="0"/>
                    <a:pt x="14167" y="0"/>
                  </a:cubicBezTo>
                  <a:cubicBezTo>
                    <a:pt x="19567" y="0"/>
                    <a:pt x="20884" y="7520"/>
                    <a:pt x="16801" y="7368"/>
                  </a:cubicBezTo>
                </a:path>
              </a:pathLst>
            </a:custGeom>
            <a:solidFill>
              <a:srgbClr val="4773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3" name="Shape 1474"/>
            <p:cNvSpPr/>
            <p:nvPr/>
          </p:nvSpPr>
          <p:spPr>
            <a:xfrm>
              <a:off x="2020518" y="870856"/>
              <a:ext cx="78982" cy="949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595" h="20530" extrusionOk="0">
                  <a:moveTo>
                    <a:pt x="4004" y="6229"/>
                  </a:moveTo>
                  <a:cubicBezTo>
                    <a:pt x="5868" y="2813"/>
                    <a:pt x="13653" y="0"/>
                    <a:pt x="13653" y="0"/>
                  </a:cubicBezTo>
                  <a:cubicBezTo>
                    <a:pt x="13653" y="0"/>
                    <a:pt x="20122" y="2813"/>
                    <a:pt x="18258" y="6028"/>
                  </a:cubicBezTo>
                  <a:cubicBezTo>
                    <a:pt x="16394" y="9343"/>
                    <a:pt x="14311" y="8841"/>
                    <a:pt x="13653" y="11654"/>
                  </a:cubicBezTo>
                  <a:cubicBezTo>
                    <a:pt x="12995" y="14467"/>
                    <a:pt x="9048" y="21600"/>
                    <a:pt x="3785" y="20394"/>
                  </a:cubicBezTo>
                  <a:cubicBezTo>
                    <a:pt x="-1478" y="19289"/>
                    <a:pt x="-601" y="15572"/>
                    <a:pt x="2469" y="15371"/>
                  </a:cubicBezTo>
                  <a:cubicBezTo>
                    <a:pt x="5649" y="14768"/>
                    <a:pt x="2250" y="9946"/>
                    <a:pt x="4004" y="6229"/>
                  </a:cubicBezTo>
                </a:path>
              </a:pathLst>
            </a:custGeom>
            <a:solidFill>
              <a:srgbClr val="47716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4" name="Shape 1475"/>
            <p:cNvSpPr/>
            <p:nvPr/>
          </p:nvSpPr>
          <p:spPr>
            <a:xfrm>
              <a:off x="1887198" y="452025"/>
              <a:ext cx="48723" cy="433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005" extrusionOk="0">
                  <a:moveTo>
                    <a:pt x="7873" y="80"/>
                  </a:moveTo>
                  <a:cubicBezTo>
                    <a:pt x="8479" y="-595"/>
                    <a:pt x="19379" y="3230"/>
                    <a:pt x="19379" y="3230"/>
                  </a:cubicBezTo>
                  <a:lnTo>
                    <a:pt x="21600" y="16505"/>
                  </a:lnTo>
                  <a:lnTo>
                    <a:pt x="3432" y="21005"/>
                  </a:lnTo>
                  <a:lnTo>
                    <a:pt x="0" y="7730"/>
                  </a:lnTo>
                  <a:cubicBezTo>
                    <a:pt x="606" y="7055"/>
                    <a:pt x="7873" y="80"/>
                    <a:pt x="7873" y="80"/>
                  </a:cubicBezTo>
                </a:path>
              </a:pathLst>
            </a:custGeom>
            <a:solidFill>
              <a:srgbClr val="FFE98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5" name="Shape 1476"/>
            <p:cNvSpPr/>
            <p:nvPr/>
          </p:nvSpPr>
          <p:spPr>
            <a:xfrm>
              <a:off x="1872855" y="374965"/>
              <a:ext cx="82977" cy="1020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54" h="21178" extrusionOk="0">
                  <a:moveTo>
                    <a:pt x="4126" y="7128"/>
                  </a:moveTo>
                  <a:cubicBezTo>
                    <a:pt x="4490" y="6555"/>
                    <a:pt x="3762" y="6268"/>
                    <a:pt x="2427" y="6555"/>
                  </a:cubicBezTo>
                  <a:cubicBezTo>
                    <a:pt x="1335" y="6268"/>
                    <a:pt x="728" y="5790"/>
                    <a:pt x="0" y="4643"/>
                  </a:cubicBezTo>
                  <a:cubicBezTo>
                    <a:pt x="971" y="3114"/>
                    <a:pt x="2063" y="1967"/>
                    <a:pt x="3034" y="1490"/>
                  </a:cubicBezTo>
                  <a:cubicBezTo>
                    <a:pt x="6189" y="151"/>
                    <a:pt x="9222" y="-422"/>
                    <a:pt x="12620" y="343"/>
                  </a:cubicBezTo>
                  <a:cubicBezTo>
                    <a:pt x="16139" y="916"/>
                    <a:pt x="18445" y="2254"/>
                    <a:pt x="19901" y="4452"/>
                  </a:cubicBezTo>
                  <a:cubicBezTo>
                    <a:pt x="20144" y="4930"/>
                    <a:pt x="20144" y="5504"/>
                    <a:pt x="20508" y="6077"/>
                  </a:cubicBezTo>
                  <a:cubicBezTo>
                    <a:pt x="21600" y="7702"/>
                    <a:pt x="21600" y="9518"/>
                    <a:pt x="21236" y="11429"/>
                  </a:cubicBezTo>
                  <a:cubicBezTo>
                    <a:pt x="20872" y="13819"/>
                    <a:pt x="20265" y="15443"/>
                    <a:pt x="19537" y="16590"/>
                  </a:cubicBezTo>
                  <a:cubicBezTo>
                    <a:pt x="18930" y="17642"/>
                    <a:pt x="18445" y="18215"/>
                    <a:pt x="18081" y="18406"/>
                  </a:cubicBezTo>
                  <a:cubicBezTo>
                    <a:pt x="17474" y="19266"/>
                    <a:pt x="17110" y="19840"/>
                    <a:pt x="16746" y="20031"/>
                  </a:cubicBezTo>
                  <a:cubicBezTo>
                    <a:pt x="16382" y="20031"/>
                    <a:pt x="15411" y="20318"/>
                    <a:pt x="14076" y="20605"/>
                  </a:cubicBezTo>
                  <a:cubicBezTo>
                    <a:pt x="12620" y="20891"/>
                    <a:pt x="11649" y="21178"/>
                    <a:pt x="10921" y="21178"/>
                  </a:cubicBezTo>
                  <a:cubicBezTo>
                    <a:pt x="10921" y="21178"/>
                    <a:pt x="10557" y="20891"/>
                    <a:pt x="9222" y="20891"/>
                  </a:cubicBezTo>
                  <a:cubicBezTo>
                    <a:pt x="7888" y="20891"/>
                    <a:pt x="6796" y="20031"/>
                    <a:pt x="6553" y="18406"/>
                  </a:cubicBezTo>
                  <a:lnTo>
                    <a:pt x="5461" y="16017"/>
                  </a:lnTo>
                  <a:cubicBezTo>
                    <a:pt x="5825" y="15443"/>
                    <a:pt x="6310" y="14583"/>
                    <a:pt x="6553" y="13819"/>
                  </a:cubicBezTo>
                  <a:cubicBezTo>
                    <a:pt x="6917" y="12959"/>
                    <a:pt x="6796" y="12481"/>
                    <a:pt x="6796" y="12003"/>
                  </a:cubicBezTo>
                  <a:cubicBezTo>
                    <a:pt x="6796" y="11429"/>
                    <a:pt x="6553" y="10856"/>
                    <a:pt x="5461" y="10378"/>
                  </a:cubicBezTo>
                  <a:cubicBezTo>
                    <a:pt x="4733" y="9805"/>
                    <a:pt x="4126" y="10091"/>
                    <a:pt x="3398" y="11143"/>
                  </a:cubicBezTo>
                  <a:cubicBezTo>
                    <a:pt x="3398" y="12290"/>
                    <a:pt x="3034" y="13054"/>
                    <a:pt x="3034" y="13628"/>
                  </a:cubicBezTo>
                  <a:lnTo>
                    <a:pt x="1699" y="13628"/>
                  </a:lnTo>
                  <a:cubicBezTo>
                    <a:pt x="1699" y="11716"/>
                    <a:pt x="1335" y="10665"/>
                    <a:pt x="1335" y="10091"/>
                  </a:cubicBezTo>
                  <a:cubicBezTo>
                    <a:pt x="3034" y="8466"/>
                    <a:pt x="3762" y="7702"/>
                    <a:pt x="4126" y="7128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6" name="Shape 1477"/>
            <p:cNvSpPr/>
            <p:nvPr/>
          </p:nvSpPr>
          <p:spPr>
            <a:xfrm>
              <a:off x="1869340" y="397520"/>
              <a:ext cx="29702" cy="855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84" h="21600" extrusionOk="0">
                  <a:moveTo>
                    <a:pt x="3130" y="15580"/>
                  </a:moveTo>
                  <a:cubicBezTo>
                    <a:pt x="229" y="13928"/>
                    <a:pt x="229" y="12275"/>
                    <a:pt x="229" y="9679"/>
                  </a:cubicBezTo>
                  <a:cubicBezTo>
                    <a:pt x="1196" y="7318"/>
                    <a:pt x="1196" y="5902"/>
                    <a:pt x="229" y="5311"/>
                  </a:cubicBezTo>
                  <a:cubicBezTo>
                    <a:pt x="-416" y="4013"/>
                    <a:pt x="229" y="2007"/>
                    <a:pt x="3130" y="0"/>
                  </a:cubicBezTo>
                  <a:cubicBezTo>
                    <a:pt x="4097" y="1298"/>
                    <a:pt x="6677" y="2243"/>
                    <a:pt x="9578" y="2243"/>
                  </a:cubicBezTo>
                  <a:cubicBezTo>
                    <a:pt x="13124" y="2243"/>
                    <a:pt x="14091" y="2597"/>
                    <a:pt x="14091" y="3305"/>
                  </a:cubicBezTo>
                  <a:cubicBezTo>
                    <a:pt x="13124" y="4013"/>
                    <a:pt x="11190" y="5311"/>
                    <a:pt x="6677" y="6964"/>
                  </a:cubicBezTo>
                  <a:cubicBezTo>
                    <a:pt x="6677" y="7672"/>
                    <a:pt x="6677" y="8970"/>
                    <a:pt x="7644" y="11331"/>
                  </a:cubicBezTo>
                  <a:lnTo>
                    <a:pt x="11190" y="11331"/>
                  </a:lnTo>
                  <a:cubicBezTo>
                    <a:pt x="11190" y="10623"/>
                    <a:pt x="12157" y="9679"/>
                    <a:pt x="12157" y="8262"/>
                  </a:cubicBezTo>
                  <a:cubicBezTo>
                    <a:pt x="13124" y="6964"/>
                    <a:pt x="15703" y="6610"/>
                    <a:pt x="17638" y="7318"/>
                  </a:cubicBezTo>
                  <a:cubicBezTo>
                    <a:pt x="19572" y="7908"/>
                    <a:pt x="21184" y="8616"/>
                    <a:pt x="21184" y="9325"/>
                  </a:cubicBezTo>
                  <a:cubicBezTo>
                    <a:pt x="21184" y="9679"/>
                    <a:pt x="21184" y="10623"/>
                    <a:pt x="20539" y="11567"/>
                  </a:cubicBezTo>
                  <a:cubicBezTo>
                    <a:pt x="20539" y="12630"/>
                    <a:pt x="19572" y="13574"/>
                    <a:pt x="17638" y="14282"/>
                  </a:cubicBezTo>
                  <a:lnTo>
                    <a:pt x="20539" y="17233"/>
                  </a:lnTo>
                  <a:cubicBezTo>
                    <a:pt x="19572" y="17587"/>
                    <a:pt x="18605" y="18295"/>
                    <a:pt x="17638" y="19593"/>
                  </a:cubicBezTo>
                  <a:cubicBezTo>
                    <a:pt x="17638" y="19948"/>
                    <a:pt x="16671" y="20302"/>
                    <a:pt x="15703" y="20892"/>
                  </a:cubicBezTo>
                  <a:lnTo>
                    <a:pt x="15059" y="21600"/>
                  </a:lnTo>
                  <a:lnTo>
                    <a:pt x="13124" y="21600"/>
                  </a:lnTo>
                  <a:cubicBezTo>
                    <a:pt x="11190" y="21600"/>
                    <a:pt x="9578" y="21600"/>
                    <a:pt x="7644" y="20892"/>
                  </a:cubicBezTo>
                  <a:cubicBezTo>
                    <a:pt x="5709" y="20302"/>
                    <a:pt x="4097" y="18649"/>
                    <a:pt x="3130" y="1558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7" name="Shape 1478"/>
            <p:cNvSpPr/>
            <p:nvPr/>
          </p:nvSpPr>
          <p:spPr>
            <a:xfrm>
              <a:off x="1934327" y="651605"/>
              <a:ext cx="147069" cy="2495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2919" y="1252"/>
                  </a:lnTo>
                  <a:cubicBezTo>
                    <a:pt x="12919" y="1252"/>
                    <a:pt x="12714" y="9326"/>
                    <a:pt x="12919" y="11830"/>
                  </a:cubicBezTo>
                  <a:lnTo>
                    <a:pt x="21600" y="19460"/>
                  </a:lnTo>
                  <a:cubicBezTo>
                    <a:pt x="21600" y="19460"/>
                    <a:pt x="18114" y="21600"/>
                    <a:pt x="15380" y="21600"/>
                  </a:cubicBezTo>
                  <a:cubicBezTo>
                    <a:pt x="15380" y="21600"/>
                    <a:pt x="7109" y="16351"/>
                    <a:pt x="5947" y="14131"/>
                  </a:cubicBezTo>
                  <a:cubicBezTo>
                    <a:pt x="4580" y="11951"/>
                    <a:pt x="0" y="0"/>
                    <a:pt x="0" y="0"/>
                  </a:cubicBezTo>
                </a:path>
              </a:pathLst>
            </a:custGeom>
            <a:solidFill>
              <a:srgbClr val="52858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8" name="Shape 1479"/>
            <p:cNvSpPr/>
            <p:nvPr/>
          </p:nvSpPr>
          <p:spPr>
            <a:xfrm>
              <a:off x="1788767" y="400912"/>
              <a:ext cx="106166" cy="1334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32" h="21385" extrusionOk="0">
                  <a:moveTo>
                    <a:pt x="18921" y="21385"/>
                  </a:moveTo>
                  <a:cubicBezTo>
                    <a:pt x="18921" y="21385"/>
                    <a:pt x="13410" y="18861"/>
                    <a:pt x="10832" y="17228"/>
                  </a:cubicBezTo>
                  <a:cubicBezTo>
                    <a:pt x="8343" y="15521"/>
                    <a:pt x="3632" y="7133"/>
                    <a:pt x="3632" y="7133"/>
                  </a:cubicBezTo>
                  <a:cubicBezTo>
                    <a:pt x="-1168" y="4387"/>
                    <a:pt x="-812" y="230"/>
                    <a:pt x="2388" y="8"/>
                  </a:cubicBezTo>
                  <a:cubicBezTo>
                    <a:pt x="5676" y="-215"/>
                    <a:pt x="6832" y="4610"/>
                    <a:pt x="6832" y="4610"/>
                  </a:cubicBezTo>
                  <a:cubicBezTo>
                    <a:pt x="9410" y="7133"/>
                    <a:pt x="16432" y="14037"/>
                    <a:pt x="16432" y="14037"/>
                  </a:cubicBezTo>
                  <a:lnTo>
                    <a:pt x="20432" y="14705"/>
                  </a:lnTo>
                  <a:lnTo>
                    <a:pt x="18921" y="21385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9" name="Shape 1480"/>
            <p:cNvSpPr/>
            <p:nvPr/>
          </p:nvSpPr>
          <p:spPr>
            <a:xfrm>
              <a:off x="1872737" y="487679"/>
              <a:ext cx="90592" cy="656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809" h="16554" extrusionOk="0">
                  <a:moveTo>
                    <a:pt x="18643" y="12678"/>
                  </a:moveTo>
                  <a:cubicBezTo>
                    <a:pt x="16415" y="21600"/>
                    <a:pt x="1402" y="12326"/>
                    <a:pt x="1402" y="12326"/>
                  </a:cubicBezTo>
                  <a:cubicBezTo>
                    <a:pt x="1402" y="12326"/>
                    <a:pt x="-826" y="8687"/>
                    <a:pt x="336" y="4696"/>
                  </a:cubicBezTo>
                  <a:cubicBezTo>
                    <a:pt x="1111" y="1057"/>
                    <a:pt x="1692" y="0"/>
                    <a:pt x="1692" y="0"/>
                  </a:cubicBezTo>
                  <a:cubicBezTo>
                    <a:pt x="1692" y="0"/>
                    <a:pt x="20774" y="3639"/>
                    <a:pt x="18643" y="12678"/>
                  </a:cubicBezTo>
                </a:path>
              </a:pathLst>
            </a:custGeom>
            <a:solidFill>
              <a:srgbClr val="47686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0" name="Shape 1481"/>
            <p:cNvSpPr/>
            <p:nvPr/>
          </p:nvSpPr>
          <p:spPr>
            <a:xfrm>
              <a:off x="1874904" y="482162"/>
              <a:ext cx="151166" cy="1932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7909" extrusionOk="0">
                  <a:moveTo>
                    <a:pt x="15600" y="2804"/>
                  </a:moveTo>
                  <a:cubicBezTo>
                    <a:pt x="18800" y="5741"/>
                    <a:pt x="21600" y="17189"/>
                    <a:pt x="21600" y="17189"/>
                  </a:cubicBezTo>
                  <a:cubicBezTo>
                    <a:pt x="14467" y="19263"/>
                    <a:pt x="3933" y="16196"/>
                    <a:pt x="3933" y="16196"/>
                  </a:cubicBezTo>
                  <a:lnTo>
                    <a:pt x="0" y="3279"/>
                  </a:lnTo>
                  <a:cubicBezTo>
                    <a:pt x="3733" y="-2337"/>
                    <a:pt x="13133" y="471"/>
                    <a:pt x="15600" y="2804"/>
                  </a:cubicBezTo>
                </a:path>
              </a:pathLst>
            </a:custGeom>
            <a:solidFill>
              <a:srgbClr val="477A7D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1" name="Shape 1482"/>
            <p:cNvSpPr/>
            <p:nvPr/>
          </p:nvSpPr>
          <p:spPr>
            <a:xfrm>
              <a:off x="1711533" y="468366"/>
              <a:ext cx="154713" cy="926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44" h="20017" extrusionOk="0">
                  <a:moveTo>
                    <a:pt x="20444" y="20017"/>
                  </a:moveTo>
                  <a:cubicBezTo>
                    <a:pt x="20444" y="20017"/>
                    <a:pt x="15794" y="19815"/>
                    <a:pt x="13346" y="18907"/>
                  </a:cubicBezTo>
                  <a:cubicBezTo>
                    <a:pt x="11082" y="17796"/>
                    <a:pt x="4535" y="9217"/>
                    <a:pt x="4535" y="9217"/>
                  </a:cubicBezTo>
                  <a:cubicBezTo>
                    <a:pt x="374" y="8107"/>
                    <a:pt x="-1156" y="2353"/>
                    <a:pt x="924" y="436"/>
                  </a:cubicBezTo>
                  <a:cubicBezTo>
                    <a:pt x="3005" y="-1583"/>
                    <a:pt x="5758" y="4069"/>
                    <a:pt x="5758" y="4069"/>
                  </a:cubicBezTo>
                  <a:cubicBezTo>
                    <a:pt x="8328" y="6088"/>
                    <a:pt x="15794" y="11841"/>
                    <a:pt x="15794" y="11841"/>
                  </a:cubicBezTo>
                  <a:lnTo>
                    <a:pt x="18731" y="10327"/>
                  </a:lnTo>
                  <a:lnTo>
                    <a:pt x="20444" y="20017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2" name="Shape 1483"/>
            <p:cNvSpPr/>
            <p:nvPr/>
          </p:nvSpPr>
          <p:spPr>
            <a:xfrm>
              <a:off x="1847496" y="505717"/>
              <a:ext cx="92559" cy="600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004" h="16752" extrusionOk="0">
                  <a:moveTo>
                    <a:pt x="19930" y="6532"/>
                  </a:moveTo>
                  <a:cubicBezTo>
                    <a:pt x="21324" y="17138"/>
                    <a:pt x="2511" y="16750"/>
                    <a:pt x="2511" y="16750"/>
                  </a:cubicBezTo>
                  <a:cubicBezTo>
                    <a:pt x="2511" y="16750"/>
                    <a:pt x="819" y="12999"/>
                    <a:pt x="222" y="8343"/>
                  </a:cubicBezTo>
                  <a:cubicBezTo>
                    <a:pt x="-276" y="3945"/>
                    <a:pt x="222" y="1746"/>
                    <a:pt x="222" y="1746"/>
                  </a:cubicBezTo>
                  <a:cubicBezTo>
                    <a:pt x="222" y="1746"/>
                    <a:pt x="18537" y="-4462"/>
                    <a:pt x="19930" y="6532"/>
                  </a:cubicBezTo>
                </a:path>
              </a:pathLst>
            </a:custGeom>
            <a:solidFill>
              <a:srgbClr val="475F5A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sp>
        <p:nvSpPr>
          <p:cNvPr id="393" name="Shape 1488"/>
          <p:cNvSpPr/>
          <p:nvPr/>
        </p:nvSpPr>
        <p:spPr>
          <a:xfrm>
            <a:off x="5440796" y="2297783"/>
            <a:ext cx="2494766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400">
                <a:solidFill>
                  <a:srgbClr val="726658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1. Executive </a:t>
            </a:r>
            <a:r>
              <a:rPr lang="en-US" altLang="de-DE" dirty="0"/>
              <a:t>Summary</a:t>
            </a:r>
          </a:p>
        </p:txBody>
      </p:sp>
      <p:sp>
        <p:nvSpPr>
          <p:cNvPr id="395" name="Shape 1392"/>
          <p:cNvSpPr/>
          <p:nvPr/>
        </p:nvSpPr>
        <p:spPr>
          <a:xfrm>
            <a:off x="5877113" y="1779946"/>
            <a:ext cx="348337" cy="3497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19101"/>
                </a:lnTo>
                <a:cubicBezTo>
                  <a:pt x="21600" y="20532"/>
                  <a:pt x="20507" y="21600"/>
                  <a:pt x="19090" y="21600"/>
                </a:cubicBezTo>
                <a:lnTo>
                  <a:pt x="2510" y="21600"/>
                </a:lnTo>
                <a:cubicBezTo>
                  <a:pt x="1093" y="21600"/>
                  <a:pt x="0" y="20472"/>
                  <a:pt x="0" y="19101"/>
                </a:cubicBezTo>
                <a:lnTo>
                  <a:pt x="0" y="6146"/>
                </a:lnTo>
                <a:lnTo>
                  <a:pt x="3320" y="6146"/>
                </a:lnTo>
                <a:lnTo>
                  <a:pt x="3320" y="0"/>
                </a:lnTo>
                <a:lnTo>
                  <a:pt x="21600" y="0"/>
                </a:lnTo>
                <a:close/>
                <a:moveTo>
                  <a:pt x="4919" y="1592"/>
                </a:moveTo>
                <a:lnTo>
                  <a:pt x="4919" y="17691"/>
                </a:lnTo>
                <a:cubicBezTo>
                  <a:pt x="4919" y="18134"/>
                  <a:pt x="4555" y="18477"/>
                  <a:pt x="4109" y="18477"/>
                </a:cubicBezTo>
                <a:cubicBezTo>
                  <a:pt x="3644" y="18477"/>
                  <a:pt x="3320" y="18134"/>
                  <a:pt x="3320" y="17691"/>
                </a:cubicBezTo>
                <a:lnTo>
                  <a:pt x="3320" y="7737"/>
                </a:lnTo>
                <a:lnTo>
                  <a:pt x="1539" y="7737"/>
                </a:lnTo>
                <a:lnTo>
                  <a:pt x="1539" y="19101"/>
                </a:lnTo>
                <a:cubicBezTo>
                  <a:pt x="1539" y="19625"/>
                  <a:pt x="2004" y="20008"/>
                  <a:pt x="2510" y="20008"/>
                </a:cubicBezTo>
                <a:lnTo>
                  <a:pt x="19151" y="20008"/>
                </a:lnTo>
                <a:cubicBezTo>
                  <a:pt x="19657" y="20008"/>
                  <a:pt x="20061" y="19625"/>
                  <a:pt x="20061" y="19101"/>
                </a:cubicBezTo>
                <a:lnTo>
                  <a:pt x="20061" y="1592"/>
                </a:lnTo>
                <a:lnTo>
                  <a:pt x="4919" y="1592"/>
                </a:lnTo>
                <a:close/>
                <a:moveTo>
                  <a:pt x="18462" y="3123"/>
                </a:moveTo>
                <a:lnTo>
                  <a:pt x="6518" y="3123"/>
                </a:lnTo>
                <a:lnTo>
                  <a:pt x="6518" y="9269"/>
                </a:lnTo>
                <a:lnTo>
                  <a:pt x="18462" y="9269"/>
                </a:lnTo>
                <a:lnTo>
                  <a:pt x="18462" y="3123"/>
                </a:lnTo>
                <a:close/>
                <a:moveTo>
                  <a:pt x="11539" y="10981"/>
                </a:moveTo>
                <a:lnTo>
                  <a:pt x="6518" y="10981"/>
                </a:lnTo>
                <a:lnTo>
                  <a:pt x="6518" y="12513"/>
                </a:lnTo>
                <a:lnTo>
                  <a:pt x="11539" y="12513"/>
                </a:lnTo>
                <a:lnTo>
                  <a:pt x="11539" y="10981"/>
                </a:lnTo>
                <a:close/>
                <a:moveTo>
                  <a:pt x="13482" y="12513"/>
                </a:moveTo>
                <a:lnTo>
                  <a:pt x="18462" y="12513"/>
                </a:lnTo>
                <a:lnTo>
                  <a:pt x="18462" y="10981"/>
                </a:lnTo>
                <a:lnTo>
                  <a:pt x="13482" y="10981"/>
                </a:lnTo>
                <a:lnTo>
                  <a:pt x="13482" y="12513"/>
                </a:lnTo>
                <a:close/>
                <a:moveTo>
                  <a:pt x="11539" y="13923"/>
                </a:moveTo>
                <a:lnTo>
                  <a:pt x="6518" y="13923"/>
                </a:lnTo>
                <a:lnTo>
                  <a:pt x="6518" y="15475"/>
                </a:lnTo>
                <a:lnTo>
                  <a:pt x="11539" y="15475"/>
                </a:lnTo>
                <a:lnTo>
                  <a:pt x="11539" y="13923"/>
                </a:lnTo>
                <a:close/>
                <a:moveTo>
                  <a:pt x="13482" y="15475"/>
                </a:moveTo>
                <a:lnTo>
                  <a:pt x="18462" y="15475"/>
                </a:lnTo>
                <a:lnTo>
                  <a:pt x="18462" y="13923"/>
                </a:lnTo>
                <a:lnTo>
                  <a:pt x="13482" y="13923"/>
                </a:lnTo>
                <a:lnTo>
                  <a:pt x="13482" y="15475"/>
                </a:lnTo>
                <a:close/>
                <a:moveTo>
                  <a:pt x="13482" y="18537"/>
                </a:moveTo>
                <a:lnTo>
                  <a:pt x="18462" y="18537"/>
                </a:lnTo>
                <a:lnTo>
                  <a:pt x="18462" y="17006"/>
                </a:lnTo>
                <a:lnTo>
                  <a:pt x="13482" y="17006"/>
                </a:lnTo>
                <a:lnTo>
                  <a:pt x="13482" y="18537"/>
                </a:lnTo>
                <a:close/>
                <a:moveTo>
                  <a:pt x="11539" y="17006"/>
                </a:moveTo>
                <a:lnTo>
                  <a:pt x="6518" y="17006"/>
                </a:lnTo>
                <a:lnTo>
                  <a:pt x="6518" y="18537"/>
                </a:lnTo>
                <a:lnTo>
                  <a:pt x="11539" y="18537"/>
                </a:lnTo>
                <a:lnTo>
                  <a:pt x="11539" y="17006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96" name="Shape 2963"/>
          <p:cNvSpPr/>
          <p:nvPr/>
        </p:nvSpPr>
        <p:spPr>
          <a:xfrm>
            <a:off x="6298067" y="3151061"/>
            <a:ext cx="326048" cy="4102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881" y="14735"/>
                </a:moveTo>
                <a:cubicBezTo>
                  <a:pt x="13821" y="14394"/>
                  <a:pt x="13370" y="14214"/>
                  <a:pt x="13370" y="13819"/>
                </a:cubicBezTo>
                <a:cubicBezTo>
                  <a:pt x="13370" y="13478"/>
                  <a:pt x="13709" y="13190"/>
                  <a:pt x="14543" y="13190"/>
                </a:cubicBezTo>
                <a:cubicBezTo>
                  <a:pt x="15309" y="13190"/>
                  <a:pt x="15918" y="13370"/>
                  <a:pt x="16211" y="13478"/>
                </a:cubicBezTo>
                <a:lnTo>
                  <a:pt x="16617" y="12309"/>
                </a:lnTo>
                <a:cubicBezTo>
                  <a:pt x="16234" y="12184"/>
                  <a:pt x="15783" y="12076"/>
                  <a:pt x="15152" y="12040"/>
                </a:cubicBezTo>
                <a:lnTo>
                  <a:pt x="15152" y="11088"/>
                </a:lnTo>
                <a:lnTo>
                  <a:pt x="13077" y="11088"/>
                </a:lnTo>
                <a:lnTo>
                  <a:pt x="13077" y="12184"/>
                </a:lnTo>
                <a:cubicBezTo>
                  <a:pt x="12018" y="12471"/>
                  <a:pt x="11409" y="13136"/>
                  <a:pt x="11409" y="13963"/>
                </a:cubicBezTo>
                <a:cubicBezTo>
                  <a:pt x="11409" y="14879"/>
                  <a:pt x="12288" y="15490"/>
                  <a:pt x="13663" y="15886"/>
                </a:cubicBezTo>
                <a:cubicBezTo>
                  <a:pt x="14633" y="16155"/>
                  <a:pt x="15016" y="16389"/>
                  <a:pt x="15016" y="16784"/>
                </a:cubicBezTo>
                <a:cubicBezTo>
                  <a:pt x="15016" y="17215"/>
                  <a:pt x="14565" y="17485"/>
                  <a:pt x="13754" y="17485"/>
                </a:cubicBezTo>
                <a:cubicBezTo>
                  <a:pt x="12965" y="17485"/>
                  <a:pt x="12198" y="17269"/>
                  <a:pt x="11702" y="17090"/>
                </a:cubicBezTo>
                <a:lnTo>
                  <a:pt x="11364" y="18294"/>
                </a:lnTo>
                <a:cubicBezTo>
                  <a:pt x="11702" y="18473"/>
                  <a:pt x="12401" y="18599"/>
                  <a:pt x="13100" y="18671"/>
                </a:cubicBezTo>
                <a:lnTo>
                  <a:pt x="13100" y="19587"/>
                </a:lnTo>
                <a:lnTo>
                  <a:pt x="15174" y="19587"/>
                </a:lnTo>
                <a:lnTo>
                  <a:pt x="15174" y="18509"/>
                </a:lnTo>
                <a:cubicBezTo>
                  <a:pt x="16347" y="18168"/>
                  <a:pt x="16910" y="17503"/>
                  <a:pt x="16910" y="16676"/>
                </a:cubicBezTo>
                <a:cubicBezTo>
                  <a:pt x="16978" y="15706"/>
                  <a:pt x="16301" y="15149"/>
                  <a:pt x="14881" y="14735"/>
                </a:cubicBezTo>
                <a:close/>
                <a:moveTo>
                  <a:pt x="18646" y="5984"/>
                </a:moveTo>
                <a:lnTo>
                  <a:pt x="18646" y="7188"/>
                </a:lnTo>
                <a:lnTo>
                  <a:pt x="9605" y="7188"/>
                </a:lnTo>
                <a:lnTo>
                  <a:pt x="9605" y="5984"/>
                </a:lnTo>
                <a:lnTo>
                  <a:pt x="18646" y="5984"/>
                </a:lnTo>
                <a:close/>
                <a:moveTo>
                  <a:pt x="18646" y="3576"/>
                </a:moveTo>
                <a:lnTo>
                  <a:pt x="18646" y="4798"/>
                </a:lnTo>
                <a:lnTo>
                  <a:pt x="9605" y="4798"/>
                </a:lnTo>
                <a:lnTo>
                  <a:pt x="9605" y="3576"/>
                </a:lnTo>
                <a:lnTo>
                  <a:pt x="18646" y="3576"/>
                </a:lnTo>
                <a:close/>
                <a:moveTo>
                  <a:pt x="21600" y="3235"/>
                </a:moveTo>
                <a:cubicBezTo>
                  <a:pt x="21555" y="1509"/>
                  <a:pt x="19841" y="144"/>
                  <a:pt x="17767" y="36"/>
                </a:cubicBezTo>
                <a:cubicBezTo>
                  <a:pt x="17699" y="36"/>
                  <a:pt x="17587" y="18"/>
                  <a:pt x="17519" y="18"/>
                </a:cubicBezTo>
                <a:cubicBezTo>
                  <a:pt x="17519" y="18"/>
                  <a:pt x="4149" y="0"/>
                  <a:pt x="4104" y="0"/>
                </a:cubicBezTo>
                <a:cubicBezTo>
                  <a:pt x="3224" y="0"/>
                  <a:pt x="2435" y="180"/>
                  <a:pt x="1781" y="557"/>
                </a:cubicBezTo>
                <a:cubicBezTo>
                  <a:pt x="1240" y="863"/>
                  <a:pt x="767" y="1276"/>
                  <a:pt x="451" y="1761"/>
                </a:cubicBezTo>
                <a:cubicBezTo>
                  <a:pt x="158" y="2192"/>
                  <a:pt x="0" y="2713"/>
                  <a:pt x="0" y="3253"/>
                </a:cubicBezTo>
                <a:lnTo>
                  <a:pt x="0" y="3342"/>
                </a:lnTo>
                <a:cubicBezTo>
                  <a:pt x="0" y="5139"/>
                  <a:pt x="1804" y="6613"/>
                  <a:pt x="4104" y="6613"/>
                </a:cubicBezTo>
                <a:cubicBezTo>
                  <a:pt x="5073" y="6613"/>
                  <a:pt x="5975" y="6325"/>
                  <a:pt x="6674" y="5858"/>
                </a:cubicBezTo>
                <a:lnTo>
                  <a:pt x="6674" y="21600"/>
                </a:lnTo>
                <a:lnTo>
                  <a:pt x="21600" y="21600"/>
                </a:lnTo>
                <a:lnTo>
                  <a:pt x="21600" y="3235"/>
                </a:lnTo>
                <a:close/>
                <a:moveTo>
                  <a:pt x="20112" y="3576"/>
                </a:moveTo>
                <a:lnTo>
                  <a:pt x="20112" y="20378"/>
                </a:lnTo>
                <a:lnTo>
                  <a:pt x="8162" y="20378"/>
                </a:lnTo>
                <a:cubicBezTo>
                  <a:pt x="8162" y="20378"/>
                  <a:pt x="8185" y="3342"/>
                  <a:pt x="8185" y="3253"/>
                </a:cubicBezTo>
                <a:cubicBezTo>
                  <a:pt x="8185" y="2498"/>
                  <a:pt x="7824" y="1761"/>
                  <a:pt x="7238" y="1204"/>
                </a:cubicBezTo>
                <a:lnTo>
                  <a:pt x="17564" y="1204"/>
                </a:lnTo>
                <a:cubicBezTo>
                  <a:pt x="19007" y="1420"/>
                  <a:pt x="20089" y="2408"/>
                  <a:pt x="20112" y="3576"/>
                </a:cubicBezTo>
                <a:close/>
                <a:moveTo>
                  <a:pt x="18646" y="8374"/>
                </a:moveTo>
                <a:lnTo>
                  <a:pt x="18646" y="9596"/>
                </a:lnTo>
                <a:lnTo>
                  <a:pt x="9605" y="9596"/>
                </a:lnTo>
                <a:lnTo>
                  <a:pt x="9605" y="8374"/>
                </a:lnTo>
                <a:lnTo>
                  <a:pt x="18646" y="8374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13" name="Shape 1393"/>
          <p:cNvSpPr/>
          <p:nvPr/>
        </p:nvSpPr>
        <p:spPr>
          <a:xfrm>
            <a:off x="2188637" y="462870"/>
            <a:ext cx="4482800" cy="38779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endParaRPr lang="en-US" altLang="de-DE" sz="2800" b="1" dirty="0">
              <a:solidFill>
                <a:srgbClr val="B52227"/>
              </a:solidFill>
              <a:latin typeface="Calibri" pitchFamily="34" charset="0"/>
              <a:ea typeface="+mj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08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Business Plan Development </a:t>
            </a:r>
          </a:p>
        </p:txBody>
      </p:sp>
    </p:spTree>
    <p:extLst>
      <p:ext uri="{BB962C8B-B14F-4D97-AF65-F5344CB8AC3E}">
        <p14:creationId xmlns:p14="http://schemas.microsoft.com/office/powerpoint/2010/main" val="3337120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" name="Shape 1369"/>
          <p:cNvSpPr/>
          <p:nvPr/>
        </p:nvSpPr>
        <p:spPr>
          <a:xfrm flipH="1">
            <a:off x="5041681" y="2129272"/>
            <a:ext cx="684360" cy="681478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85" name="Shape 1370"/>
          <p:cNvSpPr/>
          <p:nvPr/>
        </p:nvSpPr>
        <p:spPr>
          <a:xfrm>
            <a:off x="5690023" y="2094694"/>
            <a:ext cx="70269" cy="702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750"/>
                </a:moveTo>
                <a:cubicBezTo>
                  <a:pt x="21600" y="12759"/>
                  <a:pt x="21196" y="14467"/>
                  <a:pt x="20187" y="16175"/>
                </a:cubicBezTo>
                <a:cubicBezTo>
                  <a:pt x="19178" y="17883"/>
                  <a:pt x="18067" y="19088"/>
                  <a:pt x="16250" y="20093"/>
                </a:cubicBezTo>
                <a:cubicBezTo>
                  <a:pt x="14535" y="21098"/>
                  <a:pt x="12819" y="21600"/>
                  <a:pt x="10800" y="21600"/>
                </a:cubicBezTo>
                <a:cubicBezTo>
                  <a:pt x="8781" y="21600"/>
                  <a:pt x="7065" y="21098"/>
                  <a:pt x="5350" y="20093"/>
                </a:cubicBezTo>
                <a:cubicBezTo>
                  <a:pt x="3634" y="19088"/>
                  <a:pt x="2422" y="17883"/>
                  <a:pt x="1413" y="16175"/>
                </a:cubicBezTo>
                <a:cubicBezTo>
                  <a:pt x="404" y="14467"/>
                  <a:pt x="0" y="12659"/>
                  <a:pt x="0" y="10750"/>
                </a:cubicBezTo>
                <a:cubicBezTo>
                  <a:pt x="0" y="8740"/>
                  <a:pt x="404" y="7133"/>
                  <a:pt x="1413" y="5425"/>
                </a:cubicBezTo>
                <a:cubicBezTo>
                  <a:pt x="2422" y="3717"/>
                  <a:pt x="3634" y="2311"/>
                  <a:pt x="5350" y="1407"/>
                </a:cubicBezTo>
                <a:cubicBezTo>
                  <a:pt x="7065" y="402"/>
                  <a:pt x="8781" y="0"/>
                  <a:pt x="10800" y="0"/>
                </a:cubicBezTo>
                <a:cubicBezTo>
                  <a:pt x="12819" y="0"/>
                  <a:pt x="14535" y="402"/>
                  <a:pt x="16250" y="1407"/>
                </a:cubicBezTo>
                <a:cubicBezTo>
                  <a:pt x="18067" y="2311"/>
                  <a:pt x="19178" y="3717"/>
                  <a:pt x="20187" y="5425"/>
                </a:cubicBezTo>
                <a:cubicBezTo>
                  <a:pt x="21196" y="7133"/>
                  <a:pt x="21600" y="8841"/>
                  <a:pt x="21600" y="10750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86" name="Shape 1372"/>
          <p:cNvSpPr/>
          <p:nvPr/>
        </p:nvSpPr>
        <p:spPr>
          <a:xfrm>
            <a:off x="5953281" y="3638664"/>
            <a:ext cx="2265414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2. Business </a:t>
            </a:r>
            <a:r>
              <a:rPr lang="en-US" altLang="de-DE" dirty="0"/>
              <a:t>Concept</a:t>
            </a:r>
          </a:p>
        </p:txBody>
      </p:sp>
      <p:sp>
        <p:nvSpPr>
          <p:cNvPr id="287" name="Shape 1373"/>
          <p:cNvSpPr/>
          <p:nvPr/>
        </p:nvSpPr>
        <p:spPr>
          <a:xfrm flipH="1">
            <a:off x="5221777" y="3244418"/>
            <a:ext cx="965307" cy="1441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88" name="Shape 1374"/>
          <p:cNvSpPr/>
          <p:nvPr/>
        </p:nvSpPr>
        <p:spPr>
          <a:xfrm>
            <a:off x="6151064" y="3209839"/>
            <a:ext cx="70269" cy="702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51"/>
                </a:moveTo>
                <a:cubicBezTo>
                  <a:pt x="21600" y="12879"/>
                  <a:pt x="21196" y="14501"/>
                  <a:pt x="20187" y="16225"/>
                </a:cubicBezTo>
                <a:cubicBezTo>
                  <a:pt x="19178" y="17949"/>
                  <a:pt x="17966" y="19166"/>
                  <a:pt x="16250" y="20180"/>
                </a:cubicBezTo>
                <a:cubicBezTo>
                  <a:pt x="14535" y="21194"/>
                  <a:pt x="12819" y="21600"/>
                  <a:pt x="10800" y="21600"/>
                </a:cubicBezTo>
                <a:cubicBezTo>
                  <a:pt x="8781" y="21600"/>
                  <a:pt x="7065" y="21194"/>
                  <a:pt x="5350" y="20180"/>
                </a:cubicBezTo>
                <a:cubicBezTo>
                  <a:pt x="3634" y="19166"/>
                  <a:pt x="2422" y="17949"/>
                  <a:pt x="1413" y="16225"/>
                </a:cubicBezTo>
                <a:cubicBezTo>
                  <a:pt x="404" y="14501"/>
                  <a:pt x="0" y="12879"/>
                  <a:pt x="0" y="10851"/>
                </a:cubicBezTo>
                <a:cubicBezTo>
                  <a:pt x="0" y="8823"/>
                  <a:pt x="404" y="7200"/>
                  <a:pt x="1413" y="5476"/>
                </a:cubicBezTo>
                <a:cubicBezTo>
                  <a:pt x="2422" y="3651"/>
                  <a:pt x="3634" y="2434"/>
                  <a:pt x="5350" y="1420"/>
                </a:cubicBezTo>
                <a:cubicBezTo>
                  <a:pt x="7065" y="406"/>
                  <a:pt x="8781" y="0"/>
                  <a:pt x="10800" y="0"/>
                </a:cubicBezTo>
                <a:cubicBezTo>
                  <a:pt x="12819" y="0"/>
                  <a:pt x="14535" y="406"/>
                  <a:pt x="16250" y="1420"/>
                </a:cubicBezTo>
                <a:cubicBezTo>
                  <a:pt x="17966" y="2434"/>
                  <a:pt x="19178" y="3651"/>
                  <a:pt x="20187" y="5476"/>
                </a:cubicBezTo>
                <a:cubicBezTo>
                  <a:pt x="21196" y="7200"/>
                  <a:pt x="21600" y="8823"/>
                  <a:pt x="21600" y="10851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89" name="Shape 1376"/>
          <p:cNvSpPr/>
          <p:nvPr/>
        </p:nvSpPr>
        <p:spPr>
          <a:xfrm>
            <a:off x="5448015" y="4718442"/>
            <a:ext cx="2116413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3. Market </a:t>
            </a:r>
            <a:r>
              <a:rPr lang="en-US" altLang="de-DE" dirty="0"/>
              <a:t>Analysis</a:t>
            </a:r>
          </a:p>
        </p:txBody>
      </p:sp>
      <p:sp>
        <p:nvSpPr>
          <p:cNvPr id="290" name="Shape 1377"/>
          <p:cNvSpPr/>
          <p:nvPr/>
        </p:nvSpPr>
        <p:spPr>
          <a:xfrm flipH="1" flipV="1">
            <a:off x="5041681" y="3676644"/>
            <a:ext cx="684360" cy="684360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91" name="Shape 1378"/>
          <p:cNvSpPr/>
          <p:nvPr/>
        </p:nvSpPr>
        <p:spPr>
          <a:xfrm>
            <a:off x="5690023" y="4323544"/>
            <a:ext cx="70269" cy="7027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819"/>
                  <a:pt x="21196" y="14535"/>
                  <a:pt x="20187" y="16250"/>
                </a:cubicBezTo>
                <a:cubicBezTo>
                  <a:pt x="19178" y="17966"/>
                  <a:pt x="18067" y="19178"/>
                  <a:pt x="16250" y="20187"/>
                </a:cubicBezTo>
                <a:cubicBezTo>
                  <a:pt x="14535" y="21196"/>
                  <a:pt x="12819" y="21600"/>
                  <a:pt x="10800" y="21600"/>
                </a:cubicBezTo>
                <a:cubicBezTo>
                  <a:pt x="8781" y="21600"/>
                  <a:pt x="7065" y="21196"/>
                  <a:pt x="5350" y="20187"/>
                </a:cubicBezTo>
                <a:cubicBezTo>
                  <a:pt x="3634" y="19178"/>
                  <a:pt x="2422" y="17966"/>
                  <a:pt x="1413" y="16250"/>
                </a:cubicBezTo>
                <a:cubicBezTo>
                  <a:pt x="404" y="14535"/>
                  <a:pt x="0" y="12819"/>
                  <a:pt x="0" y="10800"/>
                </a:cubicBezTo>
                <a:cubicBezTo>
                  <a:pt x="0" y="8781"/>
                  <a:pt x="404" y="7166"/>
                  <a:pt x="1413" y="5350"/>
                </a:cubicBezTo>
                <a:cubicBezTo>
                  <a:pt x="2422" y="3634"/>
                  <a:pt x="3634" y="2422"/>
                  <a:pt x="5350" y="1413"/>
                </a:cubicBezTo>
                <a:cubicBezTo>
                  <a:pt x="7065" y="404"/>
                  <a:pt x="8781" y="0"/>
                  <a:pt x="10800" y="0"/>
                </a:cubicBezTo>
                <a:cubicBezTo>
                  <a:pt x="12819" y="0"/>
                  <a:pt x="14535" y="404"/>
                  <a:pt x="16250" y="1413"/>
                </a:cubicBezTo>
                <a:cubicBezTo>
                  <a:pt x="18067" y="2422"/>
                  <a:pt x="19178" y="3634"/>
                  <a:pt x="20187" y="5350"/>
                </a:cubicBezTo>
                <a:cubicBezTo>
                  <a:pt x="21196" y="7166"/>
                  <a:pt x="21600" y="8781"/>
                  <a:pt x="21600" y="10800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04" name="Shape 1396"/>
          <p:cNvSpPr/>
          <p:nvPr/>
        </p:nvSpPr>
        <p:spPr>
          <a:xfrm>
            <a:off x="3557703" y="2191225"/>
            <a:ext cx="2106060" cy="21060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2"/>
                </a:moveTo>
                <a:cubicBezTo>
                  <a:pt x="21600" y="12786"/>
                  <a:pt x="21148" y="14482"/>
                  <a:pt x="20152" y="16201"/>
                </a:cubicBezTo>
                <a:cubicBezTo>
                  <a:pt x="19157" y="17923"/>
                  <a:pt x="17920" y="19160"/>
                  <a:pt x="16197" y="20152"/>
                </a:cubicBezTo>
                <a:cubicBezTo>
                  <a:pt x="14478" y="21148"/>
                  <a:pt x="12786" y="21600"/>
                  <a:pt x="10802" y="21600"/>
                </a:cubicBezTo>
                <a:cubicBezTo>
                  <a:pt x="8814" y="21600"/>
                  <a:pt x="7118" y="21148"/>
                  <a:pt x="5399" y="20152"/>
                </a:cubicBezTo>
                <a:cubicBezTo>
                  <a:pt x="3677" y="19160"/>
                  <a:pt x="2440" y="17923"/>
                  <a:pt x="1448" y="16201"/>
                </a:cubicBezTo>
                <a:cubicBezTo>
                  <a:pt x="452" y="14482"/>
                  <a:pt x="0" y="12786"/>
                  <a:pt x="0" y="10802"/>
                </a:cubicBezTo>
                <a:cubicBezTo>
                  <a:pt x="0" y="8814"/>
                  <a:pt x="452" y="7125"/>
                  <a:pt x="1448" y="5403"/>
                </a:cubicBezTo>
                <a:cubicBezTo>
                  <a:pt x="2440" y="3680"/>
                  <a:pt x="3677" y="2440"/>
                  <a:pt x="5399" y="1448"/>
                </a:cubicBezTo>
                <a:cubicBezTo>
                  <a:pt x="7118" y="452"/>
                  <a:pt x="8814" y="0"/>
                  <a:pt x="10802" y="0"/>
                </a:cubicBezTo>
                <a:cubicBezTo>
                  <a:pt x="12786" y="0"/>
                  <a:pt x="14478" y="452"/>
                  <a:pt x="16197" y="1448"/>
                </a:cubicBezTo>
                <a:cubicBezTo>
                  <a:pt x="17920" y="2440"/>
                  <a:pt x="19157" y="3680"/>
                  <a:pt x="20152" y="5403"/>
                </a:cubicBezTo>
                <a:cubicBezTo>
                  <a:pt x="21148" y="7125"/>
                  <a:pt x="21600" y="8814"/>
                  <a:pt x="21600" y="10802"/>
                </a:cubicBezTo>
              </a:path>
            </a:pathLst>
          </a:custGeom>
          <a:solidFill>
            <a:schemeClr val="tx2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pSp>
        <p:nvGrpSpPr>
          <p:cNvPr id="305" name="Group 1484"/>
          <p:cNvGrpSpPr/>
          <p:nvPr/>
        </p:nvGrpSpPr>
        <p:grpSpPr>
          <a:xfrm>
            <a:off x="3832889" y="2668116"/>
            <a:ext cx="1569599" cy="1196741"/>
            <a:chOff x="0" y="0"/>
            <a:chExt cx="2232318" cy="1702030"/>
          </a:xfrm>
        </p:grpSpPr>
        <p:sp>
          <p:nvSpPr>
            <p:cNvPr id="306" name="Shape 1397"/>
            <p:cNvSpPr/>
            <p:nvPr/>
          </p:nvSpPr>
          <p:spPr>
            <a:xfrm>
              <a:off x="1096685" y="1529186"/>
              <a:ext cx="299890" cy="1728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63" h="19639" extrusionOk="0">
                  <a:moveTo>
                    <a:pt x="2906" y="16748"/>
                  </a:moveTo>
                  <a:cubicBezTo>
                    <a:pt x="-969" y="12892"/>
                    <a:pt x="-969" y="6608"/>
                    <a:pt x="2906" y="2911"/>
                  </a:cubicBezTo>
                  <a:cubicBezTo>
                    <a:pt x="6689" y="-997"/>
                    <a:pt x="12912" y="-944"/>
                    <a:pt x="16756" y="2911"/>
                  </a:cubicBezTo>
                  <a:cubicBezTo>
                    <a:pt x="20631" y="6819"/>
                    <a:pt x="20631" y="12892"/>
                    <a:pt x="16756" y="16748"/>
                  </a:cubicBezTo>
                  <a:cubicBezTo>
                    <a:pt x="13004" y="20603"/>
                    <a:pt x="6780" y="20603"/>
                    <a:pt x="2906" y="16748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7" name="Shape 1398"/>
            <p:cNvSpPr/>
            <p:nvPr/>
          </p:nvSpPr>
          <p:spPr>
            <a:xfrm>
              <a:off x="0" y="866759"/>
              <a:ext cx="1251521" cy="7269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00" y="19462"/>
                  </a:moveTo>
                  <a:cubicBezTo>
                    <a:pt x="18434" y="20510"/>
                    <a:pt x="16983" y="20828"/>
                    <a:pt x="16262" y="20124"/>
                  </a:cubicBezTo>
                  <a:cubicBezTo>
                    <a:pt x="15853" y="19697"/>
                    <a:pt x="15765" y="19076"/>
                    <a:pt x="15990" y="18372"/>
                  </a:cubicBezTo>
                  <a:lnTo>
                    <a:pt x="15316" y="17710"/>
                  </a:lnTo>
                  <a:lnTo>
                    <a:pt x="11421" y="21600"/>
                  </a:lnTo>
                  <a:lnTo>
                    <a:pt x="6901" y="17117"/>
                  </a:lnTo>
                  <a:lnTo>
                    <a:pt x="7558" y="16469"/>
                  </a:lnTo>
                  <a:cubicBezTo>
                    <a:pt x="8255" y="16690"/>
                    <a:pt x="8913" y="16621"/>
                    <a:pt x="9321" y="16193"/>
                  </a:cubicBezTo>
                  <a:cubicBezTo>
                    <a:pt x="10043" y="15490"/>
                    <a:pt x="9730" y="14014"/>
                    <a:pt x="8664" y="12966"/>
                  </a:cubicBezTo>
                  <a:cubicBezTo>
                    <a:pt x="7574" y="11903"/>
                    <a:pt x="6131" y="11600"/>
                    <a:pt x="5426" y="12303"/>
                  </a:cubicBezTo>
                  <a:cubicBezTo>
                    <a:pt x="5025" y="12731"/>
                    <a:pt x="4953" y="13393"/>
                    <a:pt x="5154" y="14055"/>
                  </a:cubicBezTo>
                  <a:lnTo>
                    <a:pt x="4520" y="14676"/>
                  </a:lnTo>
                  <a:lnTo>
                    <a:pt x="0" y="10193"/>
                  </a:lnTo>
                  <a:lnTo>
                    <a:pt x="3887" y="6303"/>
                  </a:lnTo>
                  <a:lnTo>
                    <a:pt x="3214" y="5641"/>
                  </a:lnTo>
                  <a:cubicBezTo>
                    <a:pt x="2509" y="5876"/>
                    <a:pt x="1851" y="5793"/>
                    <a:pt x="1451" y="5366"/>
                  </a:cubicBezTo>
                  <a:cubicBezTo>
                    <a:pt x="721" y="4662"/>
                    <a:pt x="1018" y="3186"/>
                    <a:pt x="2084" y="2138"/>
                  </a:cubicBezTo>
                  <a:cubicBezTo>
                    <a:pt x="3142" y="1090"/>
                    <a:pt x="4593" y="772"/>
                    <a:pt x="5314" y="1476"/>
                  </a:cubicBezTo>
                  <a:cubicBezTo>
                    <a:pt x="5723" y="1903"/>
                    <a:pt x="5811" y="2566"/>
                    <a:pt x="5586" y="3228"/>
                  </a:cubicBezTo>
                  <a:lnTo>
                    <a:pt x="6268" y="3890"/>
                  </a:lnTo>
                  <a:lnTo>
                    <a:pt x="10155" y="0"/>
                  </a:lnTo>
                  <a:lnTo>
                    <a:pt x="14683" y="4469"/>
                  </a:lnTo>
                  <a:lnTo>
                    <a:pt x="14026" y="5131"/>
                  </a:lnTo>
                  <a:cubicBezTo>
                    <a:pt x="13321" y="4897"/>
                    <a:pt x="12663" y="4979"/>
                    <a:pt x="12263" y="5407"/>
                  </a:cubicBezTo>
                  <a:cubicBezTo>
                    <a:pt x="11557" y="6110"/>
                    <a:pt x="11854" y="7586"/>
                    <a:pt x="12912" y="8634"/>
                  </a:cubicBezTo>
                  <a:cubicBezTo>
                    <a:pt x="14002" y="9683"/>
                    <a:pt x="15453" y="10000"/>
                    <a:pt x="16150" y="9297"/>
                  </a:cubicBezTo>
                  <a:cubicBezTo>
                    <a:pt x="16559" y="8869"/>
                    <a:pt x="16623" y="8248"/>
                    <a:pt x="16422" y="7545"/>
                  </a:cubicBezTo>
                  <a:lnTo>
                    <a:pt x="17080" y="6883"/>
                  </a:lnTo>
                  <a:lnTo>
                    <a:pt x="21600" y="11366"/>
                  </a:lnTo>
                  <a:lnTo>
                    <a:pt x="17713" y="15255"/>
                  </a:lnTo>
                  <a:lnTo>
                    <a:pt x="18386" y="15917"/>
                  </a:lnTo>
                  <a:cubicBezTo>
                    <a:pt x="19091" y="15683"/>
                    <a:pt x="19749" y="15766"/>
                    <a:pt x="20157" y="16193"/>
                  </a:cubicBezTo>
                  <a:cubicBezTo>
                    <a:pt x="20879" y="16924"/>
                    <a:pt x="20582" y="18372"/>
                    <a:pt x="19500" y="19462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8" name="Shape 1399"/>
            <p:cNvSpPr/>
            <p:nvPr/>
          </p:nvSpPr>
          <p:spPr>
            <a:xfrm>
              <a:off x="1100353" y="940525"/>
              <a:ext cx="38475" cy="97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086" y="16639"/>
                  </a:lnTo>
                  <a:lnTo>
                    <a:pt x="0" y="21600"/>
                  </a:lnTo>
                  <a:lnTo>
                    <a:pt x="0" y="4961"/>
                  </a:lnTo>
                  <a:lnTo>
                    <a:pt x="21600" y="0"/>
                  </a:lnTo>
                </a:path>
              </a:pathLst>
            </a:custGeom>
            <a:solidFill>
              <a:srgbClr val="4751A3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9" name="Shape 1400"/>
            <p:cNvSpPr/>
            <p:nvPr/>
          </p:nvSpPr>
          <p:spPr>
            <a:xfrm>
              <a:off x="829875" y="930280"/>
              <a:ext cx="280259" cy="1839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6781"/>
                  </a:moveTo>
                  <a:lnTo>
                    <a:pt x="21600" y="15749"/>
                  </a:lnTo>
                  <a:cubicBezTo>
                    <a:pt x="21600" y="16077"/>
                    <a:pt x="21600" y="16241"/>
                    <a:pt x="21492" y="16514"/>
                  </a:cubicBezTo>
                  <a:cubicBezTo>
                    <a:pt x="21492" y="16678"/>
                    <a:pt x="21492" y="16678"/>
                    <a:pt x="21385" y="16843"/>
                  </a:cubicBezTo>
                  <a:lnTo>
                    <a:pt x="21385" y="17007"/>
                  </a:lnTo>
                  <a:cubicBezTo>
                    <a:pt x="21385" y="17007"/>
                    <a:pt x="21385" y="17116"/>
                    <a:pt x="21277" y="17116"/>
                  </a:cubicBezTo>
                  <a:cubicBezTo>
                    <a:pt x="21169" y="17280"/>
                    <a:pt x="21169" y="17608"/>
                    <a:pt x="21062" y="17772"/>
                  </a:cubicBezTo>
                  <a:cubicBezTo>
                    <a:pt x="21062" y="17772"/>
                    <a:pt x="21062" y="17936"/>
                    <a:pt x="20990" y="17936"/>
                  </a:cubicBezTo>
                  <a:cubicBezTo>
                    <a:pt x="20990" y="18046"/>
                    <a:pt x="20990" y="18046"/>
                    <a:pt x="20882" y="18046"/>
                  </a:cubicBezTo>
                  <a:cubicBezTo>
                    <a:pt x="20775" y="18210"/>
                    <a:pt x="20775" y="18210"/>
                    <a:pt x="20775" y="18374"/>
                  </a:cubicBezTo>
                  <a:cubicBezTo>
                    <a:pt x="20667" y="18538"/>
                    <a:pt x="20559" y="18866"/>
                    <a:pt x="20380" y="18975"/>
                  </a:cubicBezTo>
                  <a:cubicBezTo>
                    <a:pt x="20380" y="18975"/>
                    <a:pt x="20272" y="18975"/>
                    <a:pt x="20272" y="19139"/>
                  </a:cubicBezTo>
                  <a:cubicBezTo>
                    <a:pt x="20057" y="19467"/>
                    <a:pt x="19878" y="19631"/>
                    <a:pt x="19662" y="19905"/>
                  </a:cubicBezTo>
                  <a:cubicBezTo>
                    <a:pt x="19662" y="19905"/>
                    <a:pt x="19555" y="19905"/>
                    <a:pt x="19555" y="20069"/>
                  </a:cubicBezTo>
                  <a:cubicBezTo>
                    <a:pt x="19340" y="20233"/>
                    <a:pt x="19160" y="20397"/>
                    <a:pt x="18945" y="20561"/>
                  </a:cubicBezTo>
                  <a:cubicBezTo>
                    <a:pt x="18837" y="20561"/>
                    <a:pt x="18765" y="20670"/>
                    <a:pt x="18765" y="20670"/>
                  </a:cubicBezTo>
                  <a:cubicBezTo>
                    <a:pt x="18658" y="20834"/>
                    <a:pt x="18443" y="20834"/>
                    <a:pt x="18335" y="20998"/>
                  </a:cubicBezTo>
                  <a:cubicBezTo>
                    <a:pt x="18335" y="20998"/>
                    <a:pt x="18335" y="20998"/>
                    <a:pt x="18227" y="20998"/>
                  </a:cubicBezTo>
                  <a:cubicBezTo>
                    <a:pt x="17940" y="21163"/>
                    <a:pt x="17546" y="21327"/>
                    <a:pt x="17223" y="21491"/>
                  </a:cubicBezTo>
                  <a:lnTo>
                    <a:pt x="16828" y="21491"/>
                  </a:lnTo>
                  <a:cubicBezTo>
                    <a:pt x="16613" y="21491"/>
                    <a:pt x="16505" y="21600"/>
                    <a:pt x="16326" y="21600"/>
                  </a:cubicBezTo>
                  <a:lnTo>
                    <a:pt x="12989" y="21600"/>
                  </a:lnTo>
                  <a:cubicBezTo>
                    <a:pt x="12773" y="21600"/>
                    <a:pt x="12558" y="21491"/>
                    <a:pt x="12379" y="21491"/>
                  </a:cubicBezTo>
                  <a:lnTo>
                    <a:pt x="11948" y="21491"/>
                  </a:lnTo>
                  <a:cubicBezTo>
                    <a:pt x="11661" y="21491"/>
                    <a:pt x="11446" y="21327"/>
                    <a:pt x="11159" y="21327"/>
                  </a:cubicBezTo>
                  <a:cubicBezTo>
                    <a:pt x="11051" y="21327"/>
                    <a:pt x="10944" y="21327"/>
                    <a:pt x="10836" y="21163"/>
                  </a:cubicBezTo>
                  <a:lnTo>
                    <a:pt x="10764" y="21163"/>
                  </a:lnTo>
                  <a:cubicBezTo>
                    <a:pt x="10334" y="20998"/>
                    <a:pt x="9831" y="20834"/>
                    <a:pt x="9437" y="20670"/>
                  </a:cubicBezTo>
                  <a:lnTo>
                    <a:pt x="9329" y="20670"/>
                  </a:lnTo>
                  <a:cubicBezTo>
                    <a:pt x="9221" y="20670"/>
                    <a:pt x="9221" y="20561"/>
                    <a:pt x="9221" y="20561"/>
                  </a:cubicBezTo>
                  <a:cubicBezTo>
                    <a:pt x="8611" y="20233"/>
                    <a:pt x="8001" y="19905"/>
                    <a:pt x="7391" y="19631"/>
                  </a:cubicBezTo>
                  <a:lnTo>
                    <a:pt x="7320" y="19631"/>
                  </a:lnTo>
                  <a:cubicBezTo>
                    <a:pt x="7212" y="19631"/>
                    <a:pt x="7212" y="19467"/>
                    <a:pt x="7104" y="19467"/>
                  </a:cubicBezTo>
                  <a:cubicBezTo>
                    <a:pt x="6817" y="19303"/>
                    <a:pt x="6494" y="18975"/>
                    <a:pt x="6207" y="18866"/>
                  </a:cubicBezTo>
                  <a:cubicBezTo>
                    <a:pt x="6100" y="18702"/>
                    <a:pt x="5992" y="18702"/>
                    <a:pt x="5884" y="18538"/>
                  </a:cubicBezTo>
                  <a:cubicBezTo>
                    <a:pt x="5490" y="18210"/>
                    <a:pt x="5095" y="17936"/>
                    <a:pt x="4772" y="17608"/>
                  </a:cubicBezTo>
                  <a:cubicBezTo>
                    <a:pt x="1722" y="14983"/>
                    <a:pt x="0" y="11593"/>
                    <a:pt x="0" y="8804"/>
                  </a:cubicBezTo>
                  <a:lnTo>
                    <a:pt x="0" y="0"/>
                  </a:lnTo>
                  <a:cubicBezTo>
                    <a:pt x="0" y="2789"/>
                    <a:pt x="1650" y="6015"/>
                    <a:pt x="4772" y="8804"/>
                  </a:cubicBezTo>
                  <a:cubicBezTo>
                    <a:pt x="5167" y="9132"/>
                    <a:pt x="5490" y="9406"/>
                    <a:pt x="5884" y="9734"/>
                  </a:cubicBezTo>
                  <a:cubicBezTo>
                    <a:pt x="5992" y="9898"/>
                    <a:pt x="6100" y="9898"/>
                    <a:pt x="6207" y="10062"/>
                  </a:cubicBezTo>
                  <a:cubicBezTo>
                    <a:pt x="6494" y="10335"/>
                    <a:pt x="6817" y="10499"/>
                    <a:pt x="7104" y="10663"/>
                  </a:cubicBezTo>
                  <a:cubicBezTo>
                    <a:pt x="7212" y="10663"/>
                    <a:pt x="7320" y="10827"/>
                    <a:pt x="7391" y="10827"/>
                  </a:cubicBezTo>
                  <a:cubicBezTo>
                    <a:pt x="8001" y="11101"/>
                    <a:pt x="8611" y="11429"/>
                    <a:pt x="9221" y="11757"/>
                  </a:cubicBezTo>
                  <a:cubicBezTo>
                    <a:pt x="9329" y="11757"/>
                    <a:pt x="9329" y="11921"/>
                    <a:pt x="9437" y="11921"/>
                  </a:cubicBezTo>
                  <a:cubicBezTo>
                    <a:pt x="9831" y="12030"/>
                    <a:pt x="10334" y="12194"/>
                    <a:pt x="10764" y="12358"/>
                  </a:cubicBezTo>
                  <a:cubicBezTo>
                    <a:pt x="10836" y="12358"/>
                    <a:pt x="10944" y="12523"/>
                    <a:pt x="11051" y="12523"/>
                  </a:cubicBezTo>
                  <a:cubicBezTo>
                    <a:pt x="11374" y="12687"/>
                    <a:pt x="11553" y="12687"/>
                    <a:pt x="11876" y="12687"/>
                  </a:cubicBezTo>
                  <a:cubicBezTo>
                    <a:pt x="11948" y="12687"/>
                    <a:pt x="12163" y="12687"/>
                    <a:pt x="12271" y="12796"/>
                  </a:cubicBezTo>
                  <a:cubicBezTo>
                    <a:pt x="12486" y="12796"/>
                    <a:pt x="12666" y="12960"/>
                    <a:pt x="12881" y="12960"/>
                  </a:cubicBezTo>
                  <a:cubicBezTo>
                    <a:pt x="13096" y="12960"/>
                    <a:pt x="13168" y="13124"/>
                    <a:pt x="13276" y="13124"/>
                  </a:cubicBezTo>
                  <a:lnTo>
                    <a:pt x="15608" y="13124"/>
                  </a:lnTo>
                  <a:cubicBezTo>
                    <a:pt x="15823" y="13124"/>
                    <a:pt x="15895" y="13124"/>
                    <a:pt x="16003" y="12960"/>
                  </a:cubicBezTo>
                  <a:cubicBezTo>
                    <a:pt x="16074" y="12796"/>
                    <a:pt x="16326" y="12796"/>
                    <a:pt x="16505" y="12796"/>
                  </a:cubicBezTo>
                  <a:cubicBezTo>
                    <a:pt x="16613" y="12796"/>
                    <a:pt x="16828" y="12796"/>
                    <a:pt x="16936" y="12687"/>
                  </a:cubicBezTo>
                  <a:cubicBezTo>
                    <a:pt x="17330" y="12523"/>
                    <a:pt x="17653" y="12358"/>
                    <a:pt x="17940" y="12194"/>
                  </a:cubicBezTo>
                  <a:cubicBezTo>
                    <a:pt x="18155" y="12030"/>
                    <a:pt x="18227" y="12030"/>
                    <a:pt x="18335" y="11921"/>
                  </a:cubicBezTo>
                  <a:cubicBezTo>
                    <a:pt x="18443" y="11921"/>
                    <a:pt x="18443" y="11757"/>
                    <a:pt x="18550" y="11757"/>
                  </a:cubicBezTo>
                  <a:cubicBezTo>
                    <a:pt x="18765" y="11593"/>
                    <a:pt x="18945" y="11429"/>
                    <a:pt x="19160" y="11265"/>
                  </a:cubicBezTo>
                  <a:cubicBezTo>
                    <a:pt x="19447" y="10991"/>
                    <a:pt x="19662" y="10827"/>
                    <a:pt x="19878" y="10499"/>
                  </a:cubicBezTo>
                  <a:cubicBezTo>
                    <a:pt x="19878" y="10499"/>
                    <a:pt x="19950" y="10499"/>
                    <a:pt x="19950" y="10335"/>
                  </a:cubicBezTo>
                  <a:cubicBezTo>
                    <a:pt x="20165" y="10062"/>
                    <a:pt x="20380" y="9734"/>
                    <a:pt x="20488" y="9406"/>
                  </a:cubicBezTo>
                  <a:cubicBezTo>
                    <a:pt x="20488" y="9296"/>
                    <a:pt x="20488" y="9296"/>
                    <a:pt x="20559" y="9296"/>
                  </a:cubicBezTo>
                  <a:cubicBezTo>
                    <a:pt x="20667" y="8968"/>
                    <a:pt x="20775" y="8640"/>
                    <a:pt x="20882" y="8367"/>
                  </a:cubicBezTo>
                  <a:lnTo>
                    <a:pt x="20882" y="8203"/>
                  </a:lnTo>
                  <a:cubicBezTo>
                    <a:pt x="21385" y="7601"/>
                    <a:pt x="21492" y="7273"/>
                    <a:pt x="21600" y="6781"/>
                  </a:cubicBezTo>
                </a:path>
              </a:pathLst>
            </a:custGeom>
            <a:solidFill>
              <a:srgbClr val="474E8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0" name="Shape 1401"/>
            <p:cNvSpPr/>
            <p:nvPr/>
          </p:nvSpPr>
          <p:spPr>
            <a:xfrm>
              <a:off x="131140" y="563495"/>
              <a:ext cx="40506" cy="978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961"/>
                  </a:moveTo>
                  <a:lnTo>
                    <a:pt x="21600" y="21600"/>
                  </a:lnTo>
                  <a:lnTo>
                    <a:pt x="0" y="16329"/>
                  </a:lnTo>
                  <a:lnTo>
                    <a:pt x="0" y="0"/>
                  </a:lnTo>
                  <a:lnTo>
                    <a:pt x="21600" y="4961"/>
                  </a:lnTo>
                </a:path>
              </a:pathLst>
            </a:custGeom>
            <a:solidFill>
              <a:srgbClr val="DE1C3A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1" name="Shape 1402"/>
            <p:cNvSpPr/>
            <p:nvPr/>
          </p:nvSpPr>
          <p:spPr>
            <a:xfrm>
              <a:off x="149582" y="982562"/>
              <a:ext cx="91744" cy="423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525" extrusionOk="0">
                  <a:moveTo>
                    <a:pt x="11403" y="1514"/>
                  </a:moveTo>
                  <a:cubicBezTo>
                    <a:pt x="14254" y="5789"/>
                    <a:pt x="16995" y="5789"/>
                    <a:pt x="19736" y="10964"/>
                  </a:cubicBezTo>
                  <a:cubicBezTo>
                    <a:pt x="20065" y="11639"/>
                    <a:pt x="21600" y="13439"/>
                    <a:pt x="21600" y="14789"/>
                  </a:cubicBezTo>
                  <a:cubicBezTo>
                    <a:pt x="21052" y="18614"/>
                    <a:pt x="17653" y="21089"/>
                    <a:pt x="16118" y="20414"/>
                  </a:cubicBezTo>
                  <a:cubicBezTo>
                    <a:pt x="13596" y="19739"/>
                    <a:pt x="11403" y="18614"/>
                    <a:pt x="8662" y="17939"/>
                  </a:cubicBezTo>
                  <a:cubicBezTo>
                    <a:pt x="6798" y="17264"/>
                    <a:pt x="2741" y="17264"/>
                    <a:pt x="877" y="16139"/>
                  </a:cubicBezTo>
                  <a:cubicBezTo>
                    <a:pt x="0" y="14789"/>
                    <a:pt x="0" y="10289"/>
                    <a:pt x="0" y="7814"/>
                  </a:cubicBezTo>
                  <a:cubicBezTo>
                    <a:pt x="0" y="6464"/>
                    <a:pt x="1206" y="3989"/>
                    <a:pt x="1206" y="3989"/>
                  </a:cubicBezTo>
                  <a:cubicBezTo>
                    <a:pt x="2741" y="5339"/>
                    <a:pt x="3399" y="6464"/>
                    <a:pt x="5592" y="5789"/>
                  </a:cubicBezTo>
                  <a:cubicBezTo>
                    <a:pt x="5811" y="5339"/>
                    <a:pt x="6469" y="5339"/>
                    <a:pt x="7127" y="5339"/>
                  </a:cubicBezTo>
                  <a:cubicBezTo>
                    <a:pt x="8991" y="839"/>
                    <a:pt x="10197" y="-511"/>
                    <a:pt x="10855" y="164"/>
                  </a:cubicBezTo>
                  <a:cubicBezTo>
                    <a:pt x="10855" y="164"/>
                    <a:pt x="11074" y="839"/>
                    <a:pt x="11403" y="1514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2" name="Shape 1403"/>
            <p:cNvSpPr/>
            <p:nvPr/>
          </p:nvSpPr>
          <p:spPr>
            <a:xfrm>
              <a:off x="59423" y="918935"/>
              <a:ext cx="88540" cy="4162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21" h="21118" extrusionOk="0">
                  <a:moveTo>
                    <a:pt x="11520" y="1376"/>
                  </a:moveTo>
                  <a:cubicBezTo>
                    <a:pt x="14400" y="6021"/>
                    <a:pt x="17169" y="6021"/>
                    <a:pt x="19938" y="11363"/>
                  </a:cubicBezTo>
                  <a:cubicBezTo>
                    <a:pt x="20271" y="11828"/>
                    <a:pt x="21600" y="15776"/>
                    <a:pt x="21268" y="17170"/>
                  </a:cubicBezTo>
                  <a:cubicBezTo>
                    <a:pt x="20935" y="21118"/>
                    <a:pt x="17502" y="21118"/>
                    <a:pt x="16283" y="21118"/>
                  </a:cubicBezTo>
                  <a:cubicBezTo>
                    <a:pt x="13735" y="20421"/>
                    <a:pt x="11520" y="19260"/>
                    <a:pt x="8751" y="18563"/>
                  </a:cubicBezTo>
                  <a:cubicBezTo>
                    <a:pt x="6868" y="17866"/>
                    <a:pt x="2769" y="17866"/>
                    <a:pt x="886" y="16473"/>
                  </a:cubicBezTo>
                  <a:cubicBezTo>
                    <a:pt x="0" y="15312"/>
                    <a:pt x="0" y="10666"/>
                    <a:pt x="0" y="8112"/>
                  </a:cubicBezTo>
                  <a:cubicBezTo>
                    <a:pt x="0" y="6718"/>
                    <a:pt x="1218" y="4163"/>
                    <a:pt x="1218" y="4163"/>
                  </a:cubicBezTo>
                  <a:cubicBezTo>
                    <a:pt x="2769" y="5324"/>
                    <a:pt x="3434" y="6718"/>
                    <a:pt x="5649" y="6021"/>
                  </a:cubicBezTo>
                  <a:cubicBezTo>
                    <a:pt x="5871" y="5324"/>
                    <a:pt x="6535" y="5324"/>
                    <a:pt x="7200" y="5324"/>
                  </a:cubicBezTo>
                  <a:cubicBezTo>
                    <a:pt x="9083" y="679"/>
                    <a:pt x="10302" y="-482"/>
                    <a:pt x="10966" y="215"/>
                  </a:cubicBezTo>
                  <a:cubicBezTo>
                    <a:pt x="10966" y="-482"/>
                    <a:pt x="11188" y="679"/>
                    <a:pt x="11520" y="1376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3" name="Shape 1404"/>
            <p:cNvSpPr/>
            <p:nvPr/>
          </p:nvSpPr>
          <p:spPr>
            <a:xfrm>
              <a:off x="178269" y="618820"/>
              <a:ext cx="137525" cy="1039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0" h="20382" extrusionOk="0">
                  <a:moveTo>
                    <a:pt x="0" y="2370"/>
                  </a:moveTo>
                  <a:lnTo>
                    <a:pt x="6285" y="0"/>
                  </a:lnTo>
                  <a:lnTo>
                    <a:pt x="7080" y="4192"/>
                  </a:lnTo>
                  <a:cubicBezTo>
                    <a:pt x="7080" y="4192"/>
                    <a:pt x="14015" y="11119"/>
                    <a:pt x="16688" y="13397"/>
                  </a:cubicBezTo>
                  <a:cubicBezTo>
                    <a:pt x="16688" y="13397"/>
                    <a:pt x="21600" y="14400"/>
                    <a:pt x="21383" y="17772"/>
                  </a:cubicBezTo>
                  <a:cubicBezTo>
                    <a:pt x="21383" y="21144"/>
                    <a:pt x="17338" y="21600"/>
                    <a:pt x="14448" y="17043"/>
                  </a:cubicBezTo>
                  <a:cubicBezTo>
                    <a:pt x="14448" y="17043"/>
                    <a:pt x="6068" y="12668"/>
                    <a:pt x="4262" y="10299"/>
                  </a:cubicBezTo>
                  <a:cubicBezTo>
                    <a:pt x="2601" y="8020"/>
                    <a:pt x="0" y="2370"/>
                    <a:pt x="0" y="237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4" name="Shape 1405"/>
            <p:cNvSpPr/>
            <p:nvPr/>
          </p:nvSpPr>
          <p:spPr>
            <a:xfrm>
              <a:off x="158344" y="555911"/>
              <a:ext cx="68636" cy="849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29" h="19153" extrusionOk="0">
                  <a:moveTo>
                    <a:pt x="3479" y="279"/>
                  </a:moveTo>
                  <a:cubicBezTo>
                    <a:pt x="11804" y="-2447"/>
                    <a:pt x="16529" y="15693"/>
                    <a:pt x="16529" y="15693"/>
                  </a:cubicBezTo>
                  <a:cubicBezTo>
                    <a:pt x="16529" y="15693"/>
                    <a:pt x="15291" y="16846"/>
                    <a:pt x="11804" y="18000"/>
                  </a:cubicBezTo>
                  <a:cubicBezTo>
                    <a:pt x="7979" y="19153"/>
                    <a:pt x="4829" y="19153"/>
                    <a:pt x="4829" y="19153"/>
                  </a:cubicBezTo>
                  <a:cubicBezTo>
                    <a:pt x="4829" y="19153"/>
                    <a:pt x="-5071" y="2901"/>
                    <a:pt x="3479" y="279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5" name="Shape 1406"/>
            <p:cNvSpPr/>
            <p:nvPr/>
          </p:nvSpPr>
          <p:spPr>
            <a:xfrm>
              <a:off x="63521" y="751222"/>
              <a:ext cx="116331" cy="1849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150" extrusionOk="0">
                  <a:moveTo>
                    <a:pt x="9802" y="123"/>
                  </a:moveTo>
                  <a:cubicBezTo>
                    <a:pt x="12058" y="-584"/>
                    <a:pt x="21600" y="1990"/>
                    <a:pt x="21600" y="1990"/>
                  </a:cubicBezTo>
                  <a:cubicBezTo>
                    <a:pt x="21600" y="1990"/>
                    <a:pt x="15701" y="11780"/>
                    <a:pt x="13966" y="13345"/>
                  </a:cubicBezTo>
                  <a:cubicBezTo>
                    <a:pt x="12058" y="14909"/>
                    <a:pt x="7373" y="19603"/>
                    <a:pt x="7373" y="19603"/>
                  </a:cubicBezTo>
                  <a:cubicBezTo>
                    <a:pt x="7373" y="19603"/>
                    <a:pt x="1475" y="21016"/>
                    <a:pt x="0" y="19300"/>
                  </a:cubicBezTo>
                  <a:cubicBezTo>
                    <a:pt x="0" y="19300"/>
                    <a:pt x="1475" y="13496"/>
                    <a:pt x="4945" y="11074"/>
                  </a:cubicBezTo>
                  <a:cubicBezTo>
                    <a:pt x="4945" y="11074"/>
                    <a:pt x="7894" y="880"/>
                    <a:pt x="9802" y="123"/>
                  </a:cubicBezTo>
                </a:path>
              </a:pathLst>
            </a:custGeom>
            <a:solidFill>
              <a:srgbClr val="47645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6" name="Shape 1407"/>
            <p:cNvSpPr/>
            <p:nvPr/>
          </p:nvSpPr>
          <p:spPr>
            <a:xfrm>
              <a:off x="90585" y="764305"/>
              <a:ext cx="109757" cy="2345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23" h="21177" extrusionOk="0">
                  <a:moveTo>
                    <a:pt x="13473" y="713"/>
                  </a:moveTo>
                  <a:cubicBezTo>
                    <a:pt x="13473" y="713"/>
                    <a:pt x="18063" y="8976"/>
                    <a:pt x="18873" y="10611"/>
                  </a:cubicBezTo>
                  <a:cubicBezTo>
                    <a:pt x="19593" y="12289"/>
                    <a:pt x="21123" y="20551"/>
                    <a:pt x="21123" y="20551"/>
                  </a:cubicBezTo>
                  <a:cubicBezTo>
                    <a:pt x="17343" y="21600"/>
                    <a:pt x="12753" y="21013"/>
                    <a:pt x="12753" y="21013"/>
                  </a:cubicBezTo>
                  <a:lnTo>
                    <a:pt x="8433" y="10485"/>
                  </a:lnTo>
                  <a:cubicBezTo>
                    <a:pt x="8433" y="10485"/>
                    <a:pt x="3573" y="5662"/>
                    <a:pt x="1593" y="3901"/>
                  </a:cubicBezTo>
                  <a:cubicBezTo>
                    <a:pt x="-477" y="2013"/>
                    <a:pt x="63" y="0"/>
                    <a:pt x="63" y="0"/>
                  </a:cubicBezTo>
                  <a:lnTo>
                    <a:pt x="13473" y="713"/>
                  </a:lnTo>
                </a:path>
              </a:pathLst>
            </a:custGeom>
            <a:solidFill>
              <a:srgbClr val="4773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7" name="Shape 1408"/>
            <p:cNvSpPr/>
            <p:nvPr/>
          </p:nvSpPr>
          <p:spPr>
            <a:xfrm>
              <a:off x="84011" y="550935"/>
              <a:ext cx="114285" cy="2299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9429" extrusionOk="0">
                  <a:moveTo>
                    <a:pt x="21600" y="2581"/>
                  </a:moveTo>
                  <a:lnTo>
                    <a:pt x="19580" y="18644"/>
                  </a:lnTo>
                  <a:cubicBezTo>
                    <a:pt x="10712" y="20411"/>
                    <a:pt x="0" y="18644"/>
                    <a:pt x="0" y="18644"/>
                  </a:cubicBezTo>
                  <a:lnTo>
                    <a:pt x="0" y="2228"/>
                  </a:lnTo>
                  <a:cubicBezTo>
                    <a:pt x="8254" y="-1189"/>
                    <a:pt x="18351" y="343"/>
                    <a:pt x="18351" y="343"/>
                  </a:cubicBezTo>
                  <a:cubicBezTo>
                    <a:pt x="20898" y="892"/>
                    <a:pt x="21600" y="2581"/>
                    <a:pt x="21600" y="2581"/>
                  </a:cubicBezTo>
                </a:path>
              </a:pathLst>
            </a:custGeom>
            <a:solidFill>
              <a:srgbClr val="476A6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8" name="Shape 1409"/>
            <p:cNvSpPr/>
            <p:nvPr/>
          </p:nvSpPr>
          <p:spPr>
            <a:xfrm>
              <a:off x="116797" y="534808"/>
              <a:ext cx="50179" cy="512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189" h="18788" extrusionOk="0">
                  <a:moveTo>
                    <a:pt x="14560" y="0"/>
                  </a:moveTo>
                  <a:lnTo>
                    <a:pt x="14560" y="6293"/>
                  </a:lnTo>
                  <a:cubicBezTo>
                    <a:pt x="14560" y="6293"/>
                    <a:pt x="21600" y="14797"/>
                    <a:pt x="12640" y="18198"/>
                  </a:cubicBezTo>
                  <a:cubicBezTo>
                    <a:pt x="3520" y="21600"/>
                    <a:pt x="0" y="9184"/>
                    <a:pt x="0" y="9184"/>
                  </a:cubicBezTo>
                  <a:lnTo>
                    <a:pt x="5920" y="2891"/>
                  </a:lnTo>
                  <a:lnTo>
                    <a:pt x="14560" y="0"/>
                  </a:lnTo>
                </a:path>
              </a:pathLst>
            </a:custGeom>
            <a:solidFill>
              <a:srgbClr val="FFE98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9" name="Shape 1410"/>
            <p:cNvSpPr/>
            <p:nvPr/>
          </p:nvSpPr>
          <p:spPr>
            <a:xfrm>
              <a:off x="90159" y="639311"/>
              <a:ext cx="137525" cy="1036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0" h="20324" extrusionOk="0">
                  <a:moveTo>
                    <a:pt x="0" y="2278"/>
                  </a:moveTo>
                  <a:lnTo>
                    <a:pt x="6285" y="0"/>
                  </a:lnTo>
                  <a:lnTo>
                    <a:pt x="7152" y="4101"/>
                  </a:lnTo>
                  <a:cubicBezTo>
                    <a:pt x="7152" y="4101"/>
                    <a:pt x="14015" y="11028"/>
                    <a:pt x="16688" y="13306"/>
                  </a:cubicBezTo>
                  <a:cubicBezTo>
                    <a:pt x="16688" y="13306"/>
                    <a:pt x="21600" y="14400"/>
                    <a:pt x="21383" y="17681"/>
                  </a:cubicBezTo>
                  <a:cubicBezTo>
                    <a:pt x="21383" y="21053"/>
                    <a:pt x="17338" y="21600"/>
                    <a:pt x="14448" y="16952"/>
                  </a:cubicBezTo>
                  <a:cubicBezTo>
                    <a:pt x="14448" y="16952"/>
                    <a:pt x="6068" y="12577"/>
                    <a:pt x="4262" y="10299"/>
                  </a:cubicBezTo>
                  <a:cubicBezTo>
                    <a:pt x="2601" y="7929"/>
                    <a:pt x="0" y="2278"/>
                    <a:pt x="0" y="2278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0" name="Shape 1411"/>
            <p:cNvSpPr/>
            <p:nvPr/>
          </p:nvSpPr>
          <p:spPr>
            <a:xfrm>
              <a:off x="70234" y="576020"/>
              <a:ext cx="68636" cy="853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29" h="19239" extrusionOk="0">
                  <a:moveTo>
                    <a:pt x="3479" y="260"/>
                  </a:moveTo>
                  <a:cubicBezTo>
                    <a:pt x="11804" y="-2361"/>
                    <a:pt x="16529" y="15674"/>
                    <a:pt x="16529" y="15674"/>
                  </a:cubicBezTo>
                  <a:cubicBezTo>
                    <a:pt x="16529" y="15674"/>
                    <a:pt x="15291" y="16827"/>
                    <a:pt x="11804" y="17981"/>
                  </a:cubicBezTo>
                  <a:cubicBezTo>
                    <a:pt x="7979" y="19239"/>
                    <a:pt x="4829" y="19239"/>
                    <a:pt x="4829" y="19239"/>
                  </a:cubicBezTo>
                  <a:cubicBezTo>
                    <a:pt x="4829" y="19239"/>
                    <a:pt x="-5071" y="2987"/>
                    <a:pt x="3479" y="260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1" name="Shape 1412"/>
            <p:cNvSpPr/>
            <p:nvPr/>
          </p:nvSpPr>
          <p:spPr>
            <a:xfrm>
              <a:off x="98355" y="479483"/>
              <a:ext cx="85595" cy="896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900"/>
                  </a:moveTo>
                  <a:cubicBezTo>
                    <a:pt x="0" y="9225"/>
                    <a:pt x="354" y="8887"/>
                    <a:pt x="354" y="7987"/>
                  </a:cubicBezTo>
                  <a:lnTo>
                    <a:pt x="354" y="7650"/>
                  </a:lnTo>
                  <a:cubicBezTo>
                    <a:pt x="590" y="7313"/>
                    <a:pt x="590" y="6975"/>
                    <a:pt x="944" y="6975"/>
                  </a:cubicBezTo>
                  <a:lnTo>
                    <a:pt x="1652" y="6975"/>
                  </a:lnTo>
                  <a:cubicBezTo>
                    <a:pt x="2007" y="6975"/>
                    <a:pt x="2243" y="7313"/>
                    <a:pt x="2597" y="7650"/>
                  </a:cubicBezTo>
                  <a:lnTo>
                    <a:pt x="2951" y="7987"/>
                  </a:lnTo>
                  <a:cubicBezTo>
                    <a:pt x="3659" y="8550"/>
                    <a:pt x="4013" y="9900"/>
                    <a:pt x="4249" y="11137"/>
                  </a:cubicBezTo>
                  <a:cubicBezTo>
                    <a:pt x="4957" y="11475"/>
                    <a:pt x="5311" y="11812"/>
                    <a:pt x="5666" y="11812"/>
                  </a:cubicBezTo>
                  <a:cubicBezTo>
                    <a:pt x="5666" y="11475"/>
                    <a:pt x="5902" y="10800"/>
                    <a:pt x="5902" y="9900"/>
                  </a:cubicBezTo>
                  <a:lnTo>
                    <a:pt x="5902" y="6413"/>
                  </a:lnTo>
                  <a:lnTo>
                    <a:pt x="4603" y="4163"/>
                  </a:lnTo>
                  <a:cubicBezTo>
                    <a:pt x="4603" y="3150"/>
                    <a:pt x="4957" y="2250"/>
                    <a:pt x="5666" y="1350"/>
                  </a:cubicBezTo>
                  <a:cubicBezTo>
                    <a:pt x="5902" y="675"/>
                    <a:pt x="6610" y="338"/>
                    <a:pt x="7318" y="0"/>
                  </a:cubicBezTo>
                  <a:lnTo>
                    <a:pt x="8262" y="0"/>
                  </a:lnTo>
                  <a:cubicBezTo>
                    <a:pt x="9325" y="338"/>
                    <a:pt x="10269" y="1013"/>
                    <a:pt x="11921" y="1913"/>
                  </a:cubicBezTo>
                  <a:cubicBezTo>
                    <a:pt x="13574" y="2925"/>
                    <a:pt x="15344" y="3150"/>
                    <a:pt x="16997" y="3150"/>
                  </a:cubicBezTo>
                  <a:cubicBezTo>
                    <a:pt x="18649" y="3150"/>
                    <a:pt x="19593" y="2925"/>
                    <a:pt x="20302" y="2250"/>
                  </a:cubicBezTo>
                  <a:cubicBezTo>
                    <a:pt x="20892" y="1575"/>
                    <a:pt x="21246" y="1350"/>
                    <a:pt x="21246" y="1013"/>
                  </a:cubicBezTo>
                  <a:cubicBezTo>
                    <a:pt x="21600" y="1913"/>
                    <a:pt x="21600" y="2588"/>
                    <a:pt x="21600" y="3150"/>
                  </a:cubicBezTo>
                  <a:lnTo>
                    <a:pt x="21600" y="7650"/>
                  </a:lnTo>
                  <a:cubicBezTo>
                    <a:pt x="21600" y="11137"/>
                    <a:pt x="21246" y="13725"/>
                    <a:pt x="20656" y="15300"/>
                  </a:cubicBezTo>
                  <a:cubicBezTo>
                    <a:pt x="19948" y="16875"/>
                    <a:pt x="19239" y="18113"/>
                    <a:pt x="18649" y="18787"/>
                  </a:cubicBezTo>
                  <a:cubicBezTo>
                    <a:pt x="18649" y="19125"/>
                    <a:pt x="18295" y="19350"/>
                    <a:pt x="17941" y="19687"/>
                  </a:cubicBezTo>
                  <a:cubicBezTo>
                    <a:pt x="17941" y="20025"/>
                    <a:pt x="17587" y="20025"/>
                    <a:pt x="17233" y="20362"/>
                  </a:cubicBezTo>
                  <a:cubicBezTo>
                    <a:pt x="17233" y="20700"/>
                    <a:pt x="17233" y="20700"/>
                    <a:pt x="16997" y="20700"/>
                  </a:cubicBezTo>
                  <a:cubicBezTo>
                    <a:pt x="16643" y="20700"/>
                    <a:pt x="16643" y="20700"/>
                    <a:pt x="16289" y="21037"/>
                  </a:cubicBezTo>
                  <a:cubicBezTo>
                    <a:pt x="15934" y="21262"/>
                    <a:pt x="15934" y="21262"/>
                    <a:pt x="15580" y="21262"/>
                  </a:cubicBezTo>
                  <a:cubicBezTo>
                    <a:pt x="15344" y="21600"/>
                    <a:pt x="14636" y="21600"/>
                    <a:pt x="13928" y="21600"/>
                  </a:cubicBezTo>
                  <a:cubicBezTo>
                    <a:pt x="12984" y="21600"/>
                    <a:pt x="11921" y="21600"/>
                    <a:pt x="10977" y="21262"/>
                  </a:cubicBezTo>
                  <a:cubicBezTo>
                    <a:pt x="9679" y="21037"/>
                    <a:pt x="8262" y="20025"/>
                    <a:pt x="6964" y="18787"/>
                  </a:cubicBezTo>
                  <a:cubicBezTo>
                    <a:pt x="6256" y="17775"/>
                    <a:pt x="5311" y="16875"/>
                    <a:pt x="4603" y="15637"/>
                  </a:cubicBezTo>
                  <a:lnTo>
                    <a:pt x="3659" y="13725"/>
                  </a:lnTo>
                  <a:cubicBezTo>
                    <a:pt x="3659" y="13725"/>
                    <a:pt x="3659" y="13950"/>
                    <a:pt x="3305" y="13950"/>
                  </a:cubicBezTo>
                  <a:lnTo>
                    <a:pt x="2951" y="13950"/>
                  </a:lnTo>
                  <a:cubicBezTo>
                    <a:pt x="2243" y="13950"/>
                    <a:pt x="1652" y="13725"/>
                    <a:pt x="944" y="12375"/>
                  </a:cubicBezTo>
                  <a:cubicBezTo>
                    <a:pt x="590" y="11475"/>
                    <a:pt x="354" y="10800"/>
                    <a:pt x="0" y="990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2" name="Shape 1413"/>
            <p:cNvSpPr/>
            <p:nvPr/>
          </p:nvSpPr>
          <p:spPr>
            <a:xfrm>
              <a:off x="98702" y="458992"/>
              <a:ext cx="93449" cy="753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20" h="21600" extrusionOk="0">
                  <a:moveTo>
                    <a:pt x="4708" y="8956"/>
                  </a:moveTo>
                  <a:cubicBezTo>
                    <a:pt x="4070" y="10010"/>
                    <a:pt x="3751" y="10800"/>
                    <a:pt x="3751" y="12249"/>
                  </a:cubicBezTo>
                  <a:lnTo>
                    <a:pt x="5240" y="15278"/>
                  </a:lnTo>
                  <a:cubicBezTo>
                    <a:pt x="5240" y="15673"/>
                    <a:pt x="4389" y="20810"/>
                    <a:pt x="4389" y="21600"/>
                  </a:cubicBezTo>
                  <a:cubicBezTo>
                    <a:pt x="4070" y="21600"/>
                    <a:pt x="3751" y="21205"/>
                    <a:pt x="3219" y="20810"/>
                  </a:cubicBezTo>
                  <a:cubicBezTo>
                    <a:pt x="2899" y="19361"/>
                    <a:pt x="2580" y="17912"/>
                    <a:pt x="1942" y="17122"/>
                  </a:cubicBezTo>
                  <a:lnTo>
                    <a:pt x="1622" y="16727"/>
                  </a:lnTo>
                  <a:cubicBezTo>
                    <a:pt x="1410" y="16332"/>
                    <a:pt x="1090" y="16068"/>
                    <a:pt x="771" y="16068"/>
                  </a:cubicBezTo>
                  <a:lnTo>
                    <a:pt x="133" y="16068"/>
                  </a:lnTo>
                  <a:cubicBezTo>
                    <a:pt x="-80" y="13434"/>
                    <a:pt x="-80" y="11590"/>
                    <a:pt x="452" y="9746"/>
                  </a:cubicBezTo>
                  <a:cubicBezTo>
                    <a:pt x="1410" y="3820"/>
                    <a:pt x="4070" y="395"/>
                    <a:pt x="8326" y="0"/>
                  </a:cubicBezTo>
                  <a:cubicBezTo>
                    <a:pt x="13114" y="0"/>
                    <a:pt x="16093" y="1580"/>
                    <a:pt x="17583" y="4873"/>
                  </a:cubicBezTo>
                  <a:cubicBezTo>
                    <a:pt x="17902" y="5268"/>
                    <a:pt x="18753" y="6717"/>
                    <a:pt x="19073" y="7112"/>
                  </a:cubicBezTo>
                  <a:cubicBezTo>
                    <a:pt x="19392" y="7902"/>
                    <a:pt x="21201" y="7902"/>
                    <a:pt x="21520" y="8561"/>
                  </a:cubicBezTo>
                  <a:cubicBezTo>
                    <a:pt x="21520" y="8956"/>
                    <a:pt x="21094" y="9220"/>
                    <a:pt x="20562" y="10010"/>
                  </a:cubicBezTo>
                  <a:cubicBezTo>
                    <a:pt x="19924" y="10668"/>
                    <a:pt x="19073" y="12249"/>
                    <a:pt x="17583" y="12249"/>
                  </a:cubicBezTo>
                  <a:cubicBezTo>
                    <a:pt x="16093" y="12249"/>
                    <a:pt x="11837" y="11590"/>
                    <a:pt x="10348" y="10800"/>
                  </a:cubicBezTo>
                  <a:cubicBezTo>
                    <a:pt x="8858" y="9746"/>
                    <a:pt x="8007" y="8166"/>
                    <a:pt x="7049" y="7507"/>
                  </a:cubicBezTo>
                  <a:lnTo>
                    <a:pt x="6198" y="7507"/>
                  </a:lnTo>
                  <a:cubicBezTo>
                    <a:pt x="5879" y="7507"/>
                    <a:pt x="5240" y="7902"/>
                    <a:pt x="4708" y="8956"/>
                  </a:cubicBezTo>
                </a:path>
              </a:pathLst>
            </a:custGeom>
            <a:solidFill>
              <a:srgbClr val="DECB2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3" name="Shape 1414"/>
            <p:cNvSpPr/>
            <p:nvPr/>
          </p:nvSpPr>
          <p:spPr>
            <a:xfrm>
              <a:off x="380900" y="643409"/>
              <a:ext cx="16393" cy="1019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788" y="0"/>
                  </a:moveTo>
                  <a:cubicBezTo>
                    <a:pt x="17788" y="297"/>
                    <a:pt x="17788" y="594"/>
                    <a:pt x="21600" y="594"/>
                  </a:cubicBezTo>
                  <a:cubicBezTo>
                    <a:pt x="21600" y="1090"/>
                    <a:pt x="17788" y="1387"/>
                    <a:pt x="17788" y="1684"/>
                  </a:cubicBezTo>
                  <a:lnTo>
                    <a:pt x="17788" y="0"/>
                  </a:lnTo>
                  <a:close/>
                  <a:moveTo>
                    <a:pt x="17788" y="15952"/>
                  </a:moveTo>
                  <a:lnTo>
                    <a:pt x="17788" y="16547"/>
                  </a:lnTo>
                  <a:cubicBezTo>
                    <a:pt x="17788" y="16844"/>
                    <a:pt x="17788" y="17042"/>
                    <a:pt x="13976" y="17637"/>
                  </a:cubicBezTo>
                  <a:lnTo>
                    <a:pt x="13976" y="18231"/>
                  </a:lnTo>
                  <a:cubicBezTo>
                    <a:pt x="10165" y="18429"/>
                    <a:pt x="10165" y="19024"/>
                    <a:pt x="10165" y="19321"/>
                  </a:cubicBezTo>
                  <a:lnTo>
                    <a:pt x="10165" y="19916"/>
                  </a:lnTo>
                  <a:lnTo>
                    <a:pt x="0" y="21600"/>
                  </a:lnTo>
                  <a:lnTo>
                    <a:pt x="0" y="5648"/>
                  </a:lnTo>
                  <a:lnTo>
                    <a:pt x="10165" y="3963"/>
                  </a:lnTo>
                  <a:cubicBezTo>
                    <a:pt x="10165" y="3666"/>
                    <a:pt x="10165" y="3666"/>
                    <a:pt x="13976" y="3369"/>
                  </a:cubicBezTo>
                  <a:cubicBezTo>
                    <a:pt x="17788" y="3072"/>
                    <a:pt x="17788" y="2576"/>
                    <a:pt x="17788" y="2279"/>
                  </a:cubicBezTo>
                  <a:lnTo>
                    <a:pt x="17788" y="15952"/>
                  </a:lnTo>
                  <a:close/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4" name="Shape 1415"/>
            <p:cNvSpPr/>
            <p:nvPr/>
          </p:nvSpPr>
          <p:spPr>
            <a:xfrm>
              <a:off x="870857" y="711029"/>
              <a:ext cx="38475" cy="958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6567"/>
                  </a:lnTo>
                  <a:lnTo>
                    <a:pt x="0" y="21600"/>
                  </a:lnTo>
                  <a:lnTo>
                    <a:pt x="0" y="5033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5" name="Shape 1416"/>
            <p:cNvSpPr/>
            <p:nvPr/>
          </p:nvSpPr>
          <p:spPr>
            <a:xfrm>
              <a:off x="116797" y="702833"/>
              <a:ext cx="128628" cy="1245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7979"/>
                  </a:moveTo>
                  <a:lnTo>
                    <a:pt x="21600" y="20955"/>
                  </a:lnTo>
                  <a:lnTo>
                    <a:pt x="21366" y="20955"/>
                  </a:lnTo>
                  <a:cubicBezTo>
                    <a:pt x="20430" y="21116"/>
                    <a:pt x="19339" y="21116"/>
                    <a:pt x="18481" y="21358"/>
                  </a:cubicBezTo>
                  <a:lnTo>
                    <a:pt x="17389" y="21358"/>
                  </a:lnTo>
                  <a:cubicBezTo>
                    <a:pt x="16921" y="21358"/>
                    <a:pt x="16531" y="21600"/>
                    <a:pt x="16064" y="21600"/>
                  </a:cubicBezTo>
                  <a:lnTo>
                    <a:pt x="13412" y="21600"/>
                  </a:lnTo>
                  <a:cubicBezTo>
                    <a:pt x="12788" y="21600"/>
                    <a:pt x="12321" y="21600"/>
                    <a:pt x="11853" y="21358"/>
                  </a:cubicBezTo>
                  <a:lnTo>
                    <a:pt x="11697" y="21358"/>
                  </a:lnTo>
                  <a:cubicBezTo>
                    <a:pt x="11229" y="21358"/>
                    <a:pt x="10527" y="21116"/>
                    <a:pt x="10137" y="21116"/>
                  </a:cubicBezTo>
                  <a:lnTo>
                    <a:pt x="9279" y="21116"/>
                  </a:lnTo>
                  <a:cubicBezTo>
                    <a:pt x="9045" y="21116"/>
                    <a:pt x="8812" y="21116"/>
                    <a:pt x="8578" y="20955"/>
                  </a:cubicBezTo>
                  <a:cubicBezTo>
                    <a:pt x="8344" y="20955"/>
                    <a:pt x="7954" y="20713"/>
                    <a:pt x="7720" y="20713"/>
                  </a:cubicBezTo>
                  <a:cubicBezTo>
                    <a:pt x="7486" y="20713"/>
                    <a:pt x="7486" y="20713"/>
                    <a:pt x="7252" y="20472"/>
                  </a:cubicBezTo>
                  <a:lnTo>
                    <a:pt x="7018" y="20472"/>
                  </a:lnTo>
                  <a:cubicBezTo>
                    <a:pt x="6394" y="20230"/>
                    <a:pt x="5926" y="19988"/>
                    <a:pt x="5536" y="19988"/>
                  </a:cubicBezTo>
                  <a:cubicBezTo>
                    <a:pt x="4835" y="19827"/>
                    <a:pt x="4367" y="19585"/>
                    <a:pt x="3743" y="19101"/>
                  </a:cubicBezTo>
                  <a:cubicBezTo>
                    <a:pt x="1092" y="17490"/>
                    <a:pt x="0" y="15475"/>
                    <a:pt x="0" y="12976"/>
                  </a:cubicBezTo>
                  <a:lnTo>
                    <a:pt x="0" y="0"/>
                  </a:lnTo>
                  <a:cubicBezTo>
                    <a:pt x="0" y="2499"/>
                    <a:pt x="1326" y="4513"/>
                    <a:pt x="3743" y="6125"/>
                  </a:cubicBezTo>
                  <a:cubicBezTo>
                    <a:pt x="4211" y="6367"/>
                    <a:pt x="4835" y="6851"/>
                    <a:pt x="5536" y="7093"/>
                  </a:cubicBezTo>
                  <a:cubicBezTo>
                    <a:pt x="6160" y="7254"/>
                    <a:pt x="6628" y="7496"/>
                    <a:pt x="7252" y="7737"/>
                  </a:cubicBezTo>
                  <a:cubicBezTo>
                    <a:pt x="7486" y="7737"/>
                    <a:pt x="7486" y="7737"/>
                    <a:pt x="7720" y="7979"/>
                  </a:cubicBezTo>
                  <a:cubicBezTo>
                    <a:pt x="8110" y="8221"/>
                    <a:pt x="8578" y="8221"/>
                    <a:pt x="9279" y="8382"/>
                  </a:cubicBezTo>
                  <a:lnTo>
                    <a:pt x="9669" y="8382"/>
                  </a:lnTo>
                  <a:cubicBezTo>
                    <a:pt x="10371" y="8624"/>
                    <a:pt x="10995" y="8624"/>
                    <a:pt x="11697" y="8624"/>
                  </a:cubicBezTo>
                  <a:cubicBezTo>
                    <a:pt x="11697" y="8624"/>
                    <a:pt x="11697" y="8624"/>
                    <a:pt x="11853" y="8624"/>
                  </a:cubicBezTo>
                  <a:lnTo>
                    <a:pt x="16064" y="8624"/>
                  </a:lnTo>
                  <a:cubicBezTo>
                    <a:pt x="16531" y="8624"/>
                    <a:pt x="16921" y="8624"/>
                    <a:pt x="17389" y="8382"/>
                  </a:cubicBezTo>
                  <a:cubicBezTo>
                    <a:pt x="17857" y="8382"/>
                    <a:pt x="18013" y="8382"/>
                    <a:pt x="18481" y="8221"/>
                  </a:cubicBezTo>
                  <a:cubicBezTo>
                    <a:pt x="19339" y="7979"/>
                    <a:pt x="20274" y="7979"/>
                    <a:pt x="21366" y="7737"/>
                  </a:cubicBezTo>
                  <a:cubicBezTo>
                    <a:pt x="21366" y="7737"/>
                    <a:pt x="21600" y="7737"/>
                    <a:pt x="21600" y="7979"/>
                  </a:cubicBezTo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6" name="Shape 1417"/>
            <p:cNvSpPr/>
            <p:nvPr/>
          </p:nvSpPr>
          <p:spPr>
            <a:xfrm>
              <a:off x="245888" y="747912"/>
              <a:ext cx="38476" cy="958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985"/>
                  </a:moveTo>
                  <a:lnTo>
                    <a:pt x="21600" y="21600"/>
                  </a:lnTo>
                  <a:lnTo>
                    <a:pt x="0" y="16719"/>
                  </a:lnTo>
                  <a:lnTo>
                    <a:pt x="0" y="0"/>
                  </a:lnTo>
                  <a:lnTo>
                    <a:pt x="21600" y="4985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7" name="Shape 1418"/>
            <p:cNvSpPr/>
            <p:nvPr/>
          </p:nvSpPr>
          <p:spPr>
            <a:xfrm>
              <a:off x="747912" y="727421"/>
              <a:ext cx="128627" cy="12248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713" y="14727"/>
                  </a:moveTo>
                  <a:cubicBezTo>
                    <a:pt x="5478" y="14727"/>
                    <a:pt x="5243" y="14973"/>
                    <a:pt x="5243" y="14973"/>
                  </a:cubicBezTo>
                  <a:cubicBezTo>
                    <a:pt x="4852" y="15218"/>
                    <a:pt x="4148" y="15464"/>
                    <a:pt x="3757" y="15709"/>
                  </a:cubicBezTo>
                  <a:cubicBezTo>
                    <a:pt x="3052" y="16118"/>
                    <a:pt x="2661" y="16609"/>
                    <a:pt x="2191" y="16855"/>
                  </a:cubicBezTo>
                  <a:cubicBezTo>
                    <a:pt x="1722" y="17264"/>
                    <a:pt x="1330" y="17755"/>
                    <a:pt x="1096" y="18245"/>
                  </a:cubicBezTo>
                  <a:cubicBezTo>
                    <a:pt x="1096" y="18491"/>
                    <a:pt x="1096" y="18491"/>
                    <a:pt x="861" y="18491"/>
                  </a:cubicBezTo>
                  <a:cubicBezTo>
                    <a:pt x="626" y="18818"/>
                    <a:pt x="391" y="19309"/>
                    <a:pt x="157" y="19800"/>
                  </a:cubicBezTo>
                  <a:lnTo>
                    <a:pt x="157" y="19964"/>
                  </a:lnTo>
                  <a:cubicBezTo>
                    <a:pt x="0" y="20455"/>
                    <a:pt x="0" y="21109"/>
                    <a:pt x="0" y="21600"/>
                  </a:cubicBezTo>
                  <a:lnTo>
                    <a:pt x="0" y="8264"/>
                  </a:lnTo>
                  <a:cubicBezTo>
                    <a:pt x="0" y="7855"/>
                    <a:pt x="0" y="7609"/>
                    <a:pt x="157" y="7118"/>
                  </a:cubicBezTo>
                  <a:cubicBezTo>
                    <a:pt x="157" y="6873"/>
                    <a:pt x="157" y="6873"/>
                    <a:pt x="391" y="6709"/>
                  </a:cubicBezTo>
                  <a:lnTo>
                    <a:pt x="391" y="6464"/>
                  </a:lnTo>
                  <a:cubicBezTo>
                    <a:pt x="391" y="6464"/>
                    <a:pt x="391" y="6218"/>
                    <a:pt x="626" y="6218"/>
                  </a:cubicBezTo>
                  <a:cubicBezTo>
                    <a:pt x="861" y="5973"/>
                    <a:pt x="861" y="5564"/>
                    <a:pt x="1096" y="5318"/>
                  </a:cubicBezTo>
                  <a:cubicBezTo>
                    <a:pt x="1096" y="5318"/>
                    <a:pt x="1096" y="5073"/>
                    <a:pt x="1330" y="5073"/>
                  </a:cubicBezTo>
                  <a:cubicBezTo>
                    <a:pt x="1330" y="4827"/>
                    <a:pt x="1330" y="4827"/>
                    <a:pt x="1487" y="4827"/>
                  </a:cubicBezTo>
                  <a:cubicBezTo>
                    <a:pt x="1722" y="4582"/>
                    <a:pt x="1722" y="4582"/>
                    <a:pt x="1722" y="4336"/>
                  </a:cubicBezTo>
                  <a:cubicBezTo>
                    <a:pt x="1957" y="4173"/>
                    <a:pt x="2191" y="3682"/>
                    <a:pt x="2661" y="3436"/>
                  </a:cubicBezTo>
                  <a:cubicBezTo>
                    <a:pt x="3052" y="3027"/>
                    <a:pt x="3522" y="2782"/>
                    <a:pt x="4148" y="2291"/>
                  </a:cubicBezTo>
                  <a:lnTo>
                    <a:pt x="4383" y="2291"/>
                  </a:lnTo>
                  <a:cubicBezTo>
                    <a:pt x="4852" y="2045"/>
                    <a:pt x="5243" y="1800"/>
                    <a:pt x="5948" y="1636"/>
                  </a:cubicBezTo>
                  <a:cubicBezTo>
                    <a:pt x="6183" y="1636"/>
                    <a:pt x="6417" y="1391"/>
                    <a:pt x="6417" y="1391"/>
                  </a:cubicBezTo>
                  <a:cubicBezTo>
                    <a:pt x="6574" y="1145"/>
                    <a:pt x="6809" y="1145"/>
                    <a:pt x="7043" y="1145"/>
                  </a:cubicBezTo>
                  <a:lnTo>
                    <a:pt x="7513" y="1145"/>
                  </a:lnTo>
                  <a:cubicBezTo>
                    <a:pt x="8139" y="900"/>
                    <a:pt x="8609" y="655"/>
                    <a:pt x="9235" y="655"/>
                  </a:cubicBezTo>
                  <a:cubicBezTo>
                    <a:pt x="9470" y="655"/>
                    <a:pt x="9470" y="409"/>
                    <a:pt x="9704" y="409"/>
                  </a:cubicBezTo>
                  <a:lnTo>
                    <a:pt x="9939" y="409"/>
                  </a:lnTo>
                  <a:cubicBezTo>
                    <a:pt x="10096" y="409"/>
                    <a:pt x="10330" y="409"/>
                    <a:pt x="10565" y="245"/>
                  </a:cubicBezTo>
                  <a:cubicBezTo>
                    <a:pt x="11035" y="245"/>
                    <a:pt x="11270" y="0"/>
                    <a:pt x="11661" y="0"/>
                  </a:cubicBezTo>
                  <a:lnTo>
                    <a:pt x="17452" y="0"/>
                  </a:lnTo>
                  <a:cubicBezTo>
                    <a:pt x="17609" y="0"/>
                    <a:pt x="18078" y="0"/>
                    <a:pt x="18313" y="245"/>
                  </a:cubicBezTo>
                  <a:cubicBezTo>
                    <a:pt x="18783" y="245"/>
                    <a:pt x="18939" y="245"/>
                    <a:pt x="19409" y="409"/>
                  </a:cubicBezTo>
                  <a:lnTo>
                    <a:pt x="19878" y="409"/>
                  </a:lnTo>
                  <a:cubicBezTo>
                    <a:pt x="20504" y="409"/>
                    <a:pt x="20974" y="655"/>
                    <a:pt x="21600" y="655"/>
                  </a:cubicBezTo>
                  <a:lnTo>
                    <a:pt x="21600" y="13827"/>
                  </a:lnTo>
                  <a:cubicBezTo>
                    <a:pt x="20974" y="13582"/>
                    <a:pt x="20270" y="13582"/>
                    <a:pt x="19409" y="13418"/>
                  </a:cubicBezTo>
                  <a:cubicBezTo>
                    <a:pt x="18939" y="13418"/>
                    <a:pt x="18783" y="13418"/>
                    <a:pt x="18313" y="13173"/>
                  </a:cubicBezTo>
                  <a:cubicBezTo>
                    <a:pt x="17843" y="13173"/>
                    <a:pt x="17452" y="13173"/>
                    <a:pt x="16983" y="12927"/>
                  </a:cubicBezTo>
                  <a:lnTo>
                    <a:pt x="11896" y="12927"/>
                  </a:lnTo>
                  <a:cubicBezTo>
                    <a:pt x="11426" y="12927"/>
                    <a:pt x="11035" y="13173"/>
                    <a:pt x="10565" y="13173"/>
                  </a:cubicBezTo>
                  <a:cubicBezTo>
                    <a:pt x="10330" y="13173"/>
                    <a:pt x="10096" y="13173"/>
                    <a:pt x="9939" y="13418"/>
                  </a:cubicBezTo>
                  <a:cubicBezTo>
                    <a:pt x="9704" y="13418"/>
                    <a:pt x="9470" y="13418"/>
                    <a:pt x="9235" y="13582"/>
                  </a:cubicBezTo>
                  <a:cubicBezTo>
                    <a:pt x="8609" y="13827"/>
                    <a:pt x="8139" y="13827"/>
                    <a:pt x="7513" y="14073"/>
                  </a:cubicBezTo>
                  <a:cubicBezTo>
                    <a:pt x="6417" y="14564"/>
                    <a:pt x="5948" y="14727"/>
                    <a:pt x="5713" y="14727"/>
                  </a:cubicBez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8" name="Shape 1419"/>
            <p:cNvSpPr/>
            <p:nvPr/>
          </p:nvSpPr>
          <p:spPr>
            <a:xfrm>
              <a:off x="1006915" y="813482"/>
              <a:ext cx="16394" cy="999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350"/>
                  </a:moveTo>
                  <a:lnTo>
                    <a:pt x="21600" y="21600"/>
                  </a:lnTo>
                  <a:cubicBezTo>
                    <a:pt x="21600" y="20692"/>
                    <a:pt x="21600" y="19884"/>
                    <a:pt x="16971" y="18976"/>
                  </a:cubicBezTo>
                  <a:cubicBezTo>
                    <a:pt x="12343" y="18168"/>
                    <a:pt x="7714" y="17260"/>
                    <a:pt x="0" y="16150"/>
                  </a:cubicBezTo>
                  <a:lnTo>
                    <a:pt x="0" y="0"/>
                  </a:lnTo>
                  <a:cubicBezTo>
                    <a:pt x="12343" y="2019"/>
                    <a:pt x="21600" y="3735"/>
                    <a:pt x="21600" y="5350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9" name="Shape 1420"/>
            <p:cNvSpPr/>
            <p:nvPr/>
          </p:nvSpPr>
          <p:spPr>
            <a:xfrm>
              <a:off x="356539" y="958967"/>
              <a:ext cx="267966" cy="1839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2851"/>
                  </a:moveTo>
                  <a:lnTo>
                    <a:pt x="21600" y="21600"/>
                  </a:lnTo>
                  <a:cubicBezTo>
                    <a:pt x="21600" y="18866"/>
                    <a:pt x="19918" y="15585"/>
                    <a:pt x="16667" y="12851"/>
                  </a:cubicBezTo>
                  <a:cubicBezTo>
                    <a:pt x="16219" y="12523"/>
                    <a:pt x="15920" y="12194"/>
                    <a:pt x="15509" y="11921"/>
                  </a:cubicBezTo>
                  <a:cubicBezTo>
                    <a:pt x="15397" y="11757"/>
                    <a:pt x="15284" y="11757"/>
                    <a:pt x="15172" y="11593"/>
                  </a:cubicBezTo>
                  <a:cubicBezTo>
                    <a:pt x="14873" y="11265"/>
                    <a:pt x="14537" y="11155"/>
                    <a:pt x="14238" y="10991"/>
                  </a:cubicBezTo>
                  <a:cubicBezTo>
                    <a:pt x="14126" y="10991"/>
                    <a:pt x="14014" y="10827"/>
                    <a:pt x="13902" y="10827"/>
                  </a:cubicBezTo>
                  <a:lnTo>
                    <a:pt x="11996" y="9898"/>
                  </a:lnTo>
                  <a:cubicBezTo>
                    <a:pt x="11921" y="9898"/>
                    <a:pt x="11921" y="9898"/>
                    <a:pt x="11809" y="9734"/>
                  </a:cubicBezTo>
                  <a:cubicBezTo>
                    <a:pt x="11361" y="9570"/>
                    <a:pt x="10837" y="9406"/>
                    <a:pt x="10426" y="9296"/>
                  </a:cubicBezTo>
                  <a:cubicBezTo>
                    <a:pt x="10314" y="9296"/>
                    <a:pt x="10202" y="9132"/>
                    <a:pt x="10127" y="9132"/>
                  </a:cubicBezTo>
                  <a:cubicBezTo>
                    <a:pt x="9791" y="8968"/>
                    <a:pt x="9567" y="8968"/>
                    <a:pt x="9268" y="8968"/>
                  </a:cubicBezTo>
                  <a:cubicBezTo>
                    <a:pt x="9156" y="8968"/>
                    <a:pt x="8969" y="8968"/>
                    <a:pt x="8857" y="8804"/>
                  </a:cubicBezTo>
                  <a:cubicBezTo>
                    <a:pt x="8633" y="8804"/>
                    <a:pt x="8408" y="8640"/>
                    <a:pt x="8221" y="8640"/>
                  </a:cubicBezTo>
                  <a:cubicBezTo>
                    <a:pt x="7997" y="8640"/>
                    <a:pt x="7885" y="8531"/>
                    <a:pt x="7773" y="8531"/>
                  </a:cubicBezTo>
                  <a:lnTo>
                    <a:pt x="5381" y="8531"/>
                  </a:lnTo>
                  <a:cubicBezTo>
                    <a:pt x="5157" y="8531"/>
                    <a:pt x="5045" y="8531"/>
                    <a:pt x="4933" y="8640"/>
                  </a:cubicBezTo>
                  <a:cubicBezTo>
                    <a:pt x="4821" y="8804"/>
                    <a:pt x="4634" y="8804"/>
                    <a:pt x="4410" y="8804"/>
                  </a:cubicBezTo>
                  <a:cubicBezTo>
                    <a:pt x="4298" y="8804"/>
                    <a:pt x="4111" y="8804"/>
                    <a:pt x="3999" y="8968"/>
                  </a:cubicBezTo>
                  <a:cubicBezTo>
                    <a:pt x="3588" y="9132"/>
                    <a:pt x="3251" y="9296"/>
                    <a:pt x="2952" y="9406"/>
                  </a:cubicBezTo>
                  <a:cubicBezTo>
                    <a:pt x="2728" y="9570"/>
                    <a:pt x="2616" y="9570"/>
                    <a:pt x="2504" y="9734"/>
                  </a:cubicBezTo>
                  <a:cubicBezTo>
                    <a:pt x="2429" y="9734"/>
                    <a:pt x="2317" y="9898"/>
                    <a:pt x="2317" y="9898"/>
                  </a:cubicBezTo>
                  <a:lnTo>
                    <a:pt x="1682" y="10335"/>
                  </a:lnTo>
                  <a:lnTo>
                    <a:pt x="1570" y="10499"/>
                  </a:lnTo>
                  <a:cubicBezTo>
                    <a:pt x="1345" y="10827"/>
                    <a:pt x="1046" y="10991"/>
                    <a:pt x="934" y="11265"/>
                  </a:cubicBezTo>
                  <a:lnTo>
                    <a:pt x="635" y="11757"/>
                  </a:lnTo>
                  <a:cubicBezTo>
                    <a:pt x="523" y="11757"/>
                    <a:pt x="523" y="11921"/>
                    <a:pt x="523" y="11921"/>
                  </a:cubicBezTo>
                  <a:cubicBezTo>
                    <a:pt x="523" y="12030"/>
                    <a:pt x="411" y="12030"/>
                    <a:pt x="411" y="12194"/>
                  </a:cubicBezTo>
                  <a:cubicBezTo>
                    <a:pt x="411" y="12358"/>
                    <a:pt x="299" y="12358"/>
                    <a:pt x="299" y="12523"/>
                  </a:cubicBezTo>
                  <a:cubicBezTo>
                    <a:pt x="187" y="12687"/>
                    <a:pt x="187" y="12687"/>
                    <a:pt x="187" y="12851"/>
                  </a:cubicBezTo>
                  <a:cubicBezTo>
                    <a:pt x="187" y="12960"/>
                    <a:pt x="187" y="12960"/>
                    <a:pt x="75" y="13124"/>
                  </a:cubicBezTo>
                  <a:cubicBezTo>
                    <a:pt x="75" y="13288"/>
                    <a:pt x="0" y="13452"/>
                    <a:pt x="0" y="13452"/>
                  </a:cubicBezTo>
                  <a:lnTo>
                    <a:pt x="0" y="4648"/>
                  </a:lnTo>
                  <a:cubicBezTo>
                    <a:pt x="0" y="4484"/>
                    <a:pt x="75" y="4320"/>
                    <a:pt x="75" y="4320"/>
                  </a:cubicBezTo>
                  <a:lnTo>
                    <a:pt x="75" y="4047"/>
                  </a:lnTo>
                  <a:cubicBezTo>
                    <a:pt x="75" y="3883"/>
                    <a:pt x="187" y="3883"/>
                    <a:pt x="187" y="3718"/>
                  </a:cubicBezTo>
                  <a:cubicBezTo>
                    <a:pt x="187" y="3718"/>
                    <a:pt x="187" y="3554"/>
                    <a:pt x="299" y="3554"/>
                  </a:cubicBezTo>
                  <a:lnTo>
                    <a:pt x="299" y="3390"/>
                  </a:lnTo>
                  <a:cubicBezTo>
                    <a:pt x="299" y="3281"/>
                    <a:pt x="411" y="3281"/>
                    <a:pt x="411" y="3117"/>
                  </a:cubicBezTo>
                  <a:lnTo>
                    <a:pt x="523" y="2953"/>
                  </a:lnTo>
                  <a:lnTo>
                    <a:pt x="822" y="2461"/>
                  </a:lnTo>
                  <a:cubicBezTo>
                    <a:pt x="1046" y="2187"/>
                    <a:pt x="1271" y="2023"/>
                    <a:pt x="1457" y="1695"/>
                  </a:cubicBezTo>
                  <a:lnTo>
                    <a:pt x="1570" y="1695"/>
                  </a:lnTo>
                  <a:cubicBezTo>
                    <a:pt x="1570" y="1695"/>
                    <a:pt x="1682" y="1695"/>
                    <a:pt x="1682" y="1586"/>
                  </a:cubicBezTo>
                  <a:lnTo>
                    <a:pt x="2317" y="1094"/>
                  </a:lnTo>
                  <a:cubicBezTo>
                    <a:pt x="2429" y="1094"/>
                    <a:pt x="2504" y="930"/>
                    <a:pt x="2504" y="930"/>
                  </a:cubicBezTo>
                  <a:cubicBezTo>
                    <a:pt x="2616" y="766"/>
                    <a:pt x="2840" y="766"/>
                    <a:pt x="2952" y="656"/>
                  </a:cubicBezTo>
                  <a:lnTo>
                    <a:pt x="3027" y="656"/>
                  </a:lnTo>
                  <a:cubicBezTo>
                    <a:pt x="3363" y="492"/>
                    <a:pt x="3774" y="328"/>
                    <a:pt x="4111" y="164"/>
                  </a:cubicBezTo>
                  <a:lnTo>
                    <a:pt x="4522" y="164"/>
                  </a:lnTo>
                  <a:cubicBezTo>
                    <a:pt x="4746" y="164"/>
                    <a:pt x="4821" y="0"/>
                    <a:pt x="5045" y="0"/>
                  </a:cubicBezTo>
                  <a:lnTo>
                    <a:pt x="8520" y="0"/>
                  </a:lnTo>
                  <a:cubicBezTo>
                    <a:pt x="8745" y="0"/>
                    <a:pt x="8969" y="164"/>
                    <a:pt x="9156" y="164"/>
                  </a:cubicBezTo>
                  <a:lnTo>
                    <a:pt x="9567" y="164"/>
                  </a:lnTo>
                  <a:cubicBezTo>
                    <a:pt x="9903" y="164"/>
                    <a:pt x="10127" y="328"/>
                    <a:pt x="10426" y="328"/>
                  </a:cubicBezTo>
                  <a:cubicBezTo>
                    <a:pt x="10538" y="328"/>
                    <a:pt x="10651" y="328"/>
                    <a:pt x="10763" y="492"/>
                  </a:cubicBezTo>
                  <a:lnTo>
                    <a:pt x="10837" y="492"/>
                  </a:lnTo>
                  <a:cubicBezTo>
                    <a:pt x="11286" y="656"/>
                    <a:pt x="11809" y="766"/>
                    <a:pt x="12220" y="930"/>
                  </a:cubicBezTo>
                  <a:lnTo>
                    <a:pt x="12332" y="930"/>
                  </a:lnTo>
                  <a:cubicBezTo>
                    <a:pt x="12444" y="930"/>
                    <a:pt x="12444" y="1094"/>
                    <a:pt x="12444" y="1094"/>
                  </a:cubicBezTo>
                  <a:lnTo>
                    <a:pt x="14313" y="2023"/>
                  </a:lnTo>
                  <a:lnTo>
                    <a:pt x="14425" y="2023"/>
                  </a:lnTo>
                  <a:cubicBezTo>
                    <a:pt x="14537" y="2023"/>
                    <a:pt x="14537" y="2187"/>
                    <a:pt x="14649" y="2187"/>
                  </a:cubicBezTo>
                  <a:cubicBezTo>
                    <a:pt x="14948" y="2351"/>
                    <a:pt x="15284" y="2625"/>
                    <a:pt x="15583" y="2789"/>
                  </a:cubicBezTo>
                  <a:cubicBezTo>
                    <a:pt x="15696" y="2953"/>
                    <a:pt x="15808" y="2953"/>
                    <a:pt x="15920" y="3117"/>
                  </a:cubicBezTo>
                  <a:cubicBezTo>
                    <a:pt x="16331" y="3390"/>
                    <a:pt x="16742" y="3718"/>
                    <a:pt x="17078" y="4047"/>
                  </a:cubicBezTo>
                  <a:cubicBezTo>
                    <a:pt x="19918" y="6671"/>
                    <a:pt x="21600" y="9898"/>
                    <a:pt x="21600" y="12851"/>
                  </a:cubicBez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0" name="Shape 1421"/>
            <p:cNvSpPr/>
            <p:nvPr/>
          </p:nvSpPr>
          <p:spPr>
            <a:xfrm>
              <a:off x="321704" y="1028636"/>
              <a:ext cx="40506" cy="97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6639"/>
                  </a:lnTo>
                  <a:lnTo>
                    <a:pt x="0" y="21600"/>
                  </a:lnTo>
                  <a:lnTo>
                    <a:pt x="0" y="4961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1" name="Shape 1422"/>
            <p:cNvSpPr/>
            <p:nvPr/>
          </p:nvSpPr>
          <p:spPr>
            <a:xfrm>
              <a:off x="59423" y="901593"/>
              <a:ext cx="261818" cy="2249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4444"/>
                  </a:moveTo>
                  <a:lnTo>
                    <a:pt x="21600" y="21600"/>
                  </a:lnTo>
                  <a:lnTo>
                    <a:pt x="0" y="7156"/>
                  </a:lnTo>
                  <a:lnTo>
                    <a:pt x="0" y="0"/>
                  </a:lnTo>
                  <a:lnTo>
                    <a:pt x="21600" y="14444"/>
                  </a:ln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2" name="Shape 1423"/>
            <p:cNvSpPr/>
            <p:nvPr/>
          </p:nvSpPr>
          <p:spPr>
            <a:xfrm>
              <a:off x="1086010" y="942574"/>
              <a:ext cx="224935" cy="2064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7850"/>
                  </a:lnTo>
                  <a:lnTo>
                    <a:pt x="0" y="21600"/>
                  </a:lnTo>
                  <a:lnTo>
                    <a:pt x="0" y="13750"/>
                  </a:lnTo>
                  <a:lnTo>
                    <a:pt x="21600" y="0"/>
                  </a:lnTo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3" name="Shape 1424"/>
            <p:cNvSpPr/>
            <p:nvPr/>
          </p:nvSpPr>
          <p:spPr>
            <a:xfrm>
              <a:off x="948721" y="1153629"/>
              <a:ext cx="40506" cy="97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271"/>
                  </a:moveTo>
                  <a:lnTo>
                    <a:pt x="21600" y="21600"/>
                  </a:lnTo>
                  <a:lnTo>
                    <a:pt x="0" y="16639"/>
                  </a:lnTo>
                  <a:lnTo>
                    <a:pt x="0" y="0"/>
                  </a:lnTo>
                  <a:lnTo>
                    <a:pt x="21600" y="5271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4" name="Shape 1425"/>
            <p:cNvSpPr/>
            <p:nvPr/>
          </p:nvSpPr>
          <p:spPr>
            <a:xfrm>
              <a:off x="979458" y="1139285"/>
              <a:ext cx="271717" cy="183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2" h="21600" extrusionOk="0">
                  <a:moveTo>
                    <a:pt x="21490" y="0"/>
                  </a:moveTo>
                  <a:cubicBezTo>
                    <a:pt x="21600" y="271"/>
                    <a:pt x="21600" y="597"/>
                    <a:pt x="21490" y="1357"/>
                  </a:cubicBezTo>
                  <a:lnTo>
                    <a:pt x="21490" y="0"/>
                  </a:lnTo>
                  <a:close/>
                  <a:moveTo>
                    <a:pt x="21490" y="8738"/>
                  </a:moveTo>
                  <a:lnTo>
                    <a:pt x="21490" y="8846"/>
                  </a:lnTo>
                  <a:cubicBezTo>
                    <a:pt x="21490" y="9172"/>
                    <a:pt x="21490" y="9497"/>
                    <a:pt x="21416" y="9660"/>
                  </a:cubicBezTo>
                  <a:cubicBezTo>
                    <a:pt x="21416" y="9769"/>
                    <a:pt x="21416" y="9769"/>
                    <a:pt x="21306" y="9932"/>
                  </a:cubicBezTo>
                  <a:cubicBezTo>
                    <a:pt x="21195" y="10257"/>
                    <a:pt x="21195" y="10420"/>
                    <a:pt x="21195" y="10529"/>
                  </a:cubicBezTo>
                  <a:lnTo>
                    <a:pt x="21195" y="10691"/>
                  </a:lnTo>
                  <a:cubicBezTo>
                    <a:pt x="21085" y="10854"/>
                    <a:pt x="21085" y="11017"/>
                    <a:pt x="20974" y="11180"/>
                  </a:cubicBezTo>
                  <a:cubicBezTo>
                    <a:pt x="20864" y="11343"/>
                    <a:pt x="20864" y="11451"/>
                    <a:pt x="20864" y="11614"/>
                  </a:cubicBezTo>
                  <a:cubicBezTo>
                    <a:pt x="20864" y="11614"/>
                    <a:pt x="20864" y="11777"/>
                    <a:pt x="20790" y="11777"/>
                  </a:cubicBezTo>
                  <a:cubicBezTo>
                    <a:pt x="20680" y="12103"/>
                    <a:pt x="20459" y="12374"/>
                    <a:pt x="20349" y="12699"/>
                  </a:cubicBezTo>
                  <a:cubicBezTo>
                    <a:pt x="20349" y="12862"/>
                    <a:pt x="20275" y="12862"/>
                    <a:pt x="20275" y="13025"/>
                  </a:cubicBezTo>
                  <a:lnTo>
                    <a:pt x="20165" y="13134"/>
                  </a:lnTo>
                  <a:cubicBezTo>
                    <a:pt x="19944" y="13459"/>
                    <a:pt x="19834" y="13785"/>
                    <a:pt x="19650" y="13948"/>
                  </a:cubicBezTo>
                  <a:lnTo>
                    <a:pt x="19429" y="14219"/>
                  </a:lnTo>
                  <a:lnTo>
                    <a:pt x="19208" y="14545"/>
                  </a:lnTo>
                  <a:lnTo>
                    <a:pt x="19024" y="14870"/>
                  </a:lnTo>
                  <a:cubicBezTo>
                    <a:pt x="18803" y="15142"/>
                    <a:pt x="18583" y="15305"/>
                    <a:pt x="18399" y="15630"/>
                  </a:cubicBezTo>
                  <a:cubicBezTo>
                    <a:pt x="18288" y="15739"/>
                    <a:pt x="18067" y="15902"/>
                    <a:pt x="17957" y="16064"/>
                  </a:cubicBezTo>
                  <a:cubicBezTo>
                    <a:pt x="17663" y="16390"/>
                    <a:pt x="17442" y="16553"/>
                    <a:pt x="17148" y="16824"/>
                  </a:cubicBezTo>
                  <a:cubicBezTo>
                    <a:pt x="17037" y="16987"/>
                    <a:pt x="16927" y="16987"/>
                    <a:pt x="16816" y="17150"/>
                  </a:cubicBezTo>
                  <a:cubicBezTo>
                    <a:pt x="16743" y="17313"/>
                    <a:pt x="16632" y="17313"/>
                    <a:pt x="16632" y="17421"/>
                  </a:cubicBezTo>
                  <a:cubicBezTo>
                    <a:pt x="16007" y="18072"/>
                    <a:pt x="15381" y="18507"/>
                    <a:pt x="14645" y="18832"/>
                  </a:cubicBezTo>
                  <a:lnTo>
                    <a:pt x="14535" y="18832"/>
                  </a:lnTo>
                  <a:cubicBezTo>
                    <a:pt x="13909" y="19266"/>
                    <a:pt x="13210" y="19592"/>
                    <a:pt x="12585" y="19918"/>
                  </a:cubicBezTo>
                  <a:cubicBezTo>
                    <a:pt x="12474" y="19918"/>
                    <a:pt x="12474" y="19918"/>
                    <a:pt x="12364" y="20026"/>
                  </a:cubicBezTo>
                  <a:cubicBezTo>
                    <a:pt x="12070" y="20189"/>
                    <a:pt x="11628" y="20352"/>
                    <a:pt x="11334" y="20515"/>
                  </a:cubicBezTo>
                  <a:cubicBezTo>
                    <a:pt x="11223" y="20677"/>
                    <a:pt x="11113" y="20677"/>
                    <a:pt x="10929" y="20677"/>
                  </a:cubicBezTo>
                  <a:cubicBezTo>
                    <a:pt x="10598" y="20840"/>
                    <a:pt x="10303" y="20949"/>
                    <a:pt x="9972" y="20949"/>
                  </a:cubicBezTo>
                  <a:cubicBezTo>
                    <a:pt x="9862" y="20949"/>
                    <a:pt x="9751" y="20949"/>
                    <a:pt x="9751" y="21112"/>
                  </a:cubicBezTo>
                  <a:lnTo>
                    <a:pt x="9678" y="21112"/>
                  </a:lnTo>
                  <a:cubicBezTo>
                    <a:pt x="9236" y="21274"/>
                    <a:pt x="8721" y="21274"/>
                    <a:pt x="8316" y="21437"/>
                  </a:cubicBezTo>
                  <a:lnTo>
                    <a:pt x="7911" y="21437"/>
                  </a:lnTo>
                  <a:cubicBezTo>
                    <a:pt x="7691" y="21437"/>
                    <a:pt x="7470" y="21600"/>
                    <a:pt x="7175" y="21600"/>
                  </a:cubicBezTo>
                  <a:lnTo>
                    <a:pt x="5299" y="21600"/>
                  </a:lnTo>
                  <a:cubicBezTo>
                    <a:pt x="5188" y="21600"/>
                    <a:pt x="5078" y="21600"/>
                    <a:pt x="4894" y="21437"/>
                  </a:cubicBezTo>
                  <a:lnTo>
                    <a:pt x="4563" y="21437"/>
                  </a:lnTo>
                  <a:cubicBezTo>
                    <a:pt x="4379" y="21437"/>
                    <a:pt x="4158" y="21274"/>
                    <a:pt x="3937" y="21274"/>
                  </a:cubicBezTo>
                  <a:lnTo>
                    <a:pt x="3864" y="21274"/>
                  </a:lnTo>
                  <a:cubicBezTo>
                    <a:pt x="3643" y="21274"/>
                    <a:pt x="3422" y="21112"/>
                    <a:pt x="3312" y="21112"/>
                  </a:cubicBezTo>
                  <a:lnTo>
                    <a:pt x="3238" y="21112"/>
                  </a:lnTo>
                  <a:cubicBezTo>
                    <a:pt x="3128" y="21112"/>
                    <a:pt x="3017" y="20949"/>
                    <a:pt x="2907" y="20949"/>
                  </a:cubicBezTo>
                  <a:cubicBezTo>
                    <a:pt x="2797" y="20949"/>
                    <a:pt x="2723" y="20840"/>
                    <a:pt x="2613" y="20840"/>
                  </a:cubicBezTo>
                  <a:lnTo>
                    <a:pt x="2502" y="20840"/>
                  </a:lnTo>
                  <a:cubicBezTo>
                    <a:pt x="2171" y="20677"/>
                    <a:pt x="1987" y="20515"/>
                    <a:pt x="1766" y="20352"/>
                  </a:cubicBezTo>
                  <a:cubicBezTo>
                    <a:pt x="515" y="19266"/>
                    <a:pt x="0" y="17910"/>
                    <a:pt x="0" y="16227"/>
                  </a:cubicBezTo>
                  <a:lnTo>
                    <a:pt x="0" y="7489"/>
                  </a:lnTo>
                  <a:cubicBezTo>
                    <a:pt x="0" y="9172"/>
                    <a:pt x="626" y="10529"/>
                    <a:pt x="1766" y="11614"/>
                  </a:cubicBezTo>
                  <a:cubicBezTo>
                    <a:pt x="1987" y="11777"/>
                    <a:pt x="2281" y="11940"/>
                    <a:pt x="2502" y="12103"/>
                  </a:cubicBezTo>
                  <a:cubicBezTo>
                    <a:pt x="2613" y="12265"/>
                    <a:pt x="2723" y="12265"/>
                    <a:pt x="2907" y="12265"/>
                  </a:cubicBezTo>
                  <a:cubicBezTo>
                    <a:pt x="3017" y="12265"/>
                    <a:pt x="3128" y="12374"/>
                    <a:pt x="3238" y="12374"/>
                  </a:cubicBezTo>
                  <a:cubicBezTo>
                    <a:pt x="3422" y="12537"/>
                    <a:pt x="3643" y="12537"/>
                    <a:pt x="3864" y="12699"/>
                  </a:cubicBezTo>
                  <a:lnTo>
                    <a:pt x="3937" y="12699"/>
                  </a:lnTo>
                  <a:cubicBezTo>
                    <a:pt x="4158" y="12862"/>
                    <a:pt x="4489" y="12862"/>
                    <a:pt x="4673" y="12862"/>
                  </a:cubicBezTo>
                  <a:lnTo>
                    <a:pt x="4894" y="12862"/>
                  </a:lnTo>
                  <a:cubicBezTo>
                    <a:pt x="5078" y="12862"/>
                    <a:pt x="5299" y="13025"/>
                    <a:pt x="5409" y="13025"/>
                  </a:cubicBezTo>
                  <a:lnTo>
                    <a:pt x="7065" y="13025"/>
                  </a:lnTo>
                  <a:cubicBezTo>
                    <a:pt x="7286" y="13025"/>
                    <a:pt x="7470" y="13025"/>
                    <a:pt x="7801" y="12862"/>
                  </a:cubicBezTo>
                  <a:lnTo>
                    <a:pt x="8206" y="12862"/>
                  </a:lnTo>
                  <a:cubicBezTo>
                    <a:pt x="8611" y="12699"/>
                    <a:pt x="9163" y="12699"/>
                    <a:pt x="9567" y="12537"/>
                  </a:cubicBezTo>
                  <a:cubicBezTo>
                    <a:pt x="9678" y="12537"/>
                    <a:pt x="9751" y="12537"/>
                    <a:pt x="9862" y="12374"/>
                  </a:cubicBezTo>
                  <a:cubicBezTo>
                    <a:pt x="10193" y="12265"/>
                    <a:pt x="10487" y="12265"/>
                    <a:pt x="10818" y="12103"/>
                  </a:cubicBezTo>
                  <a:cubicBezTo>
                    <a:pt x="10929" y="11940"/>
                    <a:pt x="11002" y="11940"/>
                    <a:pt x="11223" y="11940"/>
                  </a:cubicBezTo>
                  <a:cubicBezTo>
                    <a:pt x="11518" y="11777"/>
                    <a:pt x="11959" y="11614"/>
                    <a:pt x="12253" y="11451"/>
                  </a:cubicBezTo>
                  <a:cubicBezTo>
                    <a:pt x="12364" y="11451"/>
                    <a:pt x="12364" y="11451"/>
                    <a:pt x="12474" y="11343"/>
                  </a:cubicBezTo>
                  <a:cubicBezTo>
                    <a:pt x="13100" y="11017"/>
                    <a:pt x="13836" y="10691"/>
                    <a:pt x="14425" y="10257"/>
                  </a:cubicBezTo>
                  <a:lnTo>
                    <a:pt x="14535" y="10257"/>
                  </a:lnTo>
                  <a:cubicBezTo>
                    <a:pt x="15160" y="9769"/>
                    <a:pt x="15896" y="9335"/>
                    <a:pt x="16522" y="8846"/>
                  </a:cubicBezTo>
                  <a:cubicBezTo>
                    <a:pt x="16743" y="8738"/>
                    <a:pt x="16816" y="8575"/>
                    <a:pt x="17037" y="8412"/>
                  </a:cubicBezTo>
                  <a:cubicBezTo>
                    <a:pt x="17332" y="8086"/>
                    <a:pt x="17552" y="7978"/>
                    <a:pt x="17883" y="7652"/>
                  </a:cubicBezTo>
                  <a:cubicBezTo>
                    <a:pt x="17957" y="7489"/>
                    <a:pt x="18178" y="7327"/>
                    <a:pt x="18288" y="7164"/>
                  </a:cubicBezTo>
                  <a:cubicBezTo>
                    <a:pt x="18509" y="6892"/>
                    <a:pt x="18693" y="6730"/>
                    <a:pt x="18914" y="6404"/>
                  </a:cubicBezTo>
                  <a:cubicBezTo>
                    <a:pt x="19024" y="6241"/>
                    <a:pt x="19208" y="6133"/>
                    <a:pt x="19319" y="5970"/>
                  </a:cubicBezTo>
                  <a:lnTo>
                    <a:pt x="19539" y="5644"/>
                  </a:lnTo>
                  <a:cubicBezTo>
                    <a:pt x="19723" y="5373"/>
                    <a:pt x="19834" y="5047"/>
                    <a:pt x="20055" y="4884"/>
                  </a:cubicBezTo>
                  <a:cubicBezTo>
                    <a:pt x="20165" y="4884"/>
                    <a:pt x="20165" y="4722"/>
                    <a:pt x="20165" y="4722"/>
                  </a:cubicBezTo>
                  <a:lnTo>
                    <a:pt x="20349" y="4450"/>
                  </a:lnTo>
                  <a:cubicBezTo>
                    <a:pt x="20459" y="4125"/>
                    <a:pt x="20680" y="3799"/>
                    <a:pt x="20790" y="3528"/>
                  </a:cubicBezTo>
                  <a:cubicBezTo>
                    <a:pt x="20864" y="3365"/>
                    <a:pt x="20864" y="3202"/>
                    <a:pt x="20974" y="2876"/>
                  </a:cubicBezTo>
                  <a:cubicBezTo>
                    <a:pt x="21085" y="2768"/>
                    <a:pt x="21085" y="2605"/>
                    <a:pt x="21195" y="2442"/>
                  </a:cubicBezTo>
                  <a:cubicBezTo>
                    <a:pt x="21306" y="2117"/>
                    <a:pt x="21306" y="1954"/>
                    <a:pt x="21416" y="1682"/>
                  </a:cubicBezTo>
                  <a:cubicBezTo>
                    <a:pt x="21416" y="1520"/>
                    <a:pt x="21490" y="1520"/>
                    <a:pt x="21490" y="1357"/>
                  </a:cubicBezTo>
                  <a:lnTo>
                    <a:pt x="21490" y="8738"/>
                  </a:lnTo>
                  <a:close/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5" name="Shape 1426"/>
            <p:cNvSpPr/>
            <p:nvPr/>
          </p:nvSpPr>
          <p:spPr>
            <a:xfrm>
              <a:off x="723323" y="1153629"/>
              <a:ext cx="224936" cy="2064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7850"/>
                  </a:lnTo>
                  <a:lnTo>
                    <a:pt x="0" y="21600"/>
                  </a:lnTo>
                  <a:lnTo>
                    <a:pt x="0" y="13750"/>
                  </a:lnTo>
                  <a:lnTo>
                    <a:pt x="21600" y="0"/>
                  </a:lnTo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6" name="Shape 1427"/>
            <p:cNvSpPr/>
            <p:nvPr/>
          </p:nvSpPr>
          <p:spPr>
            <a:xfrm>
              <a:off x="461042" y="1133138"/>
              <a:ext cx="261819" cy="2249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4430"/>
                  </a:moveTo>
                  <a:lnTo>
                    <a:pt x="21600" y="21600"/>
                  </a:lnTo>
                  <a:lnTo>
                    <a:pt x="0" y="7037"/>
                  </a:lnTo>
                  <a:lnTo>
                    <a:pt x="115" y="0"/>
                  </a:lnTo>
                  <a:lnTo>
                    <a:pt x="21600" y="14430"/>
                  </a:ln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7" name="Shape 1428"/>
            <p:cNvSpPr/>
            <p:nvPr/>
          </p:nvSpPr>
          <p:spPr>
            <a:xfrm>
              <a:off x="57374" y="559397"/>
              <a:ext cx="1251521" cy="7249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24" y="19457"/>
                  </a:moveTo>
                  <a:cubicBezTo>
                    <a:pt x="18458" y="20508"/>
                    <a:pt x="17007" y="20826"/>
                    <a:pt x="16286" y="20120"/>
                  </a:cubicBezTo>
                  <a:cubicBezTo>
                    <a:pt x="15877" y="19692"/>
                    <a:pt x="15789" y="19069"/>
                    <a:pt x="16014" y="18364"/>
                  </a:cubicBezTo>
                  <a:lnTo>
                    <a:pt x="15332" y="17700"/>
                  </a:lnTo>
                  <a:lnTo>
                    <a:pt x="11445" y="21600"/>
                  </a:lnTo>
                  <a:lnTo>
                    <a:pt x="6925" y="17106"/>
                  </a:lnTo>
                  <a:lnTo>
                    <a:pt x="7574" y="16456"/>
                  </a:lnTo>
                  <a:cubicBezTo>
                    <a:pt x="8279" y="16677"/>
                    <a:pt x="8937" y="16608"/>
                    <a:pt x="9345" y="16179"/>
                  </a:cubicBezTo>
                  <a:cubicBezTo>
                    <a:pt x="10067" y="15474"/>
                    <a:pt x="9746" y="13994"/>
                    <a:pt x="8688" y="12943"/>
                  </a:cubicBezTo>
                  <a:cubicBezTo>
                    <a:pt x="7598" y="11879"/>
                    <a:pt x="6155" y="11574"/>
                    <a:pt x="5450" y="12280"/>
                  </a:cubicBezTo>
                  <a:cubicBezTo>
                    <a:pt x="5041" y="12708"/>
                    <a:pt x="4977" y="13372"/>
                    <a:pt x="5178" y="14036"/>
                  </a:cubicBezTo>
                  <a:lnTo>
                    <a:pt x="4520" y="14700"/>
                  </a:lnTo>
                  <a:lnTo>
                    <a:pt x="0" y="10205"/>
                  </a:lnTo>
                  <a:lnTo>
                    <a:pt x="3887" y="6320"/>
                  </a:lnTo>
                  <a:lnTo>
                    <a:pt x="3214" y="5656"/>
                  </a:lnTo>
                  <a:cubicBezTo>
                    <a:pt x="2509" y="5891"/>
                    <a:pt x="1851" y="5808"/>
                    <a:pt x="1451" y="5379"/>
                  </a:cubicBezTo>
                  <a:cubicBezTo>
                    <a:pt x="721" y="4674"/>
                    <a:pt x="1018" y="3194"/>
                    <a:pt x="2084" y="2143"/>
                  </a:cubicBezTo>
                  <a:cubicBezTo>
                    <a:pt x="3142" y="1092"/>
                    <a:pt x="4593" y="774"/>
                    <a:pt x="5314" y="1480"/>
                  </a:cubicBezTo>
                  <a:cubicBezTo>
                    <a:pt x="5723" y="1908"/>
                    <a:pt x="5811" y="2572"/>
                    <a:pt x="5586" y="3236"/>
                  </a:cubicBezTo>
                  <a:lnTo>
                    <a:pt x="6268" y="3900"/>
                  </a:lnTo>
                  <a:lnTo>
                    <a:pt x="10155" y="0"/>
                  </a:lnTo>
                  <a:lnTo>
                    <a:pt x="14683" y="4480"/>
                  </a:lnTo>
                  <a:lnTo>
                    <a:pt x="14026" y="5144"/>
                  </a:lnTo>
                  <a:cubicBezTo>
                    <a:pt x="13321" y="4909"/>
                    <a:pt x="12663" y="4992"/>
                    <a:pt x="12263" y="5421"/>
                  </a:cubicBezTo>
                  <a:cubicBezTo>
                    <a:pt x="11557" y="6126"/>
                    <a:pt x="11854" y="7606"/>
                    <a:pt x="12912" y="8643"/>
                  </a:cubicBezTo>
                  <a:cubicBezTo>
                    <a:pt x="14002" y="9694"/>
                    <a:pt x="15453" y="10012"/>
                    <a:pt x="16150" y="9307"/>
                  </a:cubicBezTo>
                  <a:cubicBezTo>
                    <a:pt x="16559" y="8878"/>
                    <a:pt x="16623" y="8256"/>
                    <a:pt x="16422" y="7564"/>
                  </a:cubicBezTo>
                  <a:lnTo>
                    <a:pt x="17080" y="6900"/>
                  </a:lnTo>
                  <a:lnTo>
                    <a:pt x="21600" y="11381"/>
                  </a:lnTo>
                  <a:lnTo>
                    <a:pt x="17713" y="15280"/>
                  </a:lnTo>
                  <a:lnTo>
                    <a:pt x="18386" y="15944"/>
                  </a:lnTo>
                  <a:cubicBezTo>
                    <a:pt x="19091" y="15709"/>
                    <a:pt x="19749" y="15792"/>
                    <a:pt x="20157" y="16221"/>
                  </a:cubicBezTo>
                  <a:cubicBezTo>
                    <a:pt x="20903" y="16912"/>
                    <a:pt x="20606" y="18406"/>
                    <a:pt x="19524" y="19457"/>
                  </a:cubicBezTo>
                </a:path>
              </a:pathLst>
            </a:custGeom>
            <a:solidFill>
              <a:srgbClr val="FAFFE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8" name="Shape 1429"/>
            <p:cNvSpPr/>
            <p:nvPr/>
          </p:nvSpPr>
          <p:spPr>
            <a:xfrm>
              <a:off x="1309359" y="1565493"/>
              <a:ext cx="34364" cy="487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8514"/>
                  </a:moveTo>
                  <a:lnTo>
                    <a:pt x="0" y="15634"/>
                  </a:lnTo>
                  <a:cubicBezTo>
                    <a:pt x="0" y="15634"/>
                    <a:pt x="5918" y="12754"/>
                    <a:pt x="5030" y="6994"/>
                  </a:cubicBezTo>
                  <a:cubicBezTo>
                    <a:pt x="5030" y="1234"/>
                    <a:pt x="11540" y="0"/>
                    <a:pt x="11540" y="0"/>
                  </a:cubicBezTo>
                  <a:lnTo>
                    <a:pt x="16570" y="2263"/>
                  </a:lnTo>
                  <a:lnTo>
                    <a:pt x="21600" y="11726"/>
                  </a:lnTo>
                  <a:lnTo>
                    <a:pt x="8581" y="21600"/>
                  </a:lnTo>
                  <a:lnTo>
                    <a:pt x="0" y="18514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9" name="Shape 1430"/>
            <p:cNvSpPr/>
            <p:nvPr/>
          </p:nvSpPr>
          <p:spPr>
            <a:xfrm>
              <a:off x="1298343" y="1561395"/>
              <a:ext cx="63828" cy="610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76" h="21600" extrusionOk="0">
                  <a:moveTo>
                    <a:pt x="9913" y="4710"/>
                  </a:moveTo>
                  <a:cubicBezTo>
                    <a:pt x="9450" y="974"/>
                    <a:pt x="13307" y="0"/>
                    <a:pt x="13307" y="0"/>
                  </a:cubicBezTo>
                  <a:cubicBezTo>
                    <a:pt x="13307" y="0"/>
                    <a:pt x="17319" y="2111"/>
                    <a:pt x="18553" y="5197"/>
                  </a:cubicBezTo>
                  <a:cubicBezTo>
                    <a:pt x="19942" y="8445"/>
                    <a:pt x="19942" y="11044"/>
                    <a:pt x="21176" y="12830"/>
                  </a:cubicBezTo>
                  <a:lnTo>
                    <a:pt x="17627" y="15266"/>
                  </a:lnTo>
                  <a:lnTo>
                    <a:pt x="15467" y="13805"/>
                  </a:lnTo>
                  <a:cubicBezTo>
                    <a:pt x="15467" y="13805"/>
                    <a:pt x="15467" y="15591"/>
                    <a:pt x="13770" y="17540"/>
                  </a:cubicBezTo>
                  <a:cubicBezTo>
                    <a:pt x="12073" y="19326"/>
                    <a:pt x="3896" y="21600"/>
                    <a:pt x="3896" y="21600"/>
                  </a:cubicBezTo>
                  <a:cubicBezTo>
                    <a:pt x="3896" y="21600"/>
                    <a:pt x="502" y="21113"/>
                    <a:pt x="39" y="18839"/>
                  </a:cubicBezTo>
                  <a:cubicBezTo>
                    <a:pt x="-424" y="16078"/>
                    <a:pt x="3433" y="13317"/>
                    <a:pt x="3433" y="13317"/>
                  </a:cubicBezTo>
                  <a:cubicBezTo>
                    <a:pt x="3433" y="13317"/>
                    <a:pt x="5285" y="16078"/>
                    <a:pt x="7445" y="14292"/>
                  </a:cubicBezTo>
                  <a:cubicBezTo>
                    <a:pt x="8987" y="12830"/>
                    <a:pt x="10685" y="7795"/>
                    <a:pt x="9913" y="4710"/>
                  </a:cubicBezTo>
                </a:path>
              </a:pathLst>
            </a:custGeom>
            <a:solidFill>
              <a:srgbClr val="6F7C76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0" name="Shape 1431"/>
            <p:cNvSpPr/>
            <p:nvPr/>
          </p:nvSpPr>
          <p:spPr>
            <a:xfrm>
              <a:off x="1139285" y="1609980"/>
              <a:ext cx="42564" cy="390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9821" extrusionOk="0">
                  <a:moveTo>
                    <a:pt x="0" y="13175"/>
                  </a:moveTo>
                  <a:lnTo>
                    <a:pt x="2136" y="10326"/>
                  </a:lnTo>
                  <a:cubicBezTo>
                    <a:pt x="2136" y="10326"/>
                    <a:pt x="7596" y="10326"/>
                    <a:pt x="10919" y="4392"/>
                  </a:cubicBezTo>
                  <a:cubicBezTo>
                    <a:pt x="14242" y="-1779"/>
                    <a:pt x="19464" y="357"/>
                    <a:pt x="19464" y="357"/>
                  </a:cubicBezTo>
                  <a:lnTo>
                    <a:pt x="21600" y="5105"/>
                  </a:lnTo>
                  <a:lnTo>
                    <a:pt x="18989" y="16498"/>
                  </a:lnTo>
                  <a:lnTo>
                    <a:pt x="4035" y="19821"/>
                  </a:lnTo>
                  <a:lnTo>
                    <a:pt x="0" y="13175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1" name="Shape 1432"/>
            <p:cNvSpPr/>
            <p:nvPr/>
          </p:nvSpPr>
          <p:spPr>
            <a:xfrm>
              <a:off x="1127130" y="1615586"/>
              <a:ext cx="69245" cy="443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04" h="19663" extrusionOk="0">
                  <a:moveTo>
                    <a:pt x="14120" y="2632"/>
                  </a:moveTo>
                  <a:cubicBezTo>
                    <a:pt x="14803" y="-1314"/>
                    <a:pt x="18768" y="348"/>
                    <a:pt x="18768" y="348"/>
                  </a:cubicBezTo>
                  <a:cubicBezTo>
                    <a:pt x="18768" y="348"/>
                    <a:pt x="20955" y="5748"/>
                    <a:pt x="20271" y="9694"/>
                  </a:cubicBezTo>
                  <a:cubicBezTo>
                    <a:pt x="19451" y="13848"/>
                    <a:pt x="17947" y="16755"/>
                    <a:pt x="18358" y="19663"/>
                  </a:cubicBezTo>
                  <a:lnTo>
                    <a:pt x="14803" y="19663"/>
                  </a:lnTo>
                  <a:lnTo>
                    <a:pt x="14120" y="16755"/>
                  </a:lnTo>
                  <a:cubicBezTo>
                    <a:pt x="14120" y="16755"/>
                    <a:pt x="13299" y="18001"/>
                    <a:pt x="10975" y="19040"/>
                  </a:cubicBezTo>
                  <a:cubicBezTo>
                    <a:pt x="8651" y="20286"/>
                    <a:pt x="1679" y="16132"/>
                    <a:pt x="1679" y="16132"/>
                  </a:cubicBezTo>
                  <a:cubicBezTo>
                    <a:pt x="1679" y="16132"/>
                    <a:pt x="-645" y="12601"/>
                    <a:pt x="175" y="9694"/>
                  </a:cubicBezTo>
                  <a:cubicBezTo>
                    <a:pt x="996" y="6786"/>
                    <a:pt x="5233" y="6786"/>
                    <a:pt x="5233" y="6786"/>
                  </a:cubicBezTo>
                  <a:cubicBezTo>
                    <a:pt x="5233" y="6786"/>
                    <a:pt x="5233" y="10940"/>
                    <a:pt x="7558" y="10940"/>
                  </a:cubicBezTo>
                  <a:cubicBezTo>
                    <a:pt x="9882" y="10940"/>
                    <a:pt x="12889" y="6786"/>
                    <a:pt x="14120" y="2632"/>
                  </a:cubicBezTo>
                </a:path>
              </a:pathLst>
            </a:custGeom>
            <a:solidFill>
              <a:srgbClr val="6F7C76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2" name="Shape 1433"/>
            <p:cNvSpPr/>
            <p:nvPr/>
          </p:nvSpPr>
          <p:spPr>
            <a:xfrm>
              <a:off x="1234429" y="1333948"/>
              <a:ext cx="113397" cy="2513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90" h="21064" extrusionOk="0">
                  <a:moveTo>
                    <a:pt x="2321" y="2098"/>
                  </a:moveTo>
                  <a:lnTo>
                    <a:pt x="10740" y="0"/>
                  </a:lnTo>
                  <a:cubicBezTo>
                    <a:pt x="10740" y="0"/>
                    <a:pt x="14567" y="2331"/>
                    <a:pt x="12101" y="4196"/>
                  </a:cubicBezTo>
                  <a:cubicBezTo>
                    <a:pt x="9975" y="5711"/>
                    <a:pt x="10230" y="8896"/>
                    <a:pt x="10230" y="9557"/>
                  </a:cubicBezTo>
                  <a:cubicBezTo>
                    <a:pt x="10230" y="9557"/>
                    <a:pt x="11676" y="10528"/>
                    <a:pt x="12866" y="11732"/>
                  </a:cubicBezTo>
                  <a:cubicBezTo>
                    <a:pt x="14057" y="12937"/>
                    <a:pt x="19244" y="18647"/>
                    <a:pt x="20690" y="19424"/>
                  </a:cubicBezTo>
                  <a:cubicBezTo>
                    <a:pt x="20690" y="19424"/>
                    <a:pt x="17373" y="21600"/>
                    <a:pt x="14567" y="20940"/>
                  </a:cubicBezTo>
                  <a:cubicBezTo>
                    <a:pt x="14567" y="20940"/>
                    <a:pt x="3427" y="12859"/>
                    <a:pt x="1301" y="11965"/>
                  </a:cubicBezTo>
                  <a:cubicBezTo>
                    <a:pt x="-910" y="11072"/>
                    <a:pt x="366" y="4740"/>
                    <a:pt x="366" y="4740"/>
                  </a:cubicBezTo>
                  <a:lnTo>
                    <a:pt x="2321" y="2098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3" name="Shape 1434"/>
            <p:cNvSpPr/>
            <p:nvPr/>
          </p:nvSpPr>
          <p:spPr>
            <a:xfrm>
              <a:off x="1158191" y="1350197"/>
              <a:ext cx="105562" cy="2719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951" h="19936" extrusionOk="0">
                  <a:moveTo>
                    <a:pt x="19369" y="563"/>
                  </a:moveTo>
                  <a:cubicBezTo>
                    <a:pt x="21125" y="2604"/>
                    <a:pt x="18579" y="4611"/>
                    <a:pt x="16120" y="5189"/>
                  </a:cubicBezTo>
                  <a:cubicBezTo>
                    <a:pt x="13662" y="5767"/>
                    <a:pt x="8920" y="9407"/>
                    <a:pt x="8920" y="9407"/>
                  </a:cubicBezTo>
                  <a:cubicBezTo>
                    <a:pt x="9974" y="11414"/>
                    <a:pt x="7954" y="16210"/>
                    <a:pt x="6988" y="17469"/>
                  </a:cubicBezTo>
                  <a:cubicBezTo>
                    <a:pt x="6023" y="18795"/>
                    <a:pt x="6725" y="19782"/>
                    <a:pt x="6725" y="19782"/>
                  </a:cubicBezTo>
                  <a:cubicBezTo>
                    <a:pt x="4003" y="20258"/>
                    <a:pt x="52" y="19476"/>
                    <a:pt x="52" y="19476"/>
                  </a:cubicBezTo>
                  <a:cubicBezTo>
                    <a:pt x="52" y="19476"/>
                    <a:pt x="315" y="16108"/>
                    <a:pt x="315" y="13931"/>
                  </a:cubicBezTo>
                  <a:cubicBezTo>
                    <a:pt x="491" y="11618"/>
                    <a:pt x="-475" y="9611"/>
                    <a:pt x="315" y="8046"/>
                  </a:cubicBezTo>
                  <a:cubicBezTo>
                    <a:pt x="1018" y="6618"/>
                    <a:pt x="6198" y="2196"/>
                    <a:pt x="6198" y="2196"/>
                  </a:cubicBezTo>
                  <a:cubicBezTo>
                    <a:pt x="6198" y="2196"/>
                    <a:pt x="17613" y="-1342"/>
                    <a:pt x="19369" y="563"/>
                  </a:cubicBezTo>
                </a:path>
              </a:pathLst>
            </a:custGeom>
            <a:solidFill>
              <a:srgbClr val="52858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4" name="Shape 1435"/>
            <p:cNvSpPr/>
            <p:nvPr/>
          </p:nvSpPr>
          <p:spPr>
            <a:xfrm>
              <a:off x="1233543" y="1180267"/>
              <a:ext cx="26172" cy="220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6300"/>
                  </a:moveTo>
                  <a:lnTo>
                    <a:pt x="18514" y="0"/>
                  </a:lnTo>
                  <a:lnTo>
                    <a:pt x="21600" y="16650"/>
                  </a:lnTo>
                  <a:lnTo>
                    <a:pt x="1157" y="21600"/>
                  </a:lnTo>
                  <a:lnTo>
                    <a:pt x="0" y="6300"/>
                  </a:lnTo>
                </a:path>
              </a:pathLst>
            </a:custGeom>
            <a:solidFill>
              <a:srgbClr val="FFFF7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5" name="Shape 1436"/>
            <p:cNvSpPr/>
            <p:nvPr/>
          </p:nvSpPr>
          <p:spPr>
            <a:xfrm>
              <a:off x="1192848" y="1194611"/>
              <a:ext cx="114000" cy="1942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46" h="19922" extrusionOk="0">
                  <a:moveTo>
                    <a:pt x="17871" y="10800"/>
                  </a:moveTo>
                  <a:cubicBezTo>
                    <a:pt x="17871" y="12425"/>
                    <a:pt x="20446" y="16726"/>
                    <a:pt x="20446" y="16726"/>
                  </a:cubicBezTo>
                  <a:cubicBezTo>
                    <a:pt x="15295" y="21600"/>
                    <a:pt x="923" y="19450"/>
                    <a:pt x="923" y="19450"/>
                  </a:cubicBezTo>
                  <a:cubicBezTo>
                    <a:pt x="923" y="19450"/>
                    <a:pt x="-1154" y="19688"/>
                    <a:pt x="923" y="17825"/>
                  </a:cubicBezTo>
                  <a:cubicBezTo>
                    <a:pt x="3083" y="16057"/>
                    <a:pt x="4911" y="11612"/>
                    <a:pt x="2834" y="7168"/>
                  </a:cubicBezTo>
                  <a:cubicBezTo>
                    <a:pt x="923" y="2724"/>
                    <a:pt x="923" y="4444"/>
                    <a:pt x="2335" y="2963"/>
                  </a:cubicBezTo>
                  <a:cubicBezTo>
                    <a:pt x="3581" y="1768"/>
                    <a:pt x="7569" y="0"/>
                    <a:pt x="11474" y="0"/>
                  </a:cubicBezTo>
                  <a:cubicBezTo>
                    <a:pt x="15711" y="0"/>
                    <a:pt x="18120" y="1912"/>
                    <a:pt x="18120" y="1912"/>
                  </a:cubicBezTo>
                  <a:cubicBezTo>
                    <a:pt x="18286" y="3393"/>
                    <a:pt x="17871" y="9175"/>
                    <a:pt x="17871" y="10800"/>
                  </a:cubicBezTo>
                </a:path>
              </a:pathLst>
            </a:custGeom>
            <a:solidFill>
              <a:srgbClr val="699A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6" name="Shape 1437"/>
            <p:cNvSpPr/>
            <p:nvPr/>
          </p:nvSpPr>
          <p:spPr>
            <a:xfrm>
              <a:off x="1115176" y="1212667"/>
              <a:ext cx="124217" cy="1147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15" h="19577" extrusionOk="0">
                  <a:moveTo>
                    <a:pt x="20021" y="5570"/>
                  </a:moveTo>
                  <a:cubicBezTo>
                    <a:pt x="18960" y="10034"/>
                    <a:pt x="17217" y="10512"/>
                    <a:pt x="16383" y="12026"/>
                  </a:cubicBezTo>
                  <a:cubicBezTo>
                    <a:pt x="13428" y="16968"/>
                    <a:pt x="11457" y="18562"/>
                    <a:pt x="5091" y="19518"/>
                  </a:cubicBezTo>
                  <a:cubicBezTo>
                    <a:pt x="2287" y="19917"/>
                    <a:pt x="-745" y="18163"/>
                    <a:pt x="164" y="17924"/>
                  </a:cubicBezTo>
                  <a:cubicBezTo>
                    <a:pt x="4863" y="16569"/>
                    <a:pt x="9790" y="13142"/>
                    <a:pt x="10396" y="10910"/>
                  </a:cubicBezTo>
                  <a:cubicBezTo>
                    <a:pt x="10623" y="10512"/>
                    <a:pt x="11912" y="8041"/>
                    <a:pt x="12367" y="7085"/>
                  </a:cubicBezTo>
                  <a:cubicBezTo>
                    <a:pt x="13200" y="5092"/>
                    <a:pt x="14489" y="-1683"/>
                    <a:pt x="18733" y="389"/>
                  </a:cubicBezTo>
                  <a:cubicBezTo>
                    <a:pt x="18733" y="389"/>
                    <a:pt x="20855" y="1505"/>
                    <a:pt x="20021" y="557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7" name="Shape 1438"/>
            <p:cNvSpPr/>
            <p:nvPr/>
          </p:nvSpPr>
          <p:spPr>
            <a:xfrm>
              <a:off x="1213717" y="1141334"/>
              <a:ext cx="45366" cy="552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860" h="19572" extrusionOk="0">
                  <a:moveTo>
                    <a:pt x="12202" y="0"/>
                  </a:moveTo>
                  <a:lnTo>
                    <a:pt x="17829" y="8182"/>
                  </a:lnTo>
                  <a:cubicBezTo>
                    <a:pt x="17829" y="8182"/>
                    <a:pt x="18918" y="21600"/>
                    <a:pt x="8209" y="19309"/>
                  </a:cubicBezTo>
                  <a:cubicBezTo>
                    <a:pt x="-2682" y="17018"/>
                    <a:pt x="404" y="2291"/>
                    <a:pt x="404" y="2291"/>
                  </a:cubicBezTo>
                  <a:lnTo>
                    <a:pt x="12202" y="0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8" name="Shape 1439"/>
            <p:cNvSpPr/>
            <p:nvPr/>
          </p:nvSpPr>
          <p:spPr>
            <a:xfrm>
              <a:off x="1213052" y="1105460"/>
              <a:ext cx="84202" cy="1541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48" h="19400" extrusionOk="0">
                  <a:moveTo>
                    <a:pt x="0" y="4869"/>
                  </a:moveTo>
                  <a:cubicBezTo>
                    <a:pt x="0" y="4694"/>
                    <a:pt x="0" y="432"/>
                    <a:pt x="7630" y="82"/>
                  </a:cubicBezTo>
                  <a:cubicBezTo>
                    <a:pt x="14322" y="-385"/>
                    <a:pt x="20896" y="1074"/>
                    <a:pt x="21248" y="6037"/>
                  </a:cubicBezTo>
                  <a:lnTo>
                    <a:pt x="21248" y="6854"/>
                  </a:lnTo>
                  <a:cubicBezTo>
                    <a:pt x="21248" y="7379"/>
                    <a:pt x="20896" y="7846"/>
                    <a:pt x="20543" y="8372"/>
                  </a:cubicBezTo>
                  <a:cubicBezTo>
                    <a:pt x="19252" y="11291"/>
                    <a:pt x="21600" y="17070"/>
                    <a:pt x="20896" y="17245"/>
                  </a:cubicBezTo>
                  <a:cubicBezTo>
                    <a:pt x="14909" y="17887"/>
                    <a:pt x="11270" y="21215"/>
                    <a:pt x="5635" y="18063"/>
                  </a:cubicBezTo>
                  <a:cubicBezTo>
                    <a:pt x="5400" y="17887"/>
                    <a:pt x="5635" y="16895"/>
                    <a:pt x="4696" y="13918"/>
                  </a:cubicBezTo>
                  <a:cubicBezTo>
                    <a:pt x="4696" y="13918"/>
                    <a:pt x="5400" y="12458"/>
                    <a:pt x="5635" y="11466"/>
                  </a:cubicBezTo>
                  <a:cubicBezTo>
                    <a:pt x="5400" y="11466"/>
                    <a:pt x="5400" y="11466"/>
                    <a:pt x="5400" y="11466"/>
                  </a:cubicBezTo>
                  <a:cubicBezTo>
                    <a:pt x="5400" y="11466"/>
                    <a:pt x="6691" y="9539"/>
                    <a:pt x="6691" y="8021"/>
                  </a:cubicBezTo>
                  <a:cubicBezTo>
                    <a:pt x="6691" y="6562"/>
                    <a:pt x="5400" y="5570"/>
                    <a:pt x="4343" y="7671"/>
                  </a:cubicBezTo>
                  <a:cubicBezTo>
                    <a:pt x="4343" y="7671"/>
                    <a:pt x="1057" y="6212"/>
                    <a:pt x="0" y="4869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9" name="Shape 1440"/>
            <p:cNvSpPr/>
            <p:nvPr/>
          </p:nvSpPr>
          <p:spPr>
            <a:xfrm>
              <a:off x="802996" y="1233322"/>
              <a:ext cx="16393" cy="163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900" y="2400"/>
                  </a:moveTo>
                  <a:cubicBezTo>
                    <a:pt x="18900" y="1200"/>
                    <a:pt x="20250" y="600"/>
                    <a:pt x="21600" y="0"/>
                  </a:cubicBezTo>
                  <a:cubicBezTo>
                    <a:pt x="21600" y="600"/>
                    <a:pt x="20250" y="1200"/>
                    <a:pt x="18900" y="2400"/>
                  </a:cubicBezTo>
                  <a:close/>
                  <a:moveTo>
                    <a:pt x="10800" y="10800"/>
                  </a:moveTo>
                  <a:lnTo>
                    <a:pt x="10800" y="9000"/>
                  </a:lnTo>
                  <a:cubicBezTo>
                    <a:pt x="14850" y="10800"/>
                    <a:pt x="10800" y="10800"/>
                    <a:pt x="10800" y="10800"/>
                  </a:cubicBezTo>
                  <a:close/>
                  <a:moveTo>
                    <a:pt x="2700" y="21000"/>
                  </a:moveTo>
                  <a:cubicBezTo>
                    <a:pt x="2700" y="21000"/>
                    <a:pt x="1350" y="21000"/>
                    <a:pt x="0" y="21600"/>
                  </a:cubicBezTo>
                  <a:cubicBezTo>
                    <a:pt x="1350" y="21000"/>
                    <a:pt x="1350" y="21000"/>
                    <a:pt x="2700" y="21000"/>
                  </a:cubicBezTo>
                  <a:close/>
                </a:path>
              </a:pathLst>
            </a:custGeom>
            <a:solidFill>
              <a:srgbClr val="C7FFD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0" name="Shape 1441"/>
            <p:cNvSpPr/>
            <p:nvPr/>
          </p:nvSpPr>
          <p:spPr>
            <a:xfrm>
              <a:off x="1550922" y="131140"/>
              <a:ext cx="16394" cy="2001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788" y="2571"/>
                  </a:moveTo>
                  <a:cubicBezTo>
                    <a:pt x="17788" y="1543"/>
                    <a:pt x="21600" y="1543"/>
                    <a:pt x="21600" y="0"/>
                  </a:cubicBezTo>
                  <a:cubicBezTo>
                    <a:pt x="21600" y="2057"/>
                    <a:pt x="20329" y="2571"/>
                    <a:pt x="17788" y="2571"/>
                  </a:cubicBezTo>
                  <a:close/>
                  <a:moveTo>
                    <a:pt x="10165" y="11314"/>
                  </a:moveTo>
                  <a:lnTo>
                    <a:pt x="10165" y="10286"/>
                  </a:lnTo>
                  <a:cubicBezTo>
                    <a:pt x="13976" y="10286"/>
                    <a:pt x="10165" y="11314"/>
                    <a:pt x="10165" y="11314"/>
                  </a:cubicBezTo>
                  <a:close/>
                  <a:moveTo>
                    <a:pt x="0" y="21600"/>
                  </a:moveTo>
                  <a:cubicBezTo>
                    <a:pt x="0" y="20057"/>
                    <a:pt x="0" y="20057"/>
                    <a:pt x="3812" y="20057"/>
                  </a:cubicBezTo>
                  <a:cubicBezTo>
                    <a:pt x="3812" y="20057"/>
                    <a:pt x="0" y="20057"/>
                    <a:pt x="0" y="21600"/>
                  </a:cubicBezTo>
                  <a:close/>
                </a:path>
              </a:pathLst>
            </a:custGeom>
            <a:solidFill>
              <a:srgbClr val="C7FFD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1" name="Shape 1442"/>
            <p:cNvSpPr/>
            <p:nvPr/>
          </p:nvSpPr>
          <p:spPr>
            <a:xfrm>
              <a:off x="1885510" y="247593"/>
              <a:ext cx="346809" cy="2011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5" extrusionOk="0">
                  <a:moveTo>
                    <a:pt x="2851" y="16804"/>
                  </a:moveTo>
                  <a:cubicBezTo>
                    <a:pt x="-951" y="12931"/>
                    <a:pt x="-951" y="6779"/>
                    <a:pt x="2851" y="2905"/>
                  </a:cubicBezTo>
                  <a:cubicBezTo>
                    <a:pt x="6707" y="-968"/>
                    <a:pt x="12912" y="-968"/>
                    <a:pt x="16767" y="2905"/>
                  </a:cubicBezTo>
                  <a:cubicBezTo>
                    <a:pt x="20649" y="6779"/>
                    <a:pt x="20649" y="12931"/>
                    <a:pt x="16767" y="16804"/>
                  </a:cubicBezTo>
                  <a:cubicBezTo>
                    <a:pt x="12912" y="20632"/>
                    <a:pt x="6707" y="20632"/>
                    <a:pt x="2851" y="16804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2" name="Shape 1443"/>
            <p:cNvSpPr/>
            <p:nvPr/>
          </p:nvSpPr>
          <p:spPr>
            <a:xfrm>
              <a:off x="909789" y="174171"/>
              <a:ext cx="1251522" cy="7249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1368"/>
                  </a:moveTo>
                  <a:lnTo>
                    <a:pt x="17705" y="15272"/>
                  </a:lnTo>
                  <a:lnTo>
                    <a:pt x="17032" y="14608"/>
                  </a:lnTo>
                  <a:cubicBezTo>
                    <a:pt x="17256" y="13915"/>
                    <a:pt x="17160" y="13251"/>
                    <a:pt x="16759" y="12849"/>
                  </a:cubicBezTo>
                  <a:cubicBezTo>
                    <a:pt x="16030" y="12157"/>
                    <a:pt x="14587" y="12420"/>
                    <a:pt x="13521" y="13514"/>
                  </a:cubicBezTo>
                  <a:cubicBezTo>
                    <a:pt x="12455" y="14608"/>
                    <a:pt x="12167" y="16062"/>
                    <a:pt x="12888" y="16768"/>
                  </a:cubicBezTo>
                  <a:cubicBezTo>
                    <a:pt x="13297" y="17197"/>
                    <a:pt x="13978" y="17266"/>
                    <a:pt x="14651" y="17031"/>
                  </a:cubicBezTo>
                  <a:lnTo>
                    <a:pt x="15332" y="17695"/>
                  </a:lnTo>
                  <a:lnTo>
                    <a:pt x="11437" y="21600"/>
                  </a:lnTo>
                  <a:lnTo>
                    <a:pt x="6925" y="17114"/>
                  </a:lnTo>
                  <a:lnTo>
                    <a:pt x="6268" y="17778"/>
                  </a:lnTo>
                  <a:cubicBezTo>
                    <a:pt x="6492" y="18485"/>
                    <a:pt x="6428" y="19149"/>
                    <a:pt x="5995" y="19537"/>
                  </a:cubicBezTo>
                  <a:cubicBezTo>
                    <a:pt x="5274" y="20229"/>
                    <a:pt x="3823" y="19952"/>
                    <a:pt x="2765" y="18872"/>
                  </a:cubicBezTo>
                  <a:cubicBezTo>
                    <a:pt x="1675" y="17778"/>
                    <a:pt x="1387" y="16338"/>
                    <a:pt x="2108" y="15632"/>
                  </a:cubicBezTo>
                  <a:cubicBezTo>
                    <a:pt x="2517" y="15203"/>
                    <a:pt x="3190" y="15120"/>
                    <a:pt x="3871" y="15355"/>
                  </a:cubicBezTo>
                  <a:lnTo>
                    <a:pt x="4528" y="14691"/>
                  </a:lnTo>
                  <a:lnTo>
                    <a:pt x="0" y="10191"/>
                  </a:lnTo>
                  <a:lnTo>
                    <a:pt x="3895" y="6328"/>
                  </a:lnTo>
                  <a:lnTo>
                    <a:pt x="4576" y="6992"/>
                  </a:lnTo>
                  <a:cubicBezTo>
                    <a:pt x="4368" y="7698"/>
                    <a:pt x="4440" y="8363"/>
                    <a:pt x="4841" y="8751"/>
                  </a:cubicBezTo>
                  <a:cubicBezTo>
                    <a:pt x="5570" y="9457"/>
                    <a:pt x="7013" y="9180"/>
                    <a:pt x="8071" y="8086"/>
                  </a:cubicBezTo>
                  <a:cubicBezTo>
                    <a:pt x="9137" y="6992"/>
                    <a:pt x="9425" y="5552"/>
                    <a:pt x="8704" y="4846"/>
                  </a:cubicBezTo>
                  <a:cubicBezTo>
                    <a:pt x="8295" y="4417"/>
                    <a:pt x="7614" y="4334"/>
                    <a:pt x="6949" y="4569"/>
                  </a:cubicBezTo>
                  <a:lnTo>
                    <a:pt x="6268" y="3905"/>
                  </a:lnTo>
                  <a:lnTo>
                    <a:pt x="10155" y="0"/>
                  </a:lnTo>
                  <a:lnTo>
                    <a:pt x="14675" y="4486"/>
                  </a:lnTo>
                  <a:lnTo>
                    <a:pt x="15332" y="3822"/>
                  </a:lnTo>
                  <a:cubicBezTo>
                    <a:pt x="15108" y="3129"/>
                    <a:pt x="15172" y="2465"/>
                    <a:pt x="15605" y="2063"/>
                  </a:cubicBezTo>
                  <a:cubicBezTo>
                    <a:pt x="16326" y="1371"/>
                    <a:pt x="17777" y="1634"/>
                    <a:pt x="18835" y="2728"/>
                  </a:cubicBezTo>
                  <a:cubicBezTo>
                    <a:pt x="19925" y="3822"/>
                    <a:pt x="20213" y="5275"/>
                    <a:pt x="19492" y="5982"/>
                  </a:cubicBezTo>
                  <a:cubicBezTo>
                    <a:pt x="19083" y="6411"/>
                    <a:pt x="18426" y="6480"/>
                    <a:pt x="17729" y="6245"/>
                  </a:cubicBezTo>
                  <a:lnTo>
                    <a:pt x="17072" y="6909"/>
                  </a:lnTo>
                  <a:lnTo>
                    <a:pt x="21600" y="11368"/>
                  </a:ln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3" name="Shape 1444"/>
            <p:cNvSpPr/>
            <p:nvPr/>
          </p:nvSpPr>
          <p:spPr>
            <a:xfrm>
              <a:off x="917985" y="648355"/>
              <a:ext cx="91744" cy="4294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792" extrusionOk="0">
                  <a:moveTo>
                    <a:pt x="11403" y="1615"/>
                  </a:moveTo>
                  <a:cubicBezTo>
                    <a:pt x="14144" y="6115"/>
                    <a:pt x="16995" y="6115"/>
                    <a:pt x="19736" y="11065"/>
                  </a:cubicBezTo>
                  <a:cubicBezTo>
                    <a:pt x="20065" y="11740"/>
                    <a:pt x="21600" y="13765"/>
                    <a:pt x="21600" y="14890"/>
                  </a:cubicBezTo>
                  <a:cubicBezTo>
                    <a:pt x="20942" y="18715"/>
                    <a:pt x="17543" y="21190"/>
                    <a:pt x="16008" y="20740"/>
                  </a:cubicBezTo>
                  <a:cubicBezTo>
                    <a:pt x="13596" y="20065"/>
                    <a:pt x="11403" y="18715"/>
                    <a:pt x="8662" y="18040"/>
                  </a:cubicBezTo>
                  <a:cubicBezTo>
                    <a:pt x="6798" y="17590"/>
                    <a:pt x="2741" y="17590"/>
                    <a:pt x="877" y="16240"/>
                  </a:cubicBezTo>
                  <a:cubicBezTo>
                    <a:pt x="0" y="14890"/>
                    <a:pt x="0" y="10390"/>
                    <a:pt x="0" y="7915"/>
                  </a:cubicBezTo>
                  <a:cubicBezTo>
                    <a:pt x="0" y="6790"/>
                    <a:pt x="1206" y="4090"/>
                    <a:pt x="1206" y="4090"/>
                  </a:cubicBezTo>
                  <a:cubicBezTo>
                    <a:pt x="2741" y="5440"/>
                    <a:pt x="3399" y="6790"/>
                    <a:pt x="5482" y="6115"/>
                  </a:cubicBezTo>
                  <a:cubicBezTo>
                    <a:pt x="5811" y="5440"/>
                    <a:pt x="6469" y="5440"/>
                    <a:pt x="7017" y="5440"/>
                  </a:cubicBezTo>
                  <a:cubicBezTo>
                    <a:pt x="8881" y="940"/>
                    <a:pt x="10197" y="-410"/>
                    <a:pt x="10745" y="265"/>
                  </a:cubicBezTo>
                  <a:cubicBezTo>
                    <a:pt x="10745" y="-410"/>
                    <a:pt x="11074" y="265"/>
                    <a:pt x="11403" y="1615"/>
                  </a:cubicBezTo>
                </a:path>
              </a:pathLst>
            </a:custGeom>
            <a:solidFill>
              <a:srgbClr val="47766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4" name="Shape 1445"/>
            <p:cNvSpPr/>
            <p:nvPr/>
          </p:nvSpPr>
          <p:spPr>
            <a:xfrm>
              <a:off x="827826" y="584820"/>
              <a:ext cx="88885" cy="417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04" h="21177" extrusionOk="0">
                  <a:moveTo>
                    <a:pt x="11579" y="1667"/>
                  </a:moveTo>
                  <a:cubicBezTo>
                    <a:pt x="14363" y="6080"/>
                    <a:pt x="17258" y="6080"/>
                    <a:pt x="20041" y="11422"/>
                  </a:cubicBezTo>
                  <a:cubicBezTo>
                    <a:pt x="20375" y="12119"/>
                    <a:pt x="21600" y="16067"/>
                    <a:pt x="21377" y="17229"/>
                  </a:cubicBezTo>
                  <a:cubicBezTo>
                    <a:pt x="21043" y="21177"/>
                    <a:pt x="17592" y="21177"/>
                    <a:pt x="16256" y="21177"/>
                  </a:cubicBezTo>
                  <a:cubicBezTo>
                    <a:pt x="13806" y="20712"/>
                    <a:pt x="11579" y="19319"/>
                    <a:pt x="8796" y="18622"/>
                  </a:cubicBezTo>
                  <a:cubicBezTo>
                    <a:pt x="6903" y="17925"/>
                    <a:pt x="2784" y="17925"/>
                    <a:pt x="891" y="16764"/>
                  </a:cubicBezTo>
                  <a:cubicBezTo>
                    <a:pt x="0" y="15371"/>
                    <a:pt x="0" y="10725"/>
                    <a:pt x="0" y="8171"/>
                  </a:cubicBezTo>
                  <a:cubicBezTo>
                    <a:pt x="0" y="6777"/>
                    <a:pt x="1225" y="4222"/>
                    <a:pt x="1225" y="4222"/>
                  </a:cubicBezTo>
                  <a:cubicBezTo>
                    <a:pt x="2784" y="5616"/>
                    <a:pt x="3452" y="6777"/>
                    <a:pt x="5567" y="6080"/>
                  </a:cubicBezTo>
                  <a:cubicBezTo>
                    <a:pt x="5901" y="5616"/>
                    <a:pt x="6569" y="5616"/>
                    <a:pt x="7237" y="5616"/>
                  </a:cubicBezTo>
                  <a:cubicBezTo>
                    <a:pt x="9019" y="971"/>
                    <a:pt x="10355" y="-423"/>
                    <a:pt x="10911" y="274"/>
                  </a:cubicBezTo>
                  <a:cubicBezTo>
                    <a:pt x="10689" y="-423"/>
                    <a:pt x="10911" y="274"/>
                    <a:pt x="11579" y="1667"/>
                  </a:cubicBezTo>
                </a:path>
              </a:pathLst>
            </a:custGeom>
            <a:solidFill>
              <a:srgbClr val="47766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5" name="Shape 1446"/>
            <p:cNvSpPr/>
            <p:nvPr/>
          </p:nvSpPr>
          <p:spPr>
            <a:xfrm>
              <a:off x="946672" y="284821"/>
              <a:ext cx="137531" cy="1037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1" h="20336" extrusionOk="0">
                  <a:moveTo>
                    <a:pt x="0" y="2278"/>
                  </a:moveTo>
                  <a:lnTo>
                    <a:pt x="6336" y="0"/>
                  </a:lnTo>
                  <a:lnTo>
                    <a:pt x="7128" y="4101"/>
                  </a:lnTo>
                  <a:cubicBezTo>
                    <a:pt x="7128" y="4101"/>
                    <a:pt x="14040" y="11028"/>
                    <a:pt x="16704" y="13397"/>
                  </a:cubicBezTo>
                  <a:cubicBezTo>
                    <a:pt x="16704" y="13397"/>
                    <a:pt x="21600" y="14400"/>
                    <a:pt x="21384" y="17772"/>
                  </a:cubicBezTo>
                  <a:cubicBezTo>
                    <a:pt x="21384" y="21053"/>
                    <a:pt x="17280" y="21600"/>
                    <a:pt x="14472" y="16952"/>
                  </a:cubicBezTo>
                  <a:cubicBezTo>
                    <a:pt x="14472" y="16952"/>
                    <a:pt x="6120" y="12577"/>
                    <a:pt x="4320" y="10299"/>
                  </a:cubicBezTo>
                  <a:cubicBezTo>
                    <a:pt x="2664" y="7929"/>
                    <a:pt x="0" y="2278"/>
                    <a:pt x="0" y="2278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6" name="Shape 1447"/>
            <p:cNvSpPr/>
            <p:nvPr/>
          </p:nvSpPr>
          <p:spPr>
            <a:xfrm>
              <a:off x="928694" y="221530"/>
              <a:ext cx="68739" cy="853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54" h="19239" extrusionOk="0">
                  <a:moveTo>
                    <a:pt x="3504" y="260"/>
                  </a:moveTo>
                  <a:cubicBezTo>
                    <a:pt x="11829" y="-2361"/>
                    <a:pt x="16554" y="15674"/>
                    <a:pt x="16554" y="15674"/>
                  </a:cubicBezTo>
                  <a:cubicBezTo>
                    <a:pt x="16554" y="15674"/>
                    <a:pt x="15316" y="16827"/>
                    <a:pt x="11829" y="17981"/>
                  </a:cubicBezTo>
                  <a:cubicBezTo>
                    <a:pt x="8004" y="19239"/>
                    <a:pt x="4742" y="19239"/>
                    <a:pt x="4742" y="19239"/>
                  </a:cubicBezTo>
                  <a:cubicBezTo>
                    <a:pt x="4742" y="19239"/>
                    <a:pt x="-5046" y="2987"/>
                    <a:pt x="3504" y="260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7" name="Shape 1448"/>
            <p:cNvSpPr/>
            <p:nvPr/>
          </p:nvSpPr>
          <p:spPr>
            <a:xfrm>
              <a:off x="831924" y="417266"/>
              <a:ext cx="114289" cy="1867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138" extrusionOk="0">
                  <a:moveTo>
                    <a:pt x="9842" y="123"/>
                  </a:moveTo>
                  <a:cubicBezTo>
                    <a:pt x="12019" y="-582"/>
                    <a:pt x="21600" y="1986"/>
                    <a:pt x="21600" y="1986"/>
                  </a:cubicBezTo>
                  <a:cubicBezTo>
                    <a:pt x="21600" y="1986"/>
                    <a:pt x="15765" y="11754"/>
                    <a:pt x="14023" y="13315"/>
                  </a:cubicBezTo>
                  <a:cubicBezTo>
                    <a:pt x="12019" y="14875"/>
                    <a:pt x="7403" y="19558"/>
                    <a:pt x="7403" y="19558"/>
                  </a:cubicBezTo>
                  <a:cubicBezTo>
                    <a:pt x="7403" y="19558"/>
                    <a:pt x="1481" y="21018"/>
                    <a:pt x="0" y="19306"/>
                  </a:cubicBezTo>
                  <a:cubicBezTo>
                    <a:pt x="0" y="19306"/>
                    <a:pt x="1481" y="13466"/>
                    <a:pt x="4965" y="11049"/>
                  </a:cubicBezTo>
                  <a:cubicBezTo>
                    <a:pt x="4965" y="11049"/>
                    <a:pt x="7839" y="828"/>
                    <a:pt x="9842" y="123"/>
                  </a:cubicBezTo>
                </a:path>
              </a:pathLst>
            </a:custGeom>
            <a:solidFill>
              <a:srgbClr val="4773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8" name="Shape 1449"/>
            <p:cNvSpPr/>
            <p:nvPr/>
          </p:nvSpPr>
          <p:spPr>
            <a:xfrm>
              <a:off x="858970" y="430305"/>
              <a:ext cx="109776" cy="2345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27" h="21172" extrusionOk="0">
                  <a:moveTo>
                    <a:pt x="13477" y="710"/>
                  </a:moveTo>
                  <a:cubicBezTo>
                    <a:pt x="13477" y="710"/>
                    <a:pt x="17977" y="8941"/>
                    <a:pt x="18787" y="10612"/>
                  </a:cubicBezTo>
                  <a:cubicBezTo>
                    <a:pt x="19507" y="12241"/>
                    <a:pt x="21127" y="20514"/>
                    <a:pt x="21127" y="20514"/>
                  </a:cubicBezTo>
                  <a:cubicBezTo>
                    <a:pt x="17257" y="21600"/>
                    <a:pt x="12757" y="21015"/>
                    <a:pt x="12757" y="21015"/>
                  </a:cubicBezTo>
                  <a:lnTo>
                    <a:pt x="8437" y="10487"/>
                  </a:lnTo>
                  <a:cubicBezTo>
                    <a:pt x="8437" y="10487"/>
                    <a:pt x="3577" y="5682"/>
                    <a:pt x="1507" y="3885"/>
                  </a:cubicBezTo>
                  <a:cubicBezTo>
                    <a:pt x="-473" y="2005"/>
                    <a:pt x="67" y="0"/>
                    <a:pt x="67" y="0"/>
                  </a:cubicBezTo>
                  <a:lnTo>
                    <a:pt x="13477" y="71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9" name="Shape 1450"/>
            <p:cNvSpPr/>
            <p:nvPr/>
          </p:nvSpPr>
          <p:spPr>
            <a:xfrm>
              <a:off x="852415" y="215186"/>
              <a:ext cx="114285" cy="2296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9403" extrusionOk="0">
                  <a:moveTo>
                    <a:pt x="21600" y="2555"/>
                  </a:moveTo>
                  <a:lnTo>
                    <a:pt x="19580" y="18618"/>
                  </a:lnTo>
                  <a:cubicBezTo>
                    <a:pt x="10712" y="20385"/>
                    <a:pt x="0" y="18618"/>
                    <a:pt x="0" y="18618"/>
                  </a:cubicBezTo>
                  <a:lnTo>
                    <a:pt x="0" y="2241"/>
                  </a:lnTo>
                  <a:cubicBezTo>
                    <a:pt x="8166" y="-1215"/>
                    <a:pt x="18351" y="356"/>
                    <a:pt x="18351" y="356"/>
                  </a:cubicBezTo>
                  <a:cubicBezTo>
                    <a:pt x="20810" y="1024"/>
                    <a:pt x="21600" y="2673"/>
                    <a:pt x="21600" y="2555"/>
                  </a:cubicBezTo>
                </a:path>
              </a:pathLst>
            </a:custGeom>
            <a:solidFill>
              <a:srgbClr val="52838D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0" name="Shape 1451"/>
            <p:cNvSpPr/>
            <p:nvPr/>
          </p:nvSpPr>
          <p:spPr>
            <a:xfrm>
              <a:off x="858562" y="305312"/>
              <a:ext cx="137525" cy="1039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0" h="20371" extrusionOk="0">
                  <a:moveTo>
                    <a:pt x="0" y="2370"/>
                  </a:moveTo>
                  <a:lnTo>
                    <a:pt x="6285" y="0"/>
                  </a:lnTo>
                  <a:lnTo>
                    <a:pt x="7080" y="4101"/>
                  </a:lnTo>
                  <a:cubicBezTo>
                    <a:pt x="7080" y="4101"/>
                    <a:pt x="14015" y="11028"/>
                    <a:pt x="16688" y="13397"/>
                  </a:cubicBezTo>
                  <a:cubicBezTo>
                    <a:pt x="16688" y="13397"/>
                    <a:pt x="21600" y="14400"/>
                    <a:pt x="21383" y="17772"/>
                  </a:cubicBezTo>
                  <a:cubicBezTo>
                    <a:pt x="21383" y="21144"/>
                    <a:pt x="17266" y="21600"/>
                    <a:pt x="14448" y="16952"/>
                  </a:cubicBezTo>
                  <a:cubicBezTo>
                    <a:pt x="14448" y="16952"/>
                    <a:pt x="6068" y="12577"/>
                    <a:pt x="4262" y="10299"/>
                  </a:cubicBezTo>
                  <a:cubicBezTo>
                    <a:pt x="2601" y="8020"/>
                    <a:pt x="0" y="2370"/>
                    <a:pt x="0" y="237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1" name="Shape 1452"/>
            <p:cNvSpPr/>
            <p:nvPr/>
          </p:nvSpPr>
          <p:spPr>
            <a:xfrm>
              <a:off x="838637" y="240347"/>
              <a:ext cx="68636" cy="8499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29" h="19154" extrusionOk="0">
                  <a:moveTo>
                    <a:pt x="3479" y="280"/>
                  </a:moveTo>
                  <a:cubicBezTo>
                    <a:pt x="11804" y="-2446"/>
                    <a:pt x="16529" y="15589"/>
                    <a:pt x="16529" y="15589"/>
                  </a:cubicBezTo>
                  <a:cubicBezTo>
                    <a:pt x="16529" y="15589"/>
                    <a:pt x="15291" y="16847"/>
                    <a:pt x="11804" y="18001"/>
                  </a:cubicBezTo>
                  <a:cubicBezTo>
                    <a:pt x="7979" y="19154"/>
                    <a:pt x="4829" y="19154"/>
                    <a:pt x="4829" y="19154"/>
                  </a:cubicBezTo>
                  <a:cubicBezTo>
                    <a:pt x="4829" y="19154"/>
                    <a:pt x="-5071" y="2902"/>
                    <a:pt x="3479" y="280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2" name="Shape 1453"/>
            <p:cNvSpPr/>
            <p:nvPr/>
          </p:nvSpPr>
          <p:spPr>
            <a:xfrm>
              <a:off x="887249" y="188514"/>
              <a:ext cx="38255" cy="537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517" h="19015" extrusionOk="0">
                  <a:moveTo>
                    <a:pt x="16090" y="0"/>
                  </a:moveTo>
                  <a:lnTo>
                    <a:pt x="17412" y="8770"/>
                  </a:lnTo>
                  <a:cubicBezTo>
                    <a:pt x="17412" y="8770"/>
                    <a:pt x="21600" y="16078"/>
                    <a:pt x="13665" y="18352"/>
                  </a:cubicBezTo>
                  <a:cubicBezTo>
                    <a:pt x="1102" y="21600"/>
                    <a:pt x="0" y="11856"/>
                    <a:pt x="0" y="11856"/>
                  </a:cubicBezTo>
                  <a:lnTo>
                    <a:pt x="3747" y="2761"/>
                  </a:lnTo>
                  <a:lnTo>
                    <a:pt x="16090" y="0"/>
                  </a:lnTo>
                </a:path>
              </a:pathLst>
            </a:custGeom>
            <a:solidFill>
              <a:srgbClr val="FFE98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3" name="Shape 1454"/>
            <p:cNvSpPr/>
            <p:nvPr/>
          </p:nvSpPr>
          <p:spPr>
            <a:xfrm>
              <a:off x="860449" y="101691"/>
              <a:ext cx="94927" cy="1220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1" h="18710" extrusionOk="0">
                  <a:moveTo>
                    <a:pt x="5546" y="18465"/>
                  </a:moveTo>
                  <a:cubicBezTo>
                    <a:pt x="5546" y="20461"/>
                    <a:pt x="-2293" y="9768"/>
                    <a:pt x="668" y="5134"/>
                  </a:cubicBezTo>
                  <a:cubicBezTo>
                    <a:pt x="3368" y="714"/>
                    <a:pt x="9988" y="-1139"/>
                    <a:pt x="14691" y="714"/>
                  </a:cubicBezTo>
                  <a:cubicBezTo>
                    <a:pt x="19307" y="2497"/>
                    <a:pt x="17652" y="5990"/>
                    <a:pt x="17652" y="5990"/>
                  </a:cubicBezTo>
                  <a:cubicBezTo>
                    <a:pt x="17652" y="5990"/>
                    <a:pt x="7549" y="9198"/>
                    <a:pt x="5546" y="18465"/>
                  </a:cubicBezTo>
                </a:path>
              </a:pathLst>
            </a:custGeom>
            <a:solidFill>
              <a:srgbClr val="DFD85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4" name="Shape 1455"/>
            <p:cNvSpPr/>
            <p:nvPr/>
          </p:nvSpPr>
          <p:spPr>
            <a:xfrm>
              <a:off x="875141" y="124993"/>
              <a:ext cx="74100" cy="904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39" h="20836" extrusionOk="0">
                  <a:moveTo>
                    <a:pt x="3678" y="15797"/>
                  </a:moveTo>
                  <a:cubicBezTo>
                    <a:pt x="3307" y="15260"/>
                    <a:pt x="3307" y="14615"/>
                    <a:pt x="2690" y="13970"/>
                  </a:cubicBezTo>
                  <a:cubicBezTo>
                    <a:pt x="1333" y="12466"/>
                    <a:pt x="-1136" y="8275"/>
                    <a:pt x="592" y="6985"/>
                  </a:cubicBezTo>
                  <a:cubicBezTo>
                    <a:pt x="3678" y="4943"/>
                    <a:pt x="4418" y="9779"/>
                    <a:pt x="4418" y="9779"/>
                  </a:cubicBezTo>
                  <a:cubicBezTo>
                    <a:pt x="4789" y="6985"/>
                    <a:pt x="10713" y="5803"/>
                    <a:pt x="14539" y="4943"/>
                  </a:cubicBezTo>
                  <a:cubicBezTo>
                    <a:pt x="18366" y="3976"/>
                    <a:pt x="18736" y="0"/>
                    <a:pt x="18736" y="0"/>
                  </a:cubicBezTo>
                  <a:cubicBezTo>
                    <a:pt x="20464" y="2794"/>
                    <a:pt x="19353" y="8275"/>
                    <a:pt x="18366" y="13970"/>
                  </a:cubicBezTo>
                  <a:cubicBezTo>
                    <a:pt x="17995" y="17301"/>
                    <a:pt x="16638" y="18806"/>
                    <a:pt x="15527" y="20096"/>
                  </a:cubicBezTo>
                  <a:cubicBezTo>
                    <a:pt x="14539" y="20633"/>
                    <a:pt x="12071" y="21600"/>
                    <a:pt x="8985" y="19773"/>
                  </a:cubicBezTo>
                  <a:cubicBezTo>
                    <a:pt x="6887" y="18591"/>
                    <a:pt x="5159" y="17087"/>
                    <a:pt x="3678" y="15797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5" name="Shape 1456"/>
            <p:cNvSpPr/>
            <p:nvPr/>
          </p:nvSpPr>
          <p:spPr>
            <a:xfrm>
              <a:off x="1808103" y="73766"/>
              <a:ext cx="16394" cy="999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276"/>
                  </a:moveTo>
                  <a:lnTo>
                    <a:pt x="21600" y="21600"/>
                  </a:lnTo>
                  <a:cubicBezTo>
                    <a:pt x="4629" y="19908"/>
                    <a:pt x="0" y="17917"/>
                    <a:pt x="0" y="16225"/>
                  </a:cubicBezTo>
                  <a:lnTo>
                    <a:pt x="0" y="0"/>
                  </a:lnTo>
                  <a:cubicBezTo>
                    <a:pt x="0" y="1692"/>
                    <a:pt x="9257" y="3285"/>
                    <a:pt x="21600" y="5276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6" name="Shape 1457"/>
            <p:cNvSpPr/>
            <p:nvPr/>
          </p:nvSpPr>
          <p:spPr>
            <a:xfrm>
              <a:off x="1307310" y="157778"/>
              <a:ext cx="38470" cy="93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256"/>
                  </a:moveTo>
                  <a:lnTo>
                    <a:pt x="21600" y="21600"/>
                  </a:lnTo>
                  <a:lnTo>
                    <a:pt x="0" y="17450"/>
                  </a:lnTo>
                  <a:lnTo>
                    <a:pt x="0" y="0"/>
                  </a:lnTo>
                  <a:lnTo>
                    <a:pt x="21600" y="4256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7" name="Shape 1458"/>
            <p:cNvSpPr/>
            <p:nvPr/>
          </p:nvSpPr>
          <p:spPr>
            <a:xfrm>
              <a:off x="1344193" y="163926"/>
              <a:ext cx="122483" cy="12042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7816"/>
                  </a:moveTo>
                  <a:lnTo>
                    <a:pt x="21600" y="21600"/>
                  </a:lnTo>
                  <a:cubicBezTo>
                    <a:pt x="21600" y="18995"/>
                    <a:pt x="20214" y="16893"/>
                    <a:pt x="17688" y="15633"/>
                  </a:cubicBezTo>
                  <a:cubicBezTo>
                    <a:pt x="17198" y="15465"/>
                    <a:pt x="16546" y="15212"/>
                    <a:pt x="16057" y="14960"/>
                  </a:cubicBezTo>
                  <a:cubicBezTo>
                    <a:pt x="15568" y="14708"/>
                    <a:pt x="14916" y="14708"/>
                    <a:pt x="14427" y="14456"/>
                  </a:cubicBezTo>
                  <a:lnTo>
                    <a:pt x="14020" y="14456"/>
                  </a:lnTo>
                  <a:cubicBezTo>
                    <a:pt x="13531" y="14456"/>
                    <a:pt x="13042" y="14204"/>
                    <a:pt x="12389" y="14204"/>
                  </a:cubicBezTo>
                  <a:lnTo>
                    <a:pt x="9863" y="14204"/>
                  </a:lnTo>
                  <a:cubicBezTo>
                    <a:pt x="9129" y="14204"/>
                    <a:pt x="8477" y="14204"/>
                    <a:pt x="7988" y="14456"/>
                  </a:cubicBezTo>
                  <a:cubicBezTo>
                    <a:pt x="7825" y="14456"/>
                    <a:pt x="7580" y="14456"/>
                    <a:pt x="7091" y="14708"/>
                  </a:cubicBezTo>
                  <a:cubicBezTo>
                    <a:pt x="6602" y="14708"/>
                    <a:pt x="6195" y="14960"/>
                    <a:pt x="5706" y="14960"/>
                  </a:cubicBezTo>
                  <a:cubicBezTo>
                    <a:pt x="5217" y="14960"/>
                    <a:pt x="4809" y="15212"/>
                    <a:pt x="4320" y="15212"/>
                  </a:cubicBezTo>
                  <a:cubicBezTo>
                    <a:pt x="3912" y="15212"/>
                    <a:pt x="3668" y="15465"/>
                    <a:pt x="3179" y="15465"/>
                  </a:cubicBezTo>
                  <a:cubicBezTo>
                    <a:pt x="2282" y="15633"/>
                    <a:pt x="1304" y="15885"/>
                    <a:pt x="408" y="16137"/>
                  </a:cubicBezTo>
                  <a:cubicBezTo>
                    <a:pt x="163" y="16137"/>
                    <a:pt x="0" y="16389"/>
                    <a:pt x="0" y="16389"/>
                  </a:cubicBezTo>
                  <a:lnTo>
                    <a:pt x="0" y="2605"/>
                  </a:lnTo>
                  <a:lnTo>
                    <a:pt x="163" y="2605"/>
                  </a:lnTo>
                  <a:cubicBezTo>
                    <a:pt x="408" y="2605"/>
                    <a:pt x="408" y="2605"/>
                    <a:pt x="652" y="2353"/>
                  </a:cubicBezTo>
                  <a:cubicBezTo>
                    <a:pt x="1549" y="2185"/>
                    <a:pt x="2527" y="1933"/>
                    <a:pt x="3423" y="1681"/>
                  </a:cubicBezTo>
                  <a:cubicBezTo>
                    <a:pt x="3668" y="1681"/>
                    <a:pt x="3668" y="1429"/>
                    <a:pt x="3912" y="1429"/>
                  </a:cubicBezTo>
                  <a:cubicBezTo>
                    <a:pt x="4075" y="1429"/>
                    <a:pt x="4320" y="1429"/>
                    <a:pt x="4565" y="1177"/>
                  </a:cubicBezTo>
                  <a:cubicBezTo>
                    <a:pt x="5054" y="1177"/>
                    <a:pt x="5461" y="925"/>
                    <a:pt x="5950" y="925"/>
                  </a:cubicBezTo>
                  <a:cubicBezTo>
                    <a:pt x="6195" y="925"/>
                    <a:pt x="6439" y="756"/>
                    <a:pt x="6439" y="756"/>
                  </a:cubicBezTo>
                  <a:cubicBezTo>
                    <a:pt x="6602" y="756"/>
                    <a:pt x="6847" y="756"/>
                    <a:pt x="7336" y="504"/>
                  </a:cubicBezTo>
                  <a:cubicBezTo>
                    <a:pt x="7580" y="504"/>
                    <a:pt x="7825" y="252"/>
                    <a:pt x="8232" y="252"/>
                  </a:cubicBezTo>
                  <a:lnTo>
                    <a:pt x="8722" y="252"/>
                  </a:lnTo>
                  <a:cubicBezTo>
                    <a:pt x="9129" y="252"/>
                    <a:pt x="9863" y="0"/>
                    <a:pt x="10352" y="0"/>
                  </a:cubicBezTo>
                  <a:cubicBezTo>
                    <a:pt x="10352" y="0"/>
                    <a:pt x="10352" y="0"/>
                    <a:pt x="10515" y="0"/>
                  </a:cubicBezTo>
                  <a:lnTo>
                    <a:pt x="13775" y="0"/>
                  </a:lnTo>
                  <a:cubicBezTo>
                    <a:pt x="14264" y="0"/>
                    <a:pt x="14427" y="0"/>
                    <a:pt x="14672" y="252"/>
                  </a:cubicBezTo>
                  <a:lnTo>
                    <a:pt x="15405" y="252"/>
                  </a:lnTo>
                  <a:cubicBezTo>
                    <a:pt x="15813" y="252"/>
                    <a:pt x="16546" y="504"/>
                    <a:pt x="16954" y="756"/>
                  </a:cubicBezTo>
                  <a:cubicBezTo>
                    <a:pt x="17688" y="925"/>
                    <a:pt x="18177" y="1177"/>
                    <a:pt x="18584" y="1429"/>
                  </a:cubicBezTo>
                  <a:cubicBezTo>
                    <a:pt x="20214" y="3110"/>
                    <a:pt x="21600" y="5211"/>
                    <a:pt x="21600" y="7816"/>
                  </a:cubicBez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8" name="Shape 1459"/>
            <p:cNvSpPr/>
            <p:nvPr/>
          </p:nvSpPr>
          <p:spPr>
            <a:xfrm>
              <a:off x="1952768" y="104502"/>
              <a:ext cx="124530" cy="1388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2145"/>
                  </a:lnTo>
                  <a:cubicBezTo>
                    <a:pt x="21600" y="12509"/>
                    <a:pt x="21600" y="12727"/>
                    <a:pt x="21358" y="13164"/>
                  </a:cubicBezTo>
                  <a:cubicBezTo>
                    <a:pt x="21358" y="13382"/>
                    <a:pt x="21358" y="13382"/>
                    <a:pt x="21197" y="13600"/>
                  </a:cubicBezTo>
                  <a:lnTo>
                    <a:pt x="21197" y="14182"/>
                  </a:lnTo>
                  <a:cubicBezTo>
                    <a:pt x="20955" y="14618"/>
                    <a:pt x="20955" y="14836"/>
                    <a:pt x="20713" y="14982"/>
                  </a:cubicBezTo>
                  <a:cubicBezTo>
                    <a:pt x="20713" y="15200"/>
                    <a:pt x="20713" y="15200"/>
                    <a:pt x="20472" y="15200"/>
                  </a:cubicBezTo>
                  <a:cubicBezTo>
                    <a:pt x="20472" y="15200"/>
                    <a:pt x="20472" y="15418"/>
                    <a:pt x="20230" y="15418"/>
                  </a:cubicBezTo>
                  <a:cubicBezTo>
                    <a:pt x="19988" y="15636"/>
                    <a:pt x="19988" y="15636"/>
                    <a:pt x="19988" y="15855"/>
                  </a:cubicBezTo>
                  <a:cubicBezTo>
                    <a:pt x="19827" y="16218"/>
                    <a:pt x="19585" y="16436"/>
                    <a:pt x="19101" y="16655"/>
                  </a:cubicBezTo>
                  <a:lnTo>
                    <a:pt x="17731" y="17891"/>
                  </a:lnTo>
                  <a:cubicBezTo>
                    <a:pt x="17731" y="17891"/>
                    <a:pt x="17731" y="17891"/>
                    <a:pt x="17490" y="18109"/>
                  </a:cubicBezTo>
                  <a:cubicBezTo>
                    <a:pt x="17087" y="18473"/>
                    <a:pt x="16603" y="18691"/>
                    <a:pt x="15958" y="18909"/>
                  </a:cubicBezTo>
                  <a:cubicBezTo>
                    <a:pt x="15716" y="18909"/>
                    <a:pt x="15475" y="19127"/>
                    <a:pt x="15475" y="19127"/>
                  </a:cubicBezTo>
                  <a:cubicBezTo>
                    <a:pt x="15233" y="19345"/>
                    <a:pt x="14991" y="19345"/>
                    <a:pt x="14749" y="19491"/>
                  </a:cubicBezTo>
                  <a:cubicBezTo>
                    <a:pt x="14749" y="19491"/>
                    <a:pt x="14588" y="19491"/>
                    <a:pt x="14588" y="19709"/>
                  </a:cubicBezTo>
                  <a:cubicBezTo>
                    <a:pt x="14104" y="19927"/>
                    <a:pt x="13460" y="20145"/>
                    <a:pt x="12734" y="20364"/>
                  </a:cubicBezTo>
                  <a:cubicBezTo>
                    <a:pt x="12493" y="20364"/>
                    <a:pt x="12493" y="20582"/>
                    <a:pt x="12251" y="20582"/>
                  </a:cubicBezTo>
                  <a:lnTo>
                    <a:pt x="12090" y="20582"/>
                  </a:lnTo>
                  <a:cubicBezTo>
                    <a:pt x="11928" y="20582"/>
                    <a:pt x="11606" y="20727"/>
                    <a:pt x="11364" y="20727"/>
                  </a:cubicBezTo>
                  <a:cubicBezTo>
                    <a:pt x="10961" y="20945"/>
                    <a:pt x="10719" y="20945"/>
                    <a:pt x="10236" y="20945"/>
                  </a:cubicBezTo>
                  <a:lnTo>
                    <a:pt x="9994" y="20945"/>
                  </a:lnTo>
                  <a:cubicBezTo>
                    <a:pt x="9752" y="20945"/>
                    <a:pt x="9591" y="20945"/>
                    <a:pt x="9349" y="21164"/>
                  </a:cubicBezTo>
                  <a:cubicBezTo>
                    <a:pt x="9107" y="21164"/>
                    <a:pt x="8624" y="21382"/>
                    <a:pt x="8382" y="21382"/>
                  </a:cubicBezTo>
                  <a:lnTo>
                    <a:pt x="7979" y="21382"/>
                  </a:lnTo>
                  <a:cubicBezTo>
                    <a:pt x="7737" y="21382"/>
                    <a:pt x="7496" y="21382"/>
                    <a:pt x="7093" y="21600"/>
                  </a:cubicBezTo>
                  <a:lnTo>
                    <a:pt x="1854" y="21600"/>
                  </a:lnTo>
                  <a:cubicBezTo>
                    <a:pt x="1128" y="21600"/>
                    <a:pt x="725" y="21600"/>
                    <a:pt x="0" y="21382"/>
                  </a:cubicBezTo>
                  <a:lnTo>
                    <a:pt x="0" y="9455"/>
                  </a:lnTo>
                  <a:cubicBezTo>
                    <a:pt x="725" y="9455"/>
                    <a:pt x="1370" y="9673"/>
                    <a:pt x="2015" y="9673"/>
                  </a:cubicBezTo>
                  <a:lnTo>
                    <a:pt x="5481" y="9673"/>
                  </a:lnTo>
                  <a:cubicBezTo>
                    <a:pt x="5884" y="9673"/>
                    <a:pt x="6367" y="9673"/>
                    <a:pt x="6851" y="9455"/>
                  </a:cubicBezTo>
                  <a:cubicBezTo>
                    <a:pt x="7093" y="9455"/>
                    <a:pt x="7254" y="9455"/>
                    <a:pt x="7737" y="9236"/>
                  </a:cubicBezTo>
                  <a:cubicBezTo>
                    <a:pt x="8221" y="9236"/>
                    <a:pt x="8624" y="9091"/>
                    <a:pt x="9107" y="9091"/>
                  </a:cubicBezTo>
                  <a:cubicBezTo>
                    <a:pt x="9349" y="9091"/>
                    <a:pt x="9591" y="9091"/>
                    <a:pt x="9752" y="8873"/>
                  </a:cubicBezTo>
                  <a:cubicBezTo>
                    <a:pt x="10236" y="8655"/>
                    <a:pt x="10719" y="8655"/>
                    <a:pt x="11122" y="8436"/>
                  </a:cubicBezTo>
                  <a:cubicBezTo>
                    <a:pt x="11364" y="8436"/>
                    <a:pt x="11606" y="8218"/>
                    <a:pt x="11848" y="8218"/>
                  </a:cubicBezTo>
                  <a:cubicBezTo>
                    <a:pt x="12090" y="8218"/>
                    <a:pt x="12251" y="8000"/>
                    <a:pt x="12251" y="8000"/>
                  </a:cubicBezTo>
                  <a:cubicBezTo>
                    <a:pt x="12976" y="7855"/>
                    <a:pt x="13460" y="7636"/>
                    <a:pt x="14104" y="7418"/>
                  </a:cubicBezTo>
                  <a:cubicBezTo>
                    <a:pt x="14588" y="7200"/>
                    <a:pt x="14749" y="7200"/>
                    <a:pt x="15233" y="6982"/>
                  </a:cubicBezTo>
                  <a:cubicBezTo>
                    <a:pt x="15475" y="6982"/>
                    <a:pt x="15716" y="6764"/>
                    <a:pt x="15716" y="6764"/>
                  </a:cubicBezTo>
                  <a:cubicBezTo>
                    <a:pt x="16119" y="6618"/>
                    <a:pt x="16845" y="6182"/>
                    <a:pt x="17328" y="5964"/>
                  </a:cubicBezTo>
                  <a:cubicBezTo>
                    <a:pt x="17973" y="5600"/>
                    <a:pt x="18457" y="5164"/>
                    <a:pt x="18860" y="4727"/>
                  </a:cubicBezTo>
                  <a:cubicBezTo>
                    <a:pt x="19343" y="4364"/>
                    <a:pt x="19585" y="3927"/>
                    <a:pt x="19988" y="3491"/>
                  </a:cubicBezTo>
                  <a:cubicBezTo>
                    <a:pt x="19988" y="3491"/>
                    <a:pt x="19988" y="3273"/>
                    <a:pt x="20230" y="3273"/>
                  </a:cubicBezTo>
                  <a:cubicBezTo>
                    <a:pt x="20472" y="2909"/>
                    <a:pt x="20713" y="2473"/>
                    <a:pt x="20955" y="2109"/>
                  </a:cubicBezTo>
                  <a:lnTo>
                    <a:pt x="20955" y="1891"/>
                  </a:lnTo>
                  <a:cubicBezTo>
                    <a:pt x="21600" y="1236"/>
                    <a:pt x="21600" y="655"/>
                    <a:pt x="21600" y="0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9" name="Shape 1460"/>
            <p:cNvSpPr/>
            <p:nvPr/>
          </p:nvSpPr>
          <p:spPr>
            <a:xfrm>
              <a:off x="1917934" y="163926"/>
              <a:ext cx="38464" cy="1040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810" y="0"/>
                  </a:moveTo>
                  <a:lnTo>
                    <a:pt x="21600" y="16176"/>
                  </a:lnTo>
                  <a:lnTo>
                    <a:pt x="0" y="21600"/>
                  </a:lnTo>
                  <a:lnTo>
                    <a:pt x="0" y="5812"/>
                  </a:lnTo>
                  <a:lnTo>
                    <a:pt x="2081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0" name="Shape 1461"/>
            <p:cNvSpPr/>
            <p:nvPr/>
          </p:nvSpPr>
          <p:spPr>
            <a:xfrm>
              <a:off x="1199528" y="274575"/>
              <a:ext cx="16394" cy="93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086" y="21600"/>
                  </a:moveTo>
                  <a:cubicBezTo>
                    <a:pt x="3086" y="21387"/>
                    <a:pt x="3086" y="21068"/>
                    <a:pt x="0" y="21068"/>
                  </a:cubicBezTo>
                  <a:cubicBezTo>
                    <a:pt x="0" y="20749"/>
                    <a:pt x="3086" y="20110"/>
                    <a:pt x="3086" y="19791"/>
                  </a:cubicBezTo>
                  <a:lnTo>
                    <a:pt x="3086" y="21600"/>
                  </a:lnTo>
                  <a:close/>
                  <a:moveTo>
                    <a:pt x="3086" y="6065"/>
                  </a:moveTo>
                  <a:lnTo>
                    <a:pt x="3086" y="3618"/>
                  </a:lnTo>
                  <a:cubicBezTo>
                    <a:pt x="3086" y="3299"/>
                    <a:pt x="7714" y="2767"/>
                    <a:pt x="7714" y="2447"/>
                  </a:cubicBezTo>
                  <a:lnTo>
                    <a:pt x="7714" y="1809"/>
                  </a:lnTo>
                  <a:lnTo>
                    <a:pt x="21600" y="0"/>
                  </a:lnTo>
                  <a:lnTo>
                    <a:pt x="21600" y="17450"/>
                  </a:lnTo>
                  <a:lnTo>
                    <a:pt x="7714" y="19259"/>
                  </a:lnTo>
                  <a:cubicBezTo>
                    <a:pt x="7714" y="19578"/>
                    <a:pt x="7714" y="19578"/>
                    <a:pt x="3086" y="19791"/>
                  </a:cubicBezTo>
                  <a:lnTo>
                    <a:pt x="3086" y="6065"/>
                  </a:lnTo>
                  <a:close/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1" name="Shape 1462"/>
            <p:cNvSpPr/>
            <p:nvPr/>
          </p:nvSpPr>
          <p:spPr>
            <a:xfrm>
              <a:off x="954869" y="413913"/>
              <a:ext cx="257718" cy="2023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3457"/>
                  </a:moveTo>
                  <a:lnTo>
                    <a:pt x="21600" y="21600"/>
                  </a:lnTo>
                  <a:lnTo>
                    <a:pt x="0" y="8143"/>
                  </a:lnTo>
                  <a:lnTo>
                    <a:pt x="0" y="0"/>
                  </a:lnTo>
                  <a:lnTo>
                    <a:pt x="21600" y="13457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2" name="Shape 1463"/>
            <p:cNvSpPr/>
            <p:nvPr/>
          </p:nvSpPr>
          <p:spPr>
            <a:xfrm>
              <a:off x="1655652" y="391373"/>
              <a:ext cx="270013" cy="2064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117"/>
                  </a:moveTo>
                  <a:lnTo>
                    <a:pt x="21600" y="12059"/>
                  </a:lnTo>
                  <a:cubicBezTo>
                    <a:pt x="21600" y="10558"/>
                    <a:pt x="20966" y="9299"/>
                    <a:pt x="19809" y="8621"/>
                  </a:cubicBezTo>
                  <a:cubicBezTo>
                    <a:pt x="19585" y="8475"/>
                    <a:pt x="19399" y="8378"/>
                    <a:pt x="19063" y="8233"/>
                  </a:cubicBezTo>
                  <a:cubicBezTo>
                    <a:pt x="18951" y="8088"/>
                    <a:pt x="18877" y="8088"/>
                    <a:pt x="18653" y="8088"/>
                  </a:cubicBezTo>
                  <a:cubicBezTo>
                    <a:pt x="18466" y="8088"/>
                    <a:pt x="18429" y="7943"/>
                    <a:pt x="18317" y="7943"/>
                  </a:cubicBezTo>
                  <a:cubicBezTo>
                    <a:pt x="18131" y="7797"/>
                    <a:pt x="17907" y="7797"/>
                    <a:pt x="17683" y="7797"/>
                  </a:cubicBezTo>
                  <a:lnTo>
                    <a:pt x="17608" y="7797"/>
                  </a:lnTo>
                  <a:cubicBezTo>
                    <a:pt x="17384" y="7797"/>
                    <a:pt x="17049" y="7652"/>
                    <a:pt x="16862" y="7652"/>
                  </a:cubicBezTo>
                  <a:lnTo>
                    <a:pt x="15818" y="7652"/>
                  </a:lnTo>
                  <a:cubicBezTo>
                    <a:pt x="15594" y="7652"/>
                    <a:pt x="15482" y="7652"/>
                    <a:pt x="15258" y="7797"/>
                  </a:cubicBezTo>
                  <a:cubicBezTo>
                    <a:pt x="15072" y="7797"/>
                    <a:pt x="14960" y="7797"/>
                    <a:pt x="14848" y="7943"/>
                  </a:cubicBezTo>
                  <a:cubicBezTo>
                    <a:pt x="14736" y="7943"/>
                    <a:pt x="14549" y="7943"/>
                    <a:pt x="14437" y="8088"/>
                  </a:cubicBezTo>
                  <a:cubicBezTo>
                    <a:pt x="14213" y="8233"/>
                    <a:pt x="14027" y="8233"/>
                    <a:pt x="13691" y="8233"/>
                  </a:cubicBezTo>
                  <a:cubicBezTo>
                    <a:pt x="13579" y="8233"/>
                    <a:pt x="13467" y="8378"/>
                    <a:pt x="13281" y="8378"/>
                  </a:cubicBezTo>
                  <a:cubicBezTo>
                    <a:pt x="12870" y="8475"/>
                    <a:pt x="12423" y="8621"/>
                    <a:pt x="11901" y="8766"/>
                  </a:cubicBezTo>
                  <a:cubicBezTo>
                    <a:pt x="11789" y="8911"/>
                    <a:pt x="11714" y="8911"/>
                    <a:pt x="11602" y="8911"/>
                  </a:cubicBezTo>
                  <a:cubicBezTo>
                    <a:pt x="11266" y="9057"/>
                    <a:pt x="10968" y="9153"/>
                    <a:pt x="10632" y="9299"/>
                  </a:cubicBezTo>
                  <a:cubicBezTo>
                    <a:pt x="10520" y="9299"/>
                    <a:pt x="10446" y="9444"/>
                    <a:pt x="10222" y="9444"/>
                  </a:cubicBezTo>
                  <a:cubicBezTo>
                    <a:pt x="9923" y="9589"/>
                    <a:pt x="9588" y="9880"/>
                    <a:pt x="9177" y="9977"/>
                  </a:cubicBezTo>
                  <a:cubicBezTo>
                    <a:pt x="9065" y="9977"/>
                    <a:pt x="9065" y="10122"/>
                    <a:pt x="8953" y="10122"/>
                  </a:cubicBezTo>
                  <a:cubicBezTo>
                    <a:pt x="8319" y="10558"/>
                    <a:pt x="7573" y="10945"/>
                    <a:pt x="6976" y="11478"/>
                  </a:cubicBezTo>
                  <a:lnTo>
                    <a:pt x="6864" y="11478"/>
                  </a:lnTo>
                  <a:cubicBezTo>
                    <a:pt x="6230" y="12059"/>
                    <a:pt x="5596" y="12447"/>
                    <a:pt x="4962" y="13125"/>
                  </a:cubicBezTo>
                  <a:cubicBezTo>
                    <a:pt x="4738" y="13270"/>
                    <a:pt x="4626" y="13561"/>
                    <a:pt x="4439" y="13706"/>
                  </a:cubicBezTo>
                  <a:cubicBezTo>
                    <a:pt x="4104" y="13948"/>
                    <a:pt x="3917" y="14239"/>
                    <a:pt x="3693" y="14529"/>
                  </a:cubicBezTo>
                  <a:cubicBezTo>
                    <a:pt x="3581" y="14626"/>
                    <a:pt x="3469" y="14771"/>
                    <a:pt x="3283" y="14917"/>
                  </a:cubicBezTo>
                  <a:cubicBezTo>
                    <a:pt x="3059" y="15207"/>
                    <a:pt x="2873" y="15449"/>
                    <a:pt x="2649" y="15740"/>
                  </a:cubicBezTo>
                  <a:cubicBezTo>
                    <a:pt x="2574" y="15885"/>
                    <a:pt x="2425" y="16127"/>
                    <a:pt x="2238" y="16273"/>
                  </a:cubicBezTo>
                  <a:cubicBezTo>
                    <a:pt x="2126" y="16418"/>
                    <a:pt x="2164" y="16418"/>
                    <a:pt x="2015" y="16563"/>
                  </a:cubicBezTo>
                  <a:cubicBezTo>
                    <a:pt x="1828" y="16805"/>
                    <a:pt x="1679" y="17096"/>
                    <a:pt x="1492" y="17387"/>
                  </a:cubicBezTo>
                  <a:lnTo>
                    <a:pt x="1380" y="17532"/>
                  </a:lnTo>
                  <a:cubicBezTo>
                    <a:pt x="1268" y="17629"/>
                    <a:pt x="1268" y="17774"/>
                    <a:pt x="1268" y="17774"/>
                  </a:cubicBezTo>
                  <a:cubicBezTo>
                    <a:pt x="1045" y="18065"/>
                    <a:pt x="970" y="18355"/>
                    <a:pt x="858" y="18597"/>
                  </a:cubicBezTo>
                  <a:cubicBezTo>
                    <a:pt x="746" y="18743"/>
                    <a:pt x="746" y="18985"/>
                    <a:pt x="634" y="19130"/>
                  </a:cubicBezTo>
                  <a:cubicBezTo>
                    <a:pt x="522" y="19227"/>
                    <a:pt x="522" y="19421"/>
                    <a:pt x="448" y="19711"/>
                  </a:cubicBezTo>
                  <a:cubicBezTo>
                    <a:pt x="336" y="19953"/>
                    <a:pt x="336" y="20244"/>
                    <a:pt x="224" y="20389"/>
                  </a:cubicBezTo>
                  <a:cubicBezTo>
                    <a:pt x="224" y="20535"/>
                    <a:pt x="112" y="20535"/>
                    <a:pt x="112" y="20680"/>
                  </a:cubicBezTo>
                  <a:cubicBezTo>
                    <a:pt x="0" y="21067"/>
                    <a:pt x="0" y="21358"/>
                    <a:pt x="0" y="21600"/>
                  </a:cubicBezTo>
                  <a:lnTo>
                    <a:pt x="0" y="13561"/>
                  </a:lnTo>
                  <a:cubicBezTo>
                    <a:pt x="0" y="13270"/>
                    <a:pt x="0" y="12979"/>
                    <a:pt x="112" y="12737"/>
                  </a:cubicBezTo>
                  <a:cubicBezTo>
                    <a:pt x="112" y="12592"/>
                    <a:pt x="112" y="12592"/>
                    <a:pt x="224" y="12447"/>
                  </a:cubicBezTo>
                  <a:cubicBezTo>
                    <a:pt x="224" y="12301"/>
                    <a:pt x="336" y="12059"/>
                    <a:pt x="336" y="11914"/>
                  </a:cubicBezTo>
                  <a:lnTo>
                    <a:pt x="336" y="11769"/>
                  </a:lnTo>
                  <a:cubicBezTo>
                    <a:pt x="448" y="11623"/>
                    <a:pt x="448" y="11478"/>
                    <a:pt x="522" y="11236"/>
                  </a:cubicBezTo>
                  <a:cubicBezTo>
                    <a:pt x="634" y="11091"/>
                    <a:pt x="634" y="10945"/>
                    <a:pt x="634" y="10800"/>
                  </a:cubicBezTo>
                  <a:cubicBezTo>
                    <a:pt x="634" y="10800"/>
                    <a:pt x="634" y="10655"/>
                    <a:pt x="746" y="10655"/>
                  </a:cubicBezTo>
                  <a:cubicBezTo>
                    <a:pt x="858" y="10413"/>
                    <a:pt x="1045" y="10122"/>
                    <a:pt x="1156" y="9880"/>
                  </a:cubicBezTo>
                  <a:cubicBezTo>
                    <a:pt x="1156" y="9735"/>
                    <a:pt x="1268" y="9735"/>
                    <a:pt x="1268" y="9589"/>
                  </a:cubicBezTo>
                  <a:cubicBezTo>
                    <a:pt x="1268" y="9444"/>
                    <a:pt x="1380" y="9444"/>
                    <a:pt x="1380" y="9444"/>
                  </a:cubicBezTo>
                  <a:cubicBezTo>
                    <a:pt x="1492" y="9153"/>
                    <a:pt x="1679" y="8911"/>
                    <a:pt x="1903" y="8621"/>
                  </a:cubicBezTo>
                  <a:cubicBezTo>
                    <a:pt x="2015" y="8475"/>
                    <a:pt x="2052" y="8475"/>
                    <a:pt x="2126" y="8378"/>
                  </a:cubicBezTo>
                  <a:cubicBezTo>
                    <a:pt x="2276" y="8233"/>
                    <a:pt x="2238" y="8185"/>
                    <a:pt x="2313" y="8088"/>
                  </a:cubicBezTo>
                  <a:cubicBezTo>
                    <a:pt x="2425" y="7894"/>
                    <a:pt x="2537" y="7943"/>
                    <a:pt x="2537" y="7797"/>
                  </a:cubicBezTo>
                  <a:cubicBezTo>
                    <a:pt x="2761" y="7555"/>
                    <a:pt x="2947" y="7265"/>
                    <a:pt x="3171" y="6974"/>
                  </a:cubicBezTo>
                  <a:cubicBezTo>
                    <a:pt x="3283" y="6829"/>
                    <a:pt x="3395" y="6732"/>
                    <a:pt x="3581" y="6587"/>
                  </a:cubicBezTo>
                  <a:cubicBezTo>
                    <a:pt x="3805" y="6296"/>
                    <a:pt x="4104" y="6054"/>
                    <a:pt x="4327" y="5763"/>
                  </a:cubicBezTo>
                  <a:cubicBezTo>
                    <a:pt x="4439" y="5618"/>
                    <a:pt x="4551" y="5473"/>
                    <a:pt x="4626" y="5473"/>
                  </a:cubicBezTo>
                  <a:cubicBezTo>
                    <a:pt x="4738" y="5327"/>
                    <a:pt x="4850" y="5327"/>
                    <a:pt x="4850" y="5230"/>
                  </a:cubicBezTo>
                  <a:cubicBezTo>
                    <a:pt x="5484" y="4649"/>
                    <a:pt x="6118" y="4117"/>
                    <a:pt x="6752" y="3584"/>
                  </a:cubicBezTo>
                  <a:lnTo>
                    <a:pt x="6864" y="3584"/>
                  </a:lnTo>
                  <a:cubicBezTo>
                    <a:pt x="7498" y="3003"/>
                    <a:pt x="8133" y="2615"/>
                    <a:pt x="8841" y="2228"/>
                  </a:cubicBezTo>
                  <a:cubicBezTo>
                    <a:pt x="8953" y="2228"/>
                    <a:pt x="8953" y="2228"/>
                    <a:pt x="9065" y="2083"/>
                  </a:cubicBezTo>
                  <a:cubicBezTo>
                    <a:pt x="9364" y="1792"/>
                    <a:pt x="9811" y="1647"/>
                    <a:pt x="10110" y="1501"/>
                  </a:cubicBezTo>
                  <a:cubicBezTo>
                    <a:pt x="10222" y="1404"/>
                    <a:pt x="10334" y="1404"/>
                    <a:pt x="10520" y="1404"/>
                  </a:cubicBezTo>
                  <a:cubicBezTo>
                    <a:pt x="10856" y="1259"/>
                    <a:pt x="11154" y="1114"/>
                    <a:pt x="11490" y="969"/>
                  </a:cubicBezTo>
                  <a:cubicBezTo>
                    <a:pt x="11602" y="969"/>
                    <a:pt x="11602" y="823"/>
                    <a:pt x="11714" y="823"/>
                  </a:cubicBezTo>
                  <a:lnTo>
                    <a:pt x="11789" y="823"/>
                  </a:lnTo>
                  <a:cubicBezTo>
                    <a:pt x="12236" y="678"/>
                    <a:pt x="12647" y="581"/>
                    <a:pt x="13169" y="436"/>
                  </a:cubicBezTo>
                  <a:lnTo>
                    <a:pt x="13281" y="436"/>
                  </a:lnTo>
                  <a:cubicBezTo>
                    <a:pt x="13393" y="436"/>
                    <a:pt x="13467" y="436"/>
                    <a:pt x="13467" y="291"/>
                  </a:cubicBezTo>
                  <a:cubicBezTo>
                    <a:pt x="13691" y="145"/>
                    <a:pt x="14027" y="145"/>
                    <a:pt x="14213" y="145"/>
                  </a:cubicBezTo>
                  <a:lnTo>
                    <a:pt x="14661" y="145"/>
                  </a:lnTo>
                  <a:cubicBezTo>
                    <a:pt x="14848" y="145"/>
                    <a:pt x="14960" y="145"/>
                    <a:pt x="15072" y="0"/>
                  </a:cubicBezTo>
                  <a:lnTo>
                    <a:pt x="16862" y="0"/>
                  </a:lnTo>
                  <a:cubicBezTo>
                    <a:pt x="17049" y="0"/>
                    <a:pt x="17273" y="0"/>
                    <a:pt x="17496" y="145"/>
                  </a:cubicBezTo>
                  <a:lnTo>
                    <a:pt x="17608" y="145"/>
                  </a:lnTo>
                  <a:cubicBezTo>
                    <a:pt x="17795" y="145"/>
                    <a:pt x="18019" y="291"/>
                    <a:pt x="18131" y="291"/>
                  </a:cubicBezTo>
                  <a:lnTo>
                    <a:pt x="18205" y="291"/>
                  </a:lnTo>
                  <a:cubicBezTo>
                    <a:pt x="18317" y="291"/>
                    <a:pt x="18429" y="436"/>
                    <a:pt x="18541" y="436"/>
                  </a:cubicBezTo>
                  <a:cubicBezTo>
                    <a:pt x="18653" y="436"/>
                    <a:pt x="18765" y="581"/>
                    <a:pt x="18839" y="581"/>
                  </a:cubicBezTo>
                  <a:cubicBezTo>
                    <a:pt x="18839" y="581"/>
                    <a:pt x="18839" y="581"/>
                    <a:pt x="18951" y="581"/>
                  </a:cubicBezTo>
                  <a:cubicBezTo>
                    <a:pt x="19175" y="678"/>
                    <a:pt x="19474" y="823"/>
                    <a:pt x="19697" y="969"/>
                  </a:cubicBezTo>
                  <a:cubicBezTo>
                    <a:pt x="20966" y="1501"/>
                    <a:pt x="21488" y="2761"/>
                    <a:pt x="21600" y="4117"/>
                  </a:cubicBez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3" name="Shape 1464"/>
            <p:cNvSpPr/>
            <p:nvPr/>
          </p:nvSpPr>
          <p:spPr>
            <a:xfrm>
              <a:off x="1917934" y="456943"/>
              <a:ext cx="38464" cy="958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194"/>
                  </a:moveTo>
                  <a:lnTo>
                    <a:pt x="21600" y="21600"/>
                  </a:lnTo>
                  <a:lnTo>
                    <a:pt x="0" y="17196"/>
                  </a:lnTo>
                  <a:lnTo>
                    <a:pt x="0" y="0"/>
                  </a:lnTo>
                  <a:lnTo>
                    <a:pt x="21600" y="4194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4" name="Shape 1465"/>
            <p:cNvSpPr/>
            <p:nvPr/>
          </p:nvSpPr>
          <p:spPr>
            <a:xfrm>
              <a:off x="1956866" y="317606"/>
              <a:ext cx="216740" cy="2351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6944"/>
                  </a:lnTo>
                  <a:lnTo>
                    <a:pt x="0" y="21600"/>
                  </a:lnTo>
                  <a:lnTo>
                    <a:pt x="0" y="14528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5" name="Shape 1466"/>
            <p:cNvSpPr/>
            <p:nvPr/>
          </p:nvSpPr>
          <p:spPr>
            <a:xfrm>
              <a:off x="1309359" y="606526"/>
              <a:ext cx="38458" cy="1040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5885"/>
                  </a:lnTo>
                  <a:lnTo>
                    <a:pt x="0" y="21600"/>
                  </a:lnTo>
                  <a:lnTo>
                    <a:pt x="0" y="5715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6" name="Shape 1467"/>
            <p:cNvSpPr/>
            <p:nvPr/>
          </p:nvSpPr>
          <p:spPr>
            <a:xfrm>
              <a:off x="1045028" y="629066"/>
              <a:ext cx="272065" cy="1675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3889"/>
                  </a:moveTo>
                  <a:lnTo>
                    <a:pt x="21600" y="13881"/>
                  </a:lnTo>
                  <a:cubicBezTo>
                    <a:pt x="21600" y="14181"/>
                    <a:pt x="21600" y="14360"/>
                    <a:pt x="21490" y="14719"/>
                  </a:cubicBezTo>
                  <a:cubicBezTo>
                    <a:pt x="21490" y="14899"/>
                    <a:pt x="21490" y="14899"/>
                    <a:pt x="21416" y="15018"/>
                  </a:cubicBezTo>
                  <a:lnTo>
                    <a:pt x="21416" y="15557"/>
                  </a:lnTo>
                  <a:cubicBezTo>
                    <a:pt x="21306" y="15856"/>
                    <a:pt x="21306" y="16035"/>
                    <a:pt x="21195" y="16215"/>
                  </a:cubicBezTo>
                  <a:cubicBezTo>
                    <a:pt x="21195" y="16394"/>
                    <a:pt x="21195" y="16394"/>
                    <a:pt x="21085" y="16394"/>
                  </a:cubicBezTo>
                  <a:cubicBezTo>
                    <a:pt x="21085" y="16394"/>
                    <a:pt x="21085" y="16574"/>
                    <a:pt x="20974" y="16574"/>
                  </a:cubicBezTo>
                  <a:cubicBezTo>
                    <a:pt x="20901" y="16753"/>
                    <a:pt x="20901" y="16753"/>
                    <a:pt x="20901" y="16873"/>
                  </a:cubicBezTo>
                  <a:cubicBezTo>
                    <a:pt x="20790" y="17232"/>
                    <a:pt x="20680" y="17412"/>
                    <a:pt x="20570" y="17591"/>
                  </a:cubicBezTo>
                  <a:lnTo>
                    <a:pt x="20459" y="17711"/>
                  </a:lnTo>
                  <a:cubicBezTo>
                    <a:pt x="20275" y="18070"/>
                    <a:pt x="20055" y="18429"/>
                    <a:pt x="19834" y="18608"/>
                  </a:cubicBezTo>
                  <a:cubicBezTo>
                    <a:pt x="19834" y="18608"/>
                    <a:pt x="19760" y="18608"/>
                    <a:pt x="19760" y="18728"/>
                  </a:cubicBezTo>
                  <a:cubicBezTo>
                    <a:pt x="19539" y="19087"/>
                    <a:pt x="19319" y="19266"/>
                    <a:pt x="19135" y="19446"/>
                  </a:cubicBezTo>
                  <a:cubicBezTo>
                    <a:pt x="19024" y="19446"/>
                    <a:pt x="19024" y="19625"/>
                    <a:pt x="18914" y="19625"/>
                  </a:cubicBezTo>
                  <a:cubicBezTo>
                    <a:pt x="18803" y="19745"/>
                    <a:pt x="18693" y="19745"/>
                    <a:pt x="18509" y="19925"/>
                  </a:cubicBezTo>
                  <a:cubicBezTo>
                    <a:pt x="18509" y="19925"/>
                    <a:pt x="18509" y="19925"/>
                    <a:pt x="18399" y="19925"/>
                  </a:cubicBezTo>
                  <a:cubicBezTo>
                    <a:pt x="18067" y="20284"/>
                    <a:pt x="17663" y="20463"/>
                    <a:pt x="17368" y="20583"/>
                  </a:cubicBezTo>
                  <a:lnTo>
                    <a:pt x="17258" y="20583"/>
                  </a:lnTo>
                  <a:cubicBezTo>
                    <a:pt x="17148" y="20583"/>
                    <a:pt x="17037" y="20762"/>
                    <a:pt x="16927" y="20762"/>
                  </a:cubicBezTo>
                  <a:cubicBezTo>
                    <a:pt x="16743" y="20942"/>
                    <a:pt x="16632" y="20942"/>
                    <a:pt x="16412" y="20942"/>
                  </a:cubicBezTo>
                  <a:cubicBezTo>
                    <a:pt x="16301" y="20942"/>
                    <a:pt x="16301" y="21121"/>
                    <a:pt x="16228" y="21121"/>
                  </a:cubicBezTo>
                  <a:cubicBezTo>
                    <a:pt x="16117" y="21121"/>
                    <a:pt x="16007" y="21121"/>
                    <a:pt x="15896" y="21301"/>
                  </a:cubicBezTo>
                  <a:cubicBezTo>
                    <a:pt x="15786" y="21301"/>
                    <a:pt x="15602" y="21480"/>
                    <a:pt x="15492" y="21480"/>
                  </a:cubicBezTo>
                  <a:lnTo>
                    <a:pt x="14976" y="21480"/>
                  </a:lnTo>
                  <a:cubicBezTo>
                    <a:pt x="14866" y="21480"/>
                    <a:pt x="14645" y="21480"/>
                    <a:pt x="14535" y="21600"/>
                  </a:cubicBezTo>
                  <a:lnTo>
                    <a:pt x="11959" y="21600"/>
                  </a:lnTo>
                  <a:cubicBezTo>
                    <a:pt x="11628" y="21600"/>
                    <a:pt x="11444" y="21600"/>
                    <a:pt x="11113" y="21480"/>
                  </a:cubicBezTo>
                  <a:lnTo>
                    <a:pt x="10818" y="21480"/>
                  </a:lnTo>
                  <a:cubicBezTo>
                    <a:pt x="10414" y="21301"/>
                    <a:pt x="9972" y="21301"/>
                    <a:pt x="9457" y="21121"/>
                  </a:cubicBezTo>
                  <a:lnTo>
                    <a:pt x="9236" y="21121"/>
                  </a:lnTo>
                  <a:cubicBezTo>
                    <a:pt x="8647" y="20942"/>
                    <a:pt x="8022" y="20762"/>
                    <a:pt x="7470" y="20463"/>
                  </a:cubicBezTo>
                  <a:lnTo>
                    <a:pt x="7396" y="20463"/>
                  </a:lnTo>
                  <a:cubicBezTo>
                    <a:pt x="7286" y="20463"/>
                    <a:pt x="7286" y="20284"/>
                    <a:pt x="7175" y="20284"/>
                  </a:cubicBezTo>
                  <a:cubicBezTo>
                    <a:pt x="6881" y="20104"/>
                    <a:pt x="6550" y="19925"/>
                    <a:pt x="6256" y="19745"/>
                  </a:cubicBezTo>
                  <a:cubicBezTo>
                    <a:pt x="6145" y="19625"/>
                    <a:pt x="6035" y="19625"/>
                    <a:pt x="5924" y="19625"/>
                  </a:cubicBezTo>
                  <a:cubicBezTo>
                    <a:pt x="5520" y="19266"/>
                    <a:pt x="5188" y="19087"/>
                    <a:pt x="4784" y="18728"/>
                  </a:cubicBezTo>
                  <a:cubicBezTo>
                    <a:pt x="1766" y="16215"/>
                    <a:pt x="0" y="12984"/>
                    <a:pt x="0" y="9813"/>
                  </a:cubicBezTo>
                  <a:lnTo>
                    <a:pt x="0" y="0"/>
                  </a:lnTo>
                  <a:cubicBezTo>
                    <a:pt x="0" y="3052"/>
                    <a:pt x="1619" y="6402"/>
                    <a:pt x="4784" y="8975"/>
                  </a:cubicBezTo>
                  <a:cubicBezTo>
                    <a:pt x="5152" y="9274"/>
                    <a:pt x="5520" y="9454"/>
                    <a:pt x="5924" y="9813"/>
                  </a:cubicBezTo>
                  <a:cubicBezTo>
                    <a:pt x="6035" y="9992"/>
                    <a:pt x="6145" y="9992"/>
                    <a:pt x="6256" y="9992"/>
                  </a:cubicBezTo>
                  <a:cubicBezTo>
                    <a:pt x="6550" y="10112"/>
                    <a:pt x="6881" y="10291"/>
                    <a:pt x="7175" y="10471"/>
                  </a:cubicBezTo>
                  <a:cubicBezTo>
                    <a:pt x="7286" y="10471"/>
                    <a:pt x="7396" y="10650"/>
                    <a:pt x="7470" y="10650"/>
                  </a:cubicBezTo>
                  <a:cubicBezTo>
                    <a:pt x="8095" y="11009"/>
                    <a:pt x="8721" y="11129"/>
                    <a:pt x="9236" y="11309"/>
                  </a:cubicBezTo>
                  <a:cubicBezTo>
                    <a:pt x="9347" y="11309"/>
                    <a:pt x="9347" y="11488"/>
                    <a:pt x="9457" y="11488"/>
                  </a:cubicBezTo>
                  <a:cubicBezTo>
                    <a:pt x="9862" y="11668"/>
                    <a:pt x="10303" y="11668"/>
                    <a:pt x="10818" y="11847"/>
                  </a:cubicBezTo>
                  <a:lnTo>
                    <a:pt x="11113" y="11847"/>
                  </a:lnTo>
                  <a:cubicBezTo>
                    <a:pt x="11444" y="11847"/>
                    <a:pt x="11628" y="12027"/>
                    <a:pt x="11959" y="12027"/>
                  </a:cubicBezTo>
                  <a:lnTo>
                    <a:pt x="14461" y="12027"/>
                  </a:lnTo>
                  <a:cubicBezTo>
                    <a:pt x="14535" y="12027"/>
                    <a:pt x="14756" y="12027"/>
                    <a:pt x="14866" y="11847"/>
                  </a:cubicBezTo>
                  <a:cubicBezTo>
                    <a:pt x="15087" y="11847"/>
                    <a:pt x="15160" y="11668"/>
                    <a:pt x="15381" y="11668"/>
                  </a:cubicBezTo>
                  <a:cubicBezTo>
                    <a:pt x="15602" y="11668"/>
                    <a:pt x="15676" y="11488"/>
                    <a:pt x="15786" y="11488"/>
                  </a:cubicBezTo>
                  <a:cubicBezTo>
                    <a:pt x="15896" y="11488"/>
                    <a:pt x="16117" y="11309"/>
                    <a:pt x="16228" y="11309"/>
                  </a:cubicBezTo>
                  <a:cubicBezTo>
                    <a:pt x="16412" y="11129"/>
                    <a:pt x="16522" y="11129"/>
                    <a:pt x="16743" y="11129"/>
                  </a:cubicBezTo>
                  <a:cubicBezTo>
                    <a:pt x="16816" y="11129"/>
                    <a:pt x="16927" y="11009"/>
                    <a:pt x="17037" y="11009"/>
                  </a:cubicBezTo>
                  <a:cubicBezTo>
                    <a:pt x="17442" y="10830"/>
                    <a:pt x="17773" y="10650"/>
                    <a:pt x="18067" y="10291"/>
                  </a:cubicBezTo>
                  <a:cubicBezTo>
                    <a:pt x="18178" y="10112"/>
                    <a:pt x="18399" y="10112"/>
                    <a:pt x="18509" y="9992"/>
                  </a:cubicBezTo>
                  <a:cubicBezTo>
                    <a:pt x="18583" y="9992"/>
                    <a:pt x="18583" y="9813"/>
                    <a:pt x="18693" y="9813"/>
                  </a:cubicBezTo>
                  <a:cubicBezTo>
                    <a:pt x="18914" y="9633"/>
                    <a:pt x="19135" y="9274"/>
                    <a:pt x="19319" y="9155"/>
                  </a:cubicBezTo>
                  <a:cubicBezTo>
                    <a:pt x="19650" y="8796"/>
                    <a:pt x="19834" y="8437"/>
                    <a:pt x="20055" y="8137"/>
                  </a:cubicBezTo>
                  <a:lnTo>
                    <a:pt x="20165" y="7958"/>
                  </a:lnTo>
                  <a:cubicBezTo>
                    <a:pt x="20349" y="7599"/>
                    <a:pt x="20459" y="7300"/>
                    <a:pt x="20680" y="6941"/>
                  </a:cubicBezTo>
                  <a:cubicBezTo>
                    <a:pt x="20680" y="6941"/>
                    <a:pt x="20680" y="6761"/>
                    <a:pt x="20790" y="6761"/>
                  </a:cubicBezTo>
                  <a:cubicBezTo>
                    <a:pt x="20901" y="6402"/>
                    <a:pt x="20974" y="6103"/>
                    <a:pt x="21085" y="5744"/>
                  </a:cubicBezTo>
                  <a:lnTo>
                    <a:pt x="21085" y="5565"/>
                  </a:lnTo>
                  <a:cubicBezTo>
                    <a:pt x="21490" y="4727"/>
                    <a:pt x="21490" y="4248"/>
                    <a:pt x="21600" y="3889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7" name="Shape 1468"/>
            <p:cNvSpPr/>
            <p:nvPr/>
          </p:nvSpPr>
          <p:spPr>
            <a:xfrm>
              <a:off x="1346243" y="606526"/>
              <a:ext cx="255671" cy="2023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3457"/>
                  </a:moveTo>
                  <a:lnTo>
                    <a:pt x="21600" y="21600"/>
                  </a:lnTo>
                  <a:lnTo>
                    <a:pt x="0" y="8143"/>
                  </a:lnTo>
                  <a:lnTo>
                    <a:pt x="0" y="0"/>
                  </a:lnTo>
                  <a:lnTo>
                    <a:pt x="21600" y="13457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8" name="Shape 1469"/>
            <p:cNvSpPr/>
            <p:nvPr/>
          </p:nvSpPr>
          <p:spPr>
            <a:xfrm>
              <a:off x="1602376" y="573740"/>
              <a:ext cx="218788" cy="2351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6972"/>
                  </a:lnTo>
                  <a:lnTo>
                    <a:pt x="0" y="21600"/>
                  </a:lnTo>
                  <a:lnTo>
                    <a:pt x="0" y="14585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9" name="Shape 1470"/>
            <p:cNvSpPr/>
            <p:nvPr/>
          </p:nvSpPr>
          <p:spPr>
            <a:xfrm>
              <a:off x="952820" y="0"/>
              <a:ext cx="1220785" cy="7331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9355"/>
                  </a:moveTo>
                  <a:lnTo>
                    <a:pt x="17730" y="14026"/>
                  </a:lnTo>
                  <a:lnTo>
                    <a:pt x="17057" y="13478"/>
                  </a:lnTo>
                  <a:cubicBezTo>
                    <a:pt x="17262" y="12752"/>
                    <a:pt x="17196" y="12094"/>
                    <a:pt x="16777" y="11738"/>
                  </a:cubicBezTo>
                  <a:cubicBezTo>
                    <a:pt x="16054" y="11163"/>
                    <a:pt x="14625" y="11738"/>
                    <a:pt x="13556" y="13026"/>
                  </a:cubicBezTo>
                  <a:cubicBezTo>
                    <a:pt x="12488" y="14341"/>
                    <a:pt x="12209" y="15847"/>
                    <a:pt x="12932" y="16423"/>
                  </a:cubicBezTo>
                  <a:cubicBezTo>
                    <a:pt x="13343" y="16765"/>
                    <a:pt x="14017" y="16697"/>
                    <a:pt x="14690" y="16340"/>
                  </a:cubicBezTo>
                  <a:lnTo>
                    <a:pt x="15364" y="16888"/>
                  </a:lnTo>
                  <a:lnTo>
                    <a:pt x="11494" y="21600"/>
                  </a:lnTo>
                  <a:lnTo>
                    <a:pt x="6943" y="17888"/>
                  </a:lnTo>
                  <a:lnTo>
                    <a:pt x="6285" y="18696"/>
                  </a:lnTo>
                  <a:cubicBezTo>
                    <a:pt x="6515" y="19354"/>
                    <a:pt x="6441" y="20052"/>
                    <a:pt x="6031" y="20559"/>
                  </a:cubicBezTo>
                  <a:cubicBezTo>
                    <a:pt x="5308" y="21408"/>
                    <a:pt x="3862" y="21408"/>
                    <a:pt x="2777" y="20518"/>
                  </a:cubicBezTo>
                  <a:cubicBezTo>
                    <a:pt x="1684" y="19628"/>
                    <a:pt x="1389" y="18244"/>
                    <a:pt x="2112" y="17354"/>
                  </a:cubicBezTo>
                  <a:cubicBezTo>
                    <a:pt x="2522" y="16847"/>
                    <a:pt x="3171" y="16655"/>
                    <a:pt x="3870" y="16738"/>
                  </a:cubicBezTo>
                  <a:lnTo>
                    <a:pt x="4543" y="15916"/>
                  </a:lnTo>
                  <a:lnTo>
                    <a:pt x="0" y="12204"/>
                  </a:lnTo>
                  <a:lnTo>
                    <a:pt x="3870" y="7533"/>
                  </a:lnTo>
                  <a:lnTo>
                    <a:pt x="4543" y="8067"/>
                  </a:lnTo>
                  <a:cubicBezTo>
                    <a:pt x="4330" y="8807"/>
                    <a:pt x="4404" y="9465"/>
                    <a:pt x="4823" y="9807"/>
                  </a:cubicBezTo>
                  <a:cubicBezTo>
                    <a:pt x="5538" y="10396"/>
                    <a:pt x="6967" y="9848"/>
                    <a:pt x="8035" y="8533"/>
                  </a:cubicBezTo>
                  <a:cubicBezTo>
                    <a:pt x="9103" y="7218"/>
                    <a:pt x="9383" y="5712"/>
                    <a:pt x="8660" y="5136"/>
                  </a:cubicBezTo>
                  <a:cubicBezTo>
                    <a:pt x="8241" y="4794"/>
                    <a:pt x="7575" y="4862"/>
                    <a:pt x="6901" y="5219"/>
                  </a:cubicBezTo>
                  <a:lnTo>
                    <a:pt x="6236" y="4671"/>
                  </a:lnTo>
                  <a:lnTo>
                    <a:pt x="10098" y="0"/>
                  </a:lnTo>
                  <a:lnTo>
                    <a:pt x="14641" y="3698"/>
                  </a:lnTo>
                  <a:lnTo>
                    <a:pt x="15315" y="2890"/>
                  </a:lnTo>
                  <a:cubicBezTo>
                    <a:pt x="15085" y="2233"/>
                    <a:pt x="15150" y="1534"/>
                    <a:pt x="15569" y="1041"/>
                  </a:cubicBezTo>
                  <a:cubicBezTo>
                    <a:pt x="16292" y="192"/>
                    <a:pt x="17730" y="192"/>
                    <a:pt x="18815" y="1082"/>
                  </a:cubicBezTo>
                  <a:cubicBezTo>
                    <a:pt x="19907" y="1972"/>
                    <a:pt x="20211" y="3356"/>
                    <a:pt x="19488" y="4246"/>
                  </a:cubicBezTo>
                  <a:cubicBezTo>
                    <a:pt x="19069" y="4753"/>
                    <a:pt x="18420" y="4945"/>
                    <a:pt x="17730" y="4862"/>
                  </a:cubicBezTo>
                  <a:lnTo>
                    <a:pt x="17057" y="5671"/>
                  </a:lnTo>
                  <a:lnTo>
                    <a:pt x="21600" y="9355"/>
                  </a:lnTo>
                </a:path>
              </a:pathLst>
            </a:custGeom>
            <a:solidFill>
              <a:srgbClr val="EAFFE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0" name="Shape 1471"/>
            <p:cNvSpPr/>
            <p:nvPr/>
          </p:nvSpPr>
          <p:spPr>
            <a:xfrm>
              <a:off x="1791232" y="778303"/>
              <a:ext cx="346850" cy="2008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81" h="19646" extrusionOk="0">
                  <a:moveTo>
                    <a:pt x="2849" y="16759"/>
                  </a:moveTo>
                  <a:cubicBezTo>
                    <a:pt x="-949" y="12885"/>
                    <a:pt x="-949" y="6688"/>
                    <a:pt x="2849" y="2905"/>
                  </a:cubicBezTo>
                  <a:cubicBezTo>
                    <a:pt x="6726" y="-968"/>
                    <a:pt x="12897" y="-968"/>
                    <a:pt x="16774" y="2905"/>
                  </a:cubicBezTo>
                  <a:cubicBezTo>
                    <a:pt x="20651" y="6733"/>
                    <a:pt x="20651" y="12931"/>
                    <a:pt x="16774" y="16759"/>
                  </a:cubicBezTo>
                  <a:cubicBezTo>
                    <a:pt x="12897" y="20632"/>
                    <a:pt x="6726" y="20586"/>
                    <a:pt x="2849" y="16759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1" name="Shape 1472"/>
            <p:cNvSpPr/>
            <p:nvPr/>
          </p:nvSpPr>
          <p:spPr>
            <a:xfrm>
              <a:off x="1844191" y="820483"/>
              <a:ext cx="99532" cy="446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882" h="17564" extrusionOk="0">
                  <a:moveTo>
                    <a:pt x="6902" y="1562"/>
                  </a:moveTo>
                  <a:cubicBezTo>
                    <a:pt x="9520" y="2661"/>
                    <a:pt x="14850" y="-3563"/>
                    <a:pt x="19058" y="3210"/>
                  </a:cubicBezTo>
                  <a:cubicBezTo>
                    <a:pt x="20367" y="6139"/>
                    <a:pt x="20367" y="16939"/>
                    <a:pt x="17188" y="17488"/>
                  </a:cubicBezTo>
                  <a:cubicBezTo>
                    <a:pt x="14009" y="18037"/>
                    <a:pt x="13728" y="15474"/>
                    <a:pt x="11390" y="13827"/>
                  </a:cubicBezTo>
                  <a:cubicBezTo>
                    <a:pt x="9053" y="12912"/>
                    <a:pt x="1853" y="11813"/>
                    <a:pt x="263" y="8701"/>
                  </a:cubicBezTo>
                  <a:cubicBezTo>
                    <a:pt x="-1233" y="5590"/>
                    <a:pt x="4003" y="647"/>
                    <a:pt x="6902" y="1562"/>
                  </a:cubicBezTo>
                </a:path>
              </a:pathLst>
            </a:custGeom>
            <a:solidFill>
              <a:srgbClr val="47716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2" name="Shape 1473"/>
            <p:cNvSpPr/>
            <p:nvPr/>
          </p:nvSpPr>
          <p:spPr>
            <a:xfrm>
              <a:off x="1836955" y="647507"/>
              <a:ext cx="136138" cy="1886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193" h="20545" extrusionOk="0">
                  <a:moveTo>
                    <a:pt x="16801" y="7368"/>
                  </a:moveTo>
                  <a:cubicBezTo>
                    <a:pt x="12718" y="7267"/>
                    <a:pt x="9557" y="7671"/>
                    <a:pt x="10282" y="9538"/>
                  </a:cubicBezTo>
                  <a:cubicBezTo>
                    <a:pt x="11006" y="11355"/>
                    <a:pt x="14167" y="19935"/>
                    <a:pt x="14167" y="19935"/>
                  </a:cubicBezTo>
                  <a:cubicBezTo>
                    <a:pt x="11928" y="21600"/>
                    <a:pt x="7121" y="19329"/>
                    <a:pt x="7121" y="19329"/>
                  </a:cubicBezTo>
                  <a:cubicBezTo>
                    <a:pt x="7121" y="19329"/>
                    <a:pt x="2313" y="10800"/>
                    <a:pt x="799" y="8226"/>
                  </a:cubicBezTo>
                  <a:cubicBezTo>
                    <a:pt x="-716" y="5703"/>
                    <a:pt x="74" y="3684"/>
                    <a:pt x="1918" y="2826"/>
                  </a:cubicBezTo>
                  <a:cubicBezTo>
                    <a:pt x="3762" y="1968"/>
                    <a:pt x="14167" y="0"/>
                    <a:pt x="14167" y="0"/>
                  </a:cubicBezTo>
                  <a:cubicBezTo>
                    <a:pt x="19567" y="0"/>
                    <a:pt x="20884" y="7520"/>
                    <a:pt x="16801" y="7368"/>
                  </a:cubicBezTo>
                </a:path>
              </a:pathLst>
            </a:custGeom>
            <a:solidFill>
              <a:srgbClr val="4773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3" name="Shape 1474"/>
            <p:cNvSpPr/>
            <p:nvPr/>
          </p:nvSpPr>
          <p:spPr>
            <a:xfrm>
              <a:off x="2020518" y="870856"/>
              <a:ext cx="78982" cy="949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595" h="20530" extrusionOk="0">
                  <a:moveTo>
                    <a:pt x="4004" y="6229"/>
                  </a:moveTo>
                  <a:cubicBezTo>
                    <a:pt x="5868" y="2813"/>
                    <a:pt x="13653" y="0"/>
                    <a:pt x="13653" y="0"/>
                  </a:cubicBezTo>
                  <a:cubicBezTo>
                    <a:pt x="13653" y="0"/>
                    <a:pt x="20122" y="2813"/>
                    <a:pt x="18258" y="6028"/>
                  </a:cubicBezTo>
                  <a:cubicBezTo>
                    <a:pt x="16394" y="9343"/>
                    <a:pt x="14311" y="8841"/>
                    <a:pt x="13653" y="11654"/>
                  </a:cubicBezTo>
                  <a:cubicBezTo>
                    <a:pt x="12995" y="14467"/>
                    <a:pt x="9048" y="21600"/>
                    <a:pt x="3785" y="20394"/>
                  </a:cubicBezTo>
                  <a:cubicBezTo>
                    <a:pt x="-1478" y="19289"/>
                    <a:pt x="-601" y="15572"/>
                    <a:pt x="2469" y="15371"/>
                  </a:cubicBezTo>
                  <a:cubicBezTo>
                    <a:pt x="5649" y="14768"/>
                    <a:pt x="2250" y="9946"/>
                    <a:pt x="4004" y="6229"/>
                  </a:cubicBezTo>
                </a:path>
              </a:pathLst>
            </a:custGeom>
            <a:solidFill>
              <a:srgbClr val="47716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4" name="Shape 1475"/>
            <p:cNvSpPr/>
            <p:nvPr/>
          </p:nvSpPr>
          <p:spPr>
            <a:xfrm>
              <a:off x="1887198" y="452025"/>
              <a:ext cx="48723" cy="433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005" extrusionOk="0">
                  <a:moveTo>
                    <a:pt x="7873" y="80"/>
                  </a:moveTo>
                  <a:cubicBezTo>
                    <a:pt x="8479" y="-595"/>
                    <a:pt x="19379" y="3230"/>
                    <a:pt x="19379" y="3230"/>
                  </a:cubicBezTo>
                  <a:lnTo>
                    <a:pt x="21600" y="16505"/>
                  </a:lnTo>
                  <a:lnTo>
                    <a:pt x="3432" y="21005"/>
                  </a:lnTo>
                  <a:lnTo>
                    <a:pt x="0" y="7730"/>
                  </a:lnTo>
                  <a:cubicBezTo>
                    <a:pt x="606" y="7055"/>
                    <a:pt x="7873" y="80"/>
                    <a:pt x="7873" y="80"/>
                  </a:cubicBezTo>
                </a:path>
              </a:pathLst>
            </a:custGeom>
            <a:solidFill>
              <a:srgbClr val="FFE98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5" name="Shape 1476"/>
            <p:cNvSpPr/>
            <p:nvPr/>
          </p:nvSpPr>
          <p:spPr>
            <a:xfrm>
              <a:off x="1872855" y="374965"/>
              <a:ext cx="82977" cy="1020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54" h="21178" extrusionOk="0">
                  <a:moveTo>
                    <a:pt x="4126" y="7128"/>
                  </a:moveTo>
                  <a:cubicBezTo>
                    <a:pt x="4490" y="6555"/>
                    <a:pt x="3762" y="6268"/>
                    <a:pt x="2427" y="6555"/>
                  </a:cubicBezTo>
                  <a:cubicBezTo>
                    <a:pt x="1335" y="6268"/>
                    <a:pt x="728" y="5790"/>
                    <a:pt x="0" y="4643"/>
                  </a:cubicBezTo>
                  <a:cubicBezTo>
                    <a:pt x="971" y="3114"/>
                    <a:pt x="2063" y="1967"/>
                    <a:pt x="3034" y="1490"/>
                  </a:cubicBezTo>
                  <a:cubicBezTo>
                    <a:pt x="6189" y="151"/>
                    <a:pt x="9222" y="-422"/>
                    <a:pt x="12620" y="343"/>
                  </a:cubicBezTo>
                  <a:cubicBezTo>
                    <a:pt x="16139" y="916"/>
                    <a:pt x="18445" y="2254"/>
                    <a:pt x="19901" y="4452"/>
                  </a:cubicBezTo>
                  <a:cubicBezTo>
                    <a:pt x="20144" y="4930"/>
                    <a:pt x="20144" y="5504"/>
                    <a:pt x="20508" y="6077"/>
                  </a:cubicBezTo>
                  <a:cubicBezTo>
                    <a:pt x="21600" y="7702"/>
                    <a:pt x="21600" y="9518"/>
                    <a:pt x="21236" y="11429"/>
                  </a:cubicBezTo>
                  <a:cubicBezTo>
                    <a:pt x="20872" y="13819"/>
                    <a:pt x="20265" y="15443"/>
                    <a:pt x="19537" y="16590"/>
                  </a:cubicBezTo>
                  <a:cubicBezTo>
                    <a:pt x="18930" y="17642"/>
                    <a:pt x="18445" y="18215"/>
                    <a:pt x="18081" y="18406"/>
                  </a:cubicBezTo>
                  <a:cubicBezTo>
                    <a:pt x="17474" y="19266"/>
                    <a:pt x="17110" y="19840"/>
                    <a:pt x="16746" y="20031"/>
                  </a:cubicBezTo>
                  <a:cubicBezTo>
                    <a:pt x="16382" y="20031"/>
                    <a:pt x="15411" y="20318"/>
                    <a:pt x="14076" y="20605"/>
                  </a:cubicBezTo>
                  <a:cubicBezTo>
                    <a:pt x="12620" y="20891"/>
                    <a:pt x="11649" y="21178"/>
                    <a:pt x="10921" y="21178"/>
                  </a:cubicBezTo>
                  <a:cubicBezTo>
                    <a:pt x="10921" y="21178"/>
                    <a:pt x="10557" y="20891"/>
                    <a:pt x="9222" y="20891"/>
                  </a:cubicBezTo>
                  <a:cubicBezTo>
                    <a:pt x="7888" y="20891"/>
                    <a:pt x="6796" y="20031"/>
                    <a:pt x="6553" y="18406"/>
                  </a:cubicBezTo>
                  <a:lnTo>
                    <a:pt x="5461" y="16017"/>
                  </a:lnTo>
                  <a:cubicBezTo>
                    <a:pt x="5825" y="15443"/>
                    <a:pt x="6310" y="14583"/>
                    <a:pt x="6553" y="13819"/>
                  </a:cubicBezTo>
                  <a:cubicBezTo>
                    <a:pt x="6917" y="12959"/>
                    <a:pt x="6796" y="12481"/>
                    <a:pt x="6796" y="12003"/>
                  </a:cubicBezTo>
                  <a:cubicBezTo>
                    <a:pt x="6796" y="11429"/>
                    <a:pt x="6553" y="10856"/>
                    <a:pt x="5461" y="10378"/>
                  </a:cubicBezTo>
                  <a:cubicBezTo>
                    <a:pt x="4733" y="9805"/>
                    <a:pt x="4126" y="10091"/>
                    <a:pt x="3398" y="11143"/>
                  </a:cubicBezTo>
                  <a:cubicBezTo>
                    <a:pt x="3398" y="12290"/>
                    <a:pt x="3034" y="13054"/>
                    <a:pt x="3034" y="13628"/>
                  </a:cubicBezTo>
                  <a:lnTo>
                    <a:pt x="1699" y="13628"/>
                  </a:lnTo>
                  <a:cubicBezTo>
                    <a:pt x="1699" y="11716"/>
                    <a:pt x="1335" y="10665"/>
                    <a:pt x="1335" y="10091"/>
                  </a:cubicBezTo>
                  <a:cubicBezTo>
                    <a:pt x="3034" y="8466"/>
                    <a:pt x="3762" y="7702"/>
                    <a:pt x="4126" y="7128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6" name="Shape 1477"/>
            <p:cNvSpPr/>
            <p:nvPr/>
          </p:nvSpPr>
          <p:spPr>
            <a:xfrm>
              <a:off x="1869340" y="397520"/>
              <a:ext cx="29702" cy="855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84" h="21600" extrusionOk="0">
                  <a:moveTo>
                    <a:pt x="3130" y="15580"/>
                  </a:moveTo>
                  <a:cubicBezTo>
                    <a:pt x="229" y="13928"/>
                    <a:pt x="229" y="12275"/>
                    <a:pt x="229" y="9679"/>
                  </a:cubicBezTo>
                  <a:cubicBezTo>
                    <a:pt x="1196" y="7318"/>
                    <a:pt x="1196" y="5902"/>
                    <a:pt x="229" y="5311"/>
                  </a:cubicBezTo>
                  <a:cubicBezTo>
                    <a:pt x="-416" y="4013"/>
                    <a:pt x="229" y="2007"/>
                    <a:pt x="3130" y="0"/>
                  </a:cubicBezTo>
                  <a:cubicBezTo>
                    <a:pt x="4097" y="1298"/>
                    <a:pt x="6677" y="2243"/>
                    <a:pt x="9578" y="2243"/>
                  </a:cubicBezTo>
                  <a:cubicBezTo>
                    <a:pt x="13124" y="2243"/>
                    <a:pt x="14091" y="2597"/>
                    <a:pt x="14091" y="3305"/>
                  </a:cubicBezTo>
                  <a:cubicBezTo>
                    <a:pt x="13124" y="4013"/>
                    <a:pt x="11190" y="5311"/>
                    <a:pt x="6677" y="6964"/>
                  </a:cubicBezTo>
                  <a:cubicBezTo>
                    <a:pt x="6677" y="7672"/>
                    <a:pt x="6677" y="8970"/>
                    <a:pt x="7644" y="11331"/>
                  </a:cubicBezTo>
                  <a:lnTo>
                    <a:pt x="11190" y="11331"/>
                  </a:lnTo>
                  <a:cubicBezTo>
                    <a:pt x="11190" y="10623"/>
                    <a:pt x="12157" y="9679"/>
                    <a:pt x="12157" y="8262"/>
                  </a:cubicBezTo>
                  <a:cubicBezTo>
                    <a:pt x="13124" y="6964"/>
                    <a:pt x="15703" y="6610"/>
                    <a:pt x="17638" y="7318"/>
                  </a:cubicBezTo>
                  <a:cubicBezTo>
                    <a:pt x="19572" y="7908"/>
                    <a:pt x="21184" y="8616"/>
                    <a:pt x="21184" y="9325"/>
                  </a:cubicBezTo>
                  <a:cubicBezTo>
                    <a:pt x="21184" y="9679"/>
                    <a:pt x="21184" y="10623"/>
                    <a:pt x="20539" y="11567"/>
                  </a:cubicBezTo>
                  <a:cubicBezTo>
                    <a:pt x="20539" y="12630"/>
                    <a:pt x="19572" y="13574"/>
                    <a:pt x="17638" y="14282"/>
                  </a:cubicBezTo>
                  <a:lnTo>
                    <a:pt x="20539" y="17233"/>
                  </a:lnTo>
                  <a:cubicBezTo>
                    <a:pt x="19572" y="17587"/>
                    <a:pt x="18605" y="18295"/>
                    <a:pt x="17638" y="19593"/>
                  </a:cubicBezTo>
                  <a:cubicBezTo>
                    <a:pt x="17638" y="19948"/>
                    <a:pt x="16671" y="20302"/>
                    <a:pt x="15703" y="20892"/>
                  </a:cubicBezTo>
                  <a:lnTo>
                    <a:pt x="15059" y="21600"/>
                  </a:lnTo>
                  <a:lnTo>
                    <a:pt x="13124" y="21600"/>
                  </a:lnTo>
                  <a:cubicBezTo>
                    <a:pt x="11190" y="21600"/>
                    <a:pt x="9578" y="21600"/>
                    <a:pt x="7644" y="20892"/>
                  </a:cubicBezTo>
                  <a:cubicBezTo>
                    <a:pt x="5709" y="20302"/>
                    <a:pt x="4097" y="18649"/>
                    <a:pt x="3130" y="1558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7" name="Shape 1478"/>
            <p:cNvSpPr/>
            <p:nvPr/>
          </p:nvSpPr>
          <p:spPr>
            <a:xfrm>
              <a:off x="1934327" y="651605"/>
              <a:ext cx="147069" cy="2495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2919" y="1252"/>
                  </a:lnTo>
                  <a:cubicBezTo>
                    <a:pt x="12919" y="1252"/>
                    <a:pt x="12714" y="9326"/>
                    <a:pt x="12919" y="11830"/>
                  </a:cubicBezTo>
                  <a:lnTo>
                    <a:pt x="21600" y="19460"/>
                  </a:lnTo>
                  <a:cubicBezTo>
                    <a:pt x="21600" y="19460"/>
                    <a:pt x="18114" y="21600"/>
                    <a:pt x="15380" y="21600"/>
                  </a:cubicBezTo>
                  <a:cubicBezTo>
                    <a:pt x="15380" y="21600"/>
                    <a:pt x="7109" y="16351"/>
                    <a:pt x="5947" y="14131"/>
                  </a:cubicBezTo>
                  <a:cubicBezTo>
                    <a:pt x="4580" y="11951"/>
                    <a:pt x="0" y="0"/>
                    <a:pt x="0" y="0"/>
                  </a:cubicBezTo>
                </a:path>
              </a:pathLst>
            </a:custGeom>
            <a:solidFill>
              <a:srgbClr val="52858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8" name="Shape 1479"/>
            <p:cNvSpPr/>
            <p:nvPr/>
          </p:nvSpPr>
          <p:spPr>
            <a:xfrm>
              <a:off x="1788767" y="400912"/>
              <a:ext cx="106166" cy="1334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32" h="21385" extrusionOk="0">
                  <a:moveTo>
                    <a:pt x="18921" y="21385"/>
                  </a:moveTo>
                  <a:cubicBezTo>
                    <a:pt x="18921" y="21385"/>
                    <a:pt x="13410" y="18861"/>
                    <a:pt x="10832" y="17228"/>
                  </a:cubicBezTo>
                  <a:cubicBezTo>
                    <a:pt x="8343" y="15521"/>
                    <a:pt x="3632" y="7133"/>
                    <a:pt x="3632" y="7133"/>
                  </a:cubicBezTo>
                  <a:cubicBezTo>
                    <a:pt x="-1168" y="4387"/>
                    <a:pt x="-812" y="230"/>
                    <a:pt x="2388" y="8"/>
                  </a:cubicBezTo>
                  <a:cubicBezTo>
                    <a:pt x="5676" y="-215"/>
                    <a:pt x="6832" y="4610"/>
                    <a:pt x="6832" y="4610"/>
                  </a:cubicBezTo>
                  <a:cubicBezTo>
                    <a:pt x="9410" y="7133"/>
                    <a:pt x="16432" y="14037"/>
                    <a:pt x="16432" y="14037"/>
                  </a:cubicBezTo>
                  <a:lnTo>
                    <a:pt x="20432" y="14705"/>
                  </a:lnTo>
                  <a:lnTo>
                    <a:pt x="18921" y="21385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9" name="Shape 1480"/>
            <p:cNvSpPr/>
            <p:nvPr/>
          </p:nvSpPr>
          <p:spPr>
            <a:xfrm>
              <a:off x="1872737" y="487679"/>
              <a:ext cx="90592" cy="656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809" h="16554" extrusionOk="0">
                  <a:moveTo>
                    <a:pt x="18643" y="12678"/>
                  </a:moveTo>
                  <a:cubicBezTo>
                    <a:pt x="16415" y="21600"/>
                    <a:pt x="1402" y="12326"/>
                    <a:pt x="1402" y="12326"/>
                  </a:cubicBezTo>
                  <a:cubicBezTo>
                    <a:pt x="1402" y="12326"/>
                    <a:pt x="-826" y="8687"/>
                    <a:pt x="336" y="4696"/>
                  </a:cubicBezTo>
                  <a:cubicBezTo>
                    <a:pt x="1111" y="1057"/>
                    <a:pt x="1692" y="0"/>
                    <a:pt x="1692" y="0"/>
                  </a:cubicBezTo>
                  <a:cubicBezTo>
                    <a:pt x="1692" y="0"/>
                    <a:pt x="20774" y="3639"/>
                    <a:pt x="18643" y="12678"/>
                  </a:cubicBezTo>
                </a:path>
              </a:pathLst>
            </a:custGeom>
            <a:solidFill>
              <a:srgbClr val="47686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0" name="Shape 1481"/>
            <p:cNvSpPr/>
            <p:nvPr/>
          </p:nvSpPr>
          <p:spPr>
            <a:xfrm>
              <a:off x="1874904" y="482162"/>
              <a:ext cx="151166" cy="1932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7909" extrusionOk="0">
                  <a:moveTo>
                    <a:pt x="15600" y="2804"/>
                  </a:moveTo>
                  <a:cubicBezTo>
                    <a:pt x="18800" y="5741"/>
                    <a:pt x="21600" y="17189"/>
                    <a:pt x="21600" y="17189"/>
                  </a:cubicBezTo>
                  <a:cubicBezTo>
                    <a:pt x="14467" y="19263"/>
                    <a:pt x="3933" y="16196"/>
                    <a:pt x="3933" y="16196"/>
                  </a:cubicBezTo>
                  <a:lnTo>
                    <a:pt x="0" y="3279"/>
                  </a:lnTo>
                  <a:cubicBezTo>
                    <a:pt x="3733" y="-2337"/>
                    <a:pt x="13133" y="471"/>
                    <a:pt x="15600" y="2804"/>
                  </a:cubicBezTo>
                </a:path>
              </a:pathLst>
            </a:custGeom>
            <a:solidFill>
              <a:srgbClr val="477A7D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1" name="Shape 1482"/>
            <p:cNvSpPr/>
            <p:nvPr/>
          </p:nvSpPr>
          <p:spPr>
            <a:xfrm>
              <a:off x="1711533" y="468366"/>
              <a:ext cx="154713" cy="926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44" h="20017" extrusionOk="0">
                  <a:moveTo>
                    <a:pt x="20444" y="20017"/>
                  </a:moveTo>
                  <a:cubicBezTo>
                    <a:pt x="20444" y="20017"/>
                    <a:pt x="15794" y="19815"/>
                    <a:pt x="13346" y="18907"/>
                  </a:cubicBezTo>
                  <a:cubicBezTo>
                    <a:pt x="11082" y="17796"/>
                    <a:pt x="4535" y="9217"/>
                    <a:pt x="4535" y="9217"/>
                  </a:cubicBezTo>
                  <a:cubicBezTo>
                    <a:pt x="374" y="8107"/>
                    <a:pt x="-1156" y="2353"/>
                    <a:pt x="924" y="436"/>
                  </a:cubicBezTo>
                  <a:cubicBezTo>
                    <a:pt x="3005" y="-1583"/>
                    <a:pt x="5758" y="4069"/>
                    <a:pt x="5758" y="4069"/>
                  </a:cubicBezTo>
                  <a:cubicBezTo>
                    <a:pt x="8328" y="6088"/>
                    <a:pt x="15794" y="11841"/>
                    <a:pt x="15794" y="11841"/>
                  </a:cubicBezTo>
                  <a:lnTo>
                    <a:pt x="18731" y="10327"/>
                  </a:lnTo>
                  <a:lnTo>
                    <a:pt x="20444" y="20017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2" name="Shape 1483"/>
            <p:cNvSpPr/>
            <p:nvPr/>
          </p:nvSpPr>
          <p:spPr>
            <a:xfrm>
              <a:off x="1847496" y="505717"/>
              <a:ext cx="92559" cy="600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004" h="16752" extrusionOk="0">
                  <a:moveTo>
                    <a:pt x="19930" y="6532"/>
                  </a:moveTo>
                  <a:cubicBezTo>
                    <a:pt x="21324" y="17138"/>
                    <a:pt x="2511" y="16750"/>
                    <a:pt x="2511" y="16750"/>
                  </a:cubicBezTo>
                  <a:cubicBezTo>
                    <a:pt x="2511" y="16750"/>
                    <a:pt x="819" y="12999"/>
                    <a:pt x="222" y="8343"/>
                  </a:cubicBezTo>
                  <a:cubicBezTo>
                    <a:pt x="-276" y="3945"/>
                    <a:pt x="222" y="1746"/>
                    <a:pt x="222" y="1746"/>
                  </a:cubicBezTo>
                  <a:cubicBezTo>
                    <a:pt x="222" y="1746"/>
                    <a:pt x="18537" y="-4462"/>
                    <a:pt x="19930" y="6532"/>
                  </a:cubicBezTo>
                </a:path>
              </a:pathLst>
            </a:custGeom>
            <a:solidFill>
              <a:srgbClr val="475F5A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sp>
        <p:nvSpPr>
          <p:cNvPr id="393" name="Shape 1488"/>
          <p:cNvSpPr/>
          <p:nvPr/>
        </p:nvSpPr>
        <p:spPr>
          <a:xfrm>
            <a:off x="5440796" y="2297783"/>
            <a:ext cx="2494766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400">
                <a:solidFill>
                  <a:srgbClr val="726658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1. Executive </a:t>
            </a:r>
            <a:r>
              <a:rPr lang="en-US" altLang="de-DE" dirty="0"/>
              <a:t>Summary</a:t>
            </a:r>
          </a:p>
        </p:txBody>
      </p:sp>
      <p:sp>
        <p:nvSpPr>
          <p:cNvPr id="395" name="Shape 1392"/>
          <p:cNvSpPr/>
          <p:nvPr/>
        </p:nvSpPr>
        <p:spPr>
          <a:xfrm>
            <a:off x="5877113" y="1779946"/>
            <a:ext cx="348337" cy="3497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19101"/>
                </a:lnTo>
                <a:cubicBezTo>
                  <a:pt x="21600" y="20532"/>
                  <a:pt x="20507" y="21600"/>
                  <a:pt x="19090" y="21600"/>
                </a:cubicBezTo>
                <a:lnTo>
                  <a:pt x="2510" y="21600"/>
                </a:lnTo>
                <a:cubicBezTo>
                  <a:pt x="1093" y="21600"/>
                  <a:pt x="0" y="20472"/>
                  <a:pt x="0" y="19101"/>
                </a:cubicBezTo>
                <a:lnTo>
                  <a:pt x="0" y="6146"/>
                </a:lnTo>
                <a:lnTo>
                  <a:pt x="3320" y="6146"/>
                </a:lnTo>
                <a:lnTo>
                  <a:pt x="3320" y="0"/>
                </a:lnTo>
                <a:lnTo>
                  <a:pt x="21600" y="0"/>
                </a:lnTo>
                <a:close/>
                <a:moveTo>
                  <a:pt x="4919" y="1592"/>
                </a:moveTo>
                <a:lnTo>
                  <a:pt x="4919" y="17691"/>
                </a:lnTo>
                <a:cubicBezTo>
                  <a:pt x="4919" y="18134"/>
                  <a:pt x="4555" y="18477"/>
                  <a:pt x="4109" y="18477"/>
                </a:cubicBezTo>
                <a:cubicBezTo>
                  <a:pt x="3644" y="18477"/>
                  <a:pt x="3320" y="18134"/>
                  <a:pt x="3320" y="17691"/>
                </a:cubicBezTo>
                <a:lnTo>
                  <a:pt x="3320" y="7737"/>
                </a:lnTo>
                <a:lnTo>
                  <a:pt x="1539" y="7737"/>
                </a:lnTo>
                <a:lnTo>
                  <a:pt x="1539" y="19101"/>
                </a:lnTo>
                <a:cubicBezTo>
                  <a:pt x="1539" y="19625"/>
                  <a:pt x="2004" y="20008"/>
                  <a:pt x="2510" y="20008"/>
                </a:cubicBezTo>
                <a:lnTo>
                  <a:pt x="19151" y="20008"/>
                </a:lnTo>
                <a:cubicBezTo>
                  <a:pt x="19657" y="20008"/>
                  <a:pt x="20061" y="19625"/>
                  <a:pt x="20061" y="19101"/>
                </a:cubicBezTo>
                <a:lnTo>
                  <a:pt x="20061" y="1592"/>
                </a:lnTo>
                <a:lnTo>
                  <a:pt x="4919" y="1592"/>
                </a:lnTo>
                <a:close/>
                <a:moveTo>
                  <a:pt x="18462" y="3123"/>
                </a:moveTo>
                <a:lnTo>
                  <a:pt x="6518" y="3123"/>
                </a:lnTo>
                <a:lnTo>
                  <a:pt x="6518" y="9269"/>
                </a:lnTo>
                <a:lnTo>
                  <a:pt x="18462" y="9269"/>
                </a:lnTo>
                <a:lnTo>
                  <a:pt x="18462" y="3123"/>
                </a:lnTo>
                <a:close/>
                <a:moveTo>
                  <a:pt x="11539" y="10981"/>
                </a:moveTo>
                <a:lnTo>
                  <a:pt x="6518" y="10981"/>
                </a:lnTo>
                <a:lnTo>
                  <a:pt x="6518" y="12513"/>
                </a:lnTo>
                <a:lnTo>
                  <a:pt x="11539" y="12513"/>
                </a:lnTo>
                <a:lnTo>
                  <a:pt x="11539" y="10981"/>
                </a:lnTo>
                <a:close/>
                <a:moveTo>
                  <a:pt x="13482" y="12513"/>
                </a:moveTo>
                <a:lnTo>
                  <a:pt x="18462" y="12513"/>
                </a:lnTo>
                <a:lnTo>
                  <a:pt x="18462" y="10981"/>
                </a:lnTo>
                <a:lnTo>
                  <a:pt x="13482" y="10981"/>
                </a:lnTo>
                <a:lnTo>
                  <a:pt x="13482" y="12513"/>
                </a:lnTo>
                <a:close/>
                <a:moveTo>
                  <a:pt x="11539" y="13923"/>
                </a:moveTo>
                <a:lnTo>
                  <a:pt x="6518" y="13923"/>
                </a:lnTo>
                <a:lnTo>
                  <a:pt x="6518" y="15475"/>
                </a:lnTo>
                <a:lnTo>
                  <a:pt x="11539" y="15475"/>
                </a:lnTo>
                <a:lnTo>
                  <a:pt x="11539" y="13923"/>
                </a:lnTo>
                <a:close/>
                <a:moveTo>
                  <a:pt x="13482" y="15475"/>
                </a:moveTo>
                <a:lnTo>
                  <a:pt x="18462" y="15475"/>
                </a:lnTo>
                <a:lnTo>
                  <a:pt x="18462" y="13923"/>
                </a:lnTo>
                <a:lnTo>
                  <a:pt x="13482" y="13923"/>
                </a:lnTo>
                <a:lnTo>
                  <a:pt x="13482" y="15475"/>
                </a:lnTo>
                <a:close/>
                <a:moveTo>
                  <a:pt x="13482" y="18537"/>
                </a:moveTo>
                <a:lnTo>
                  <a:pt x="18462" y="18537"/>
                </a:lnTo>
                <a:lnTo>
                  <a:pt x="18462" y="17006"/>
                </a:lnTo>
                <a:lnTo>
                  <a:pt x="13482" y="17006"/>
                </a:lnTo>
                <a:lnTo>
                  <a:pt x="13482" y="18537"/>
                </a:lnTo>
                <a:close/>
                <a:moveTo>
                  <a:pt x="11539" y="17006"/>
                </a:moveTo>
                <a:lnTo>
                  <a:pt x="6518" y="17006"/>
                </a:lnTo>
                <a:lnTo>
                  <a:pt x="6518" y="18537"/>
                </a:lnTo>
                <a:lnTo>
                  <a:pt x="11539" y="18537"/>
                </a:lnTo>
                <a:lnTo>
                  <a:pt x="11539" y="17006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96" name="Shape 2963"/>
          <p:cNvSpPr/>
          <p:nvPr/>
        </p:nvSpPr>
        <p:spPr>
          <a:xfrm>
            <a:off x="6298067" y="3151061"/>
            <a:ext cx="326048" cy="4102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881" y="14735"/>
                </a:moveTo>
                <a:cubicBezTo>
                  <a:pt x="13821" y="14394"/>
                  <a:pt x="13370" y="14214"/>
                  <a:pt x="13370" y="13819"/>
                </a:cubicBezTo>
                <a:cubicBezTo>
                  <a:pt x="13370" y="13478"/>
                  <a:pt x="13709" y="13190"/>
                  <a:pt x="14543" y="13190"/>
                </a:cubicBezTo>
                <a:cubicBezTo>
                  <a:pt x="15309" y="13190"/>
                  <a:pt x="15918" y="13370"/>
                  <a:pt x="16211" y="13478"/>
                </a:cubicBezTo>
                <a:lnTo>
                  <a:pt x="16617" y="12309"/>
                </a:lnTo>
                <a:cubicBezTo>
                  <a:pt x="16234" y="12184"/>
                  <a:pt x="15783" y="12076"/>
                  <a:pt x="15152" y="12040"/>
                </a:cubicBezTo>
                <a:lnTo>
                  <a:pt x="15152" y="11088"/>
                </a:lnTo>
                <a:lnTo>
                  <a:pt x="13077" y="11088"/>
                </a:lnTo>
                <a:lnTo>
                  <a:pt x="13077" y="12184"/>
                </a:lnTo>
                <a:cubicBezTo>
                  <a:pt x="12018" y="12471"/>
                  <a:pt x="11409" y="13136"/>
                  <a:pt x="11409" y="13963"/>
                </a:cubicBezTo>
                <a:cubicBezTo>
                  <a:pt x="11409" y="14879"/>
                  <a:pt x="12288" y="15490"/>
                  <a:pt x="13663" y="15886"/>
                </a:cubicBezTo>
                <a:cubicBezTo>
                  <a:pt x="14633" y="16155"/>
                  <a:pt x="15016" y="16389"/>
                  <a:pt x="15016" y="16784"/>
                </a:cubicBezTo>
                <a:cubicBezTo>
                  <a:pt x="15016" y="17215"/>
                  <a:pt x="14565" y="17485"/>
                  <a:pt x="13754" y="17485"/>
                </a:cubicBezTo>
                <a:cubicBezTo>
                  <a:pt x="12965" y="17485"/>
                  <a:pt x="12198" y="17269"/>
                  <a:pt x="11702" y="17090"/>
                </a:cubicBezTo>
                <a:lnTo>
                  <a:pt x="11364" y="18294"/>
                </a:lnTo>
                <a:cubicBezTo>
                  <a:pt x="11702" y="18473"/>
                  <a:pt x="12401" y="18599"/>
                  <a:pt x="13100" y="18671"/>
                </a:cubicBezTo>
                <a:lnTo>
                  <a:pt x="13100" y="19587"/>
                </a:lnTo>
                <a:lnTo>
                  <a:pt x="15174" y="19587"/>
                </a:lnTo>
                <a:lnTo>
                  <a:pt x="15174" y="18509"/>
                </a:lnTo>
                <a:cubicBezTo>
                  <a:pt x="16347" y="18168"/>
                  <a:pt x="16910" y="17503"/>
                  <a:pt x="16910" y="16676"/>
                </a:cubicBezTo>
                <a:cubicBezTo>
                  <a:pt x="16978" y="15706"/>
                  <a:pt x="16301" y="15149"/>
                  <a:pt x="14881" y="14735"/>
                </a:cubicBezTo>
                <a:close/>
                <a:moveTo>
                  <a:pt x="18646" y="5984"/>
                </a:moveTo>
                <a:lnTo>
                  <a:pt x="18646" y="7188"/>
                </a:lnTo>
                <a:lnTo>
                  <a:pt x="9605" y="7188"/>
                </a:lnTo>
                <a:lnTo>
                  <a:pt x="9605" y="5984"/>
                </a:lnTo>
                <a:lnTo>
                  <a:pt x="18646" y="5984"/>
                </a:lnTo>
                <a:close/>
                <a:moveTo>
                  <a:pt x="18646" y="3576"/>
                </a:moveTo>
                <a:lnTo>
                  <a:pt x="18646" y="4798"/>
                </a:lnTo>
                <a:lnTo>
                  <a:pt x="9605" y="4798"/>
                </a:lnTo>
                <a:lnTo>
                  <a:pt x="9605" y="3576"/>
                </a:lnTo>
                <a:lnTo>
                  <a:pt x="18646" y="3576"/>
                </a:lnTo>
                <a:close/>
                <a:moveTo>
                  <a:pt x="21600" y="3235"/>
                </a:moveTo>
                <a:cubicBezTo>
                  <a:pt x="21555" y="1509"/>
                  <a:pt x="19841" y="144"/>
                  <a:pt x="17767" y="36"/>
                </a:cubicBezTo>
                <a:cubicBezTo>
                  <a:pt x="17699" y="36"/>
                  <a:pt x="17587" y="18"/>
                  <a:pt x="17519" y="18"/>
                </a:cubicBezTo>
                <a:cubicBezTo>
                  <a:pt x="17519" y="18"/>
                  <a:pt x="4149" y="0"/>
                  <a:pt x="4104" y="0"/>
                </a:cubicBezTo>
                <a:cubicBezTo>
                  <a:pt x="3224" y="0"/>
                  <a:pt x="2435" y="180"/>
                  <a:pt x="1781" y="557"/>
                </a:cubicBezTo>
                <a:cubicBezTo>
                  <a:pt x="1240" y="863"/>
                  <a:pt x="767" y="1276"/>
                  <a:pt x="451" y="1761"/>
                </a:cubicBezTo>
                <a:cubicBezTo>
                  <a:pt x="158" y="2192"/>
                  <a:pt x="0" y="2713"/>
                  <a:pt x="0" y="3253"/>
                </a:cubicBezTo>
                <a:lnTo>
                  <a:pt x="0" y="3342"/>
                </a:lnTo>
                <a:cubicBezTo>
                  <a:pt x="0" y="5139"/>
                  <a:pt x="1804" y="6613"/>
                  <a:pt x="4104" y="6613"/>
                </a:cubicBezTo>
                <a:cubicBezTo>
                  <a:pt x="5073" y="6613"/>
                  <a:pt x="5975" y="6325"/>
                  <a:pt x="6674" y="5858"/>
                </a:cubicBezTo>
                <a:lnTo>
                  <a:pt x="6674" y="21600"/>
                </a:lnTo>
                <a:lnTo>
                  <a:pt x="21600" y="21600"/>
                </a:lnTo>
                <a:lnTo>
                  <a:pt x="21600" y="3235"/>
                </a:lnTo>
                <a:close/>
                <a:moveTo>
                  <a:pt x="20112" y="3576"/>
                </a:moveTo>
                <a:lnTo>
                  <a:pt x="20112" y="20378"/>
                </a:lnTo>
                <a:lnTo>
                  <a:pt x="8162" y="20378"/>
                </a:lnTo>
                <a:cubicBezTo>
                  <a:pt x="8162" y="20378"/>
                  <a:pt x="8185" y="3342"/>
                  <a:pt x="8185" y="3253"/>
                </a:cubicBezTo>
                <a:cubicBezTo>
                  <a:pt x="8185" y="2498"/>
                  <a:pt x="7824" y="1761"/>
                  <a:pt x="7238" y="1204"/>
                </a:cubicBezTo>
                <a:lnTo>
                  <a:pt x="17564" y="1204"/>
                </a:lnTo>
                <a:cubicBezTo>
                  <a:pt x="19007" y="1420"/>
                  <a:pt x="20089" y="2408"/>
                  <a:pt x="20112" y="3576"/>
                </a:cubicBezTo>
                <a:close/>
                <a:moveTo>
                  <a:pt x="18646" y="8374"/>
                </a:moveTo>
                <a:lnTo>
                  <a:pt x="18646" y="9596"/>
                </a:lnTo>
                <a:lnTo>
                  <a:pt x="9605" y="9596"/>
                </a:lnTo>
                <a:lnTo>
                  <a:pt x="9605" y="8374"/>
                </a:lnTo>
                <a:lnTo>
                  <a:pt x="18646" y="8374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pSp>
        <p:nvGrpSpPr>
          <p:cNvPr id="397" name="bcgIcons_BarChartAnalysis">
            <a:extLst>
              <a:ext uri="{FF2B5EF4-FFF2-40B4-BE49-F238E27FC236}">
                <a16:creationId xmlns:a16="http://schemas.microsoft.com/office/drawing/2014/main" id="{32B50B14-3FFD-46C4-A9BB-B1DAD5BF33D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99180" y="4252467"/>
            <a:ext cx="453154" cy="491372"/>
            <a:chOff x="1682" y="0"/>
            <a:chExt cx="4316" cy="4320"/>
          </a:xfrm>
        </p:grpSpPr>
        <p:sp>
          <p:nvSpPr>
            <p:cNvPr id="398" name="AutoShape 13">
              <a:extLst>
                <a:ext uri="{FF2B5EF4-FFF2-40B4-BE49-F238E27FC236}">
                  <a16:creationId xmlns:a16="http://schemas.microsoft.com/office/drawing/2014/main" id="{2EA7B8A2-9428-4CA9-8BF1-97C056515EC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9" name="Freeform 28">
              <a:extLst>
                <a:ext uri="{FF2B5EF4-FFF2-40B4-BE49-F238E27FC236}">
                  <a16:creationId xmlns:a16="http://schemas.microsoft.com/office/drawing/2014/main" id="{E4E9C908-2225-4935-BE9B-CED0E639FE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1" y="855"/>
              <a:ext cx="2739" cy="2209"/>
            </a:xfrm>
            <a:custGeom>
              <a:avLst/>
              <a:gdLst>
                <a:gd name="T0" fmla="*/ 312 w 1462"/>
                <a:gd name="T1" fmla="*/ 609 h 1178"/>
                <a:gd name="T2" fmla="*/ 312 w 1462"/>
                <a:gd name="T3" fmla="*/ 1020 h 1178"/>
                <a:gd name="T4" fmla="*/ 303 w 1462"/>
                <a:gd name="T5" fmla="*/ 1030 h 1178"/>
                <a:gd name="T6" fmla="*/ 9 w 1462"/>
                <a:gd name="T7" fmla="*/ 1030 h 1178"/>
                <a:gd name="T8" fmla="*/ 0 w 1462"/>
                <a:gd name="T9" fmla="*/ 1020 h 1178"/>
                <a:gd name="T10" fmla="*/ 0 w 1462"/>
                <a:gd name="T11" fmla="*/ 609 h 1178"/>
                <a:gd name="T12" fmla="*/ 9 w 1462"/>
                <a:gd name="T13" fmla="*/ 600 h 1178"/>
                <a:gd name="T14" fmla="*/ 303 w 1462"/>
                <a:gd name="T15" fmla="*/ 600 h 1178"/>
                <a:gd name="T16" fmla="*/ 312 w 1462"/>
                <a:gd name="T17" fmla="*/ 609 h 1178"/>
                <a:gd name="T18" fmla="*/ 1453 w 1462"/>
                <a:gd name="T19" fmla="*/ 0 h 1178"/>
                <a:gd name="T20" fmla="*/ 1160 w 1462"/>
                <a:gd name="T21" fmla="*/ 0 h 1178"/>
                <a:gd name="T22" fmla="*/ 1150 w 1462"/>
                <a:gd name="T23" fmla="*/ 10 h 1178"/>
                <a:gd name="T24" fmla="*/ 1150 w 1462"/>
                <a:gd name="T25" fmla="*/ 420 h 1178"/>
                <a:gd name="T26" fmla="*/ 1286 w 1462"/>
                <a:gd name="T27" fmla="*/ 519 h 1178"/>
                <a:gd name="T28" fmla="*/ 1382 w 1462"/>
                <a:gd name="T29" fmla="*/ 1030 h 1178"/>
                <a:gd name="T30" fmla="*/ 1453 w 1462"/>
                <a:gd name="T31" fmla="*/ 1030 h 1178"/>
                <a:gd name="T32" fmla="*/ 1462 w 1462"/>
                <a:gd name="T33" fmla="*/ 1020 h 1178"/>
                <a:gd name="T34" fmla="*/ 1462 w 1462"/>
                <a:gd name="T35" fmla="*/ 10 h 1178"/>
                <a:gd name="T36" fmla="*/ 1453 w 1462"/>
                <a:gd name="T37" fmla="*/ 0 h 1178"/>
                <a:gd name="T38" fmla="*/ 735 w 1462"/>
                <a:gd name="T39" fmla="*/ 593 h 1178"/>
                <a:gd name="T40" fmla="*/ 715 w 1462"/>
                <a:gd name="T41" fmla="*/ 611 h 1178"/>
                <a:gd name="T42" fmla="*/ 706 w 1462"/>
                <a:gd name="T43" fmla="*/ 1077 h 1178"/>
                <a:gd name="T44" fmla="*/ 735 w 1462"/>
                <a:gd name="T45" fmla="*/ 1104 h 1178"/>
                <a:gd name="T46" fmla="*/ 735 w 1462"/>
                <a:gd name="T47" fmla="*/ 593 h 1178"/>
                <a:gd name="T48" fmla="*/ 944 w 1462"/>
                <a:gd name="T49" fmla="*/ 519 h 1178"/>
                <a:gd name="T50" fmla="*/ 838 w 1462"/>
                <a:gd name="T51" fmla="*/ 536 h 1178"/>
                <a:gd name="T52" fmla="*/ 838 w 1462"/>
                <a:gd name="T53" fmla="*/ 1161 h 1178"/>
                <a:gd name="T54" fmla="*/ 944 w 1462"/>
                <a:gd name="T55" fmla="*/ 1178 h 1178"/>
                <a:gd name="T56" fmla="*/ 1144 w 1462"/>
                <a:gd name="T57" fmla="*/ 1110 h 1178"/>
                <a:gd name="T58" fmla="*/ 1146 w 1462"/>
                <a:gd name="T59" fmla="*/ 1109 h 1178"/>
                <a:gd name="T60" fmla="*/ 1172 w 1462"/>
                <a:gd name="T61" fmla="*/ 1086 h 1178"/>
                <a:gd name="T62" fmla="*/ 1200 w 1462"/>
                <a:gd name="T63" fmla="*/ 1056 h 1178"/>
                <a:gd name="T64" fmla="*/ 1181 w 1462"/>
                <a:gd name="T65" fmla="*/ 620 h 1178"/>
                <a:gd name="T66" fmla="*/ 944 w 1462"/>
                <a:gd name="T67" fmla="*/ 519 h 1178"/>
                <a:gd name="T68" fmla="*/ 944 w 1462"/>
                <a:gd name="T69" fmla="*/ 374 h 1178"/>
                <a:gd name="T70" fmla="*/ 1079 w 1462"/>
                <a:gd name="T71" fmla="*/ 393 h 1178"/>
                <a:gd name="T72" fmla="*/ 1079 w 1462"/>
                <a:gd name="T73" fmla="*/ 253 h 1178"/>
                <a:gd name="T74" fmla="*/ 1069 w 1462"/>
                <a:gd name="T75" fmla="*/ 243 h 1178"/>
                <a:gd name="T76" fmla="*/ 776 w 1462"/>
                <a:gd name="T77" fmla="*/ 243 h 1178"/>
                <a:gd name="T78" fmla="*/ 766 w 1462"/>
                <a:gd name="T79" fmla="*/ 253 h 1178"/>
                <a:gd name="T80" fmla="*/ 766 w 1462"/>
                <a:gd name="T81" fmla="*/ 408 h 1178"/>
                <a:gd name="T82" fmla="*/ 944 w 1462"/>
                <a:gd name="T83" fmla="*/ 374 h 1178"/>
                <a:gd name="T84" fmla="*/ 614 w 1462"/>
                <a:gd name="T85" fmla="*/ 506 h 1178"/>
                <a:gd name="T86" fmla="*/ 696 w 1462"/>
                <a:gd name="T87" fmla="*/ 443 h 1178"/>
                <a:gd name="T88" fmla="*/ 696 w 1462"/>
                <a:gd name="T89" fmla="*/ 89 h 1178"/>
                <a:gd name="T90" fmla="*/ 686 w 1462"/>
                <a:gd name="T91" fmla="*/ 73 h 1178"/>
                <a:gd name="T92" fmla="*/ 393 w 1462"/>
                <a:gd name="T93" fmla="*/ 73 h 1178"/>
                <a:gd name="T94" fmla="*/ 383 w 1462"/>
                <a:gd name="T95" fmla="*/ 89 h 1178"/>
                <a:gd name="T96" fmla="*/ 383 w 1462"/>
                <a:gd name="T97" fmla="*/ 1015 h 1178"/>
                <a:gd name="T98" fmla="*/ 393 w 1462"/>
                <a:gd name="T99" fmla="*/ 1030 h 1178"/>
                <a:gd name="T100" fmla="*/ 505 w 1462"/>
                <a:gd name="T101" fmla="*/ 1030 h 1178"/>
                <a:gd name="T102" fmla="*/ 614 w 1462"/>
                <a:gd name="T103" fmla="*/ 506 h 1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62" h="1178">
                  <a:moveTo>
                    <a:pt x="312" y="609"/>
                  </a:moveTo>
                  <a:cubicBezTo>
                    <a:pt x="312" y="1020"/>
                    <a:pt x="312" y="1020"/>
                    <a:pt x="312" y="1020"/>
                  </a:cubicBezTo>
                  <a:cubicBezTo>
                    <a:pt x="312" y="1026"/>
                    <a:pt x="308" y="1030"/>
                    <a:pt x="303" y="1030"/>
                  </a:cubicBezTo>
                  <a:cubicBezTo>
                    <a:pt x="9" y="1030"/>
                    <a:pt x="9" y="1030"/>
                    <a:pt x="9" y="1030"/>
                  </a:cubicBezTo>
                  <a:cubicBezTo>
                    <a:pt x="4" y="1030"/>
                    <a:pt x="0" y="1026"/>
                    <a:pt x="0" y="1020"/>
                  </a:cubicBezTo>
                  <a:cubicBezTo>
                    <a:pt x="0" y="609"/>
                    <a:pt x="0" y="609"/>
                    <a:pt x="0" y="609"/>
                  </a:cubicBezTo>
                  <a:cubicBezTo>
                    <a:pt x="0" y="604"/>
                    <a:pt x="4" y="600"/>
                    <a:pt x="9" y="600"/>
                  </a:cubicBezTo>
                  <a:cubicBezTo>
                    <a:pt x="303" y="600"/>
                    <a:pt x="303" y="600"/>
                    <a:pt x="303" y="600"/>
                  </a:cubicBezTo>
                  <a:cubicBezTo>
                    <a:pt x="308" y="600"/>
                    <a:pt x="312" y="604"/>
                    <a:pt x="312" y="609"/>
                  </a:cubicBezTo>
                  <a:close/>
                  <a:moveTo>
                    <a:pt x="1453" y="0"/>
                  </a:moveTo>
                  <a:cubicBezTo>
                    <a:pt x="1160" y="0"/>
                    <a:pt x="1160" y="0"/>
                    <a:pt x="1160" y="0"/>
                  </a:cubicBezTo>
                  <a:cubicBezTo>
                    <a:pt x="1154" y="0"/>
                    <a:pt x="1150" y="4"/>
                    <a:pt x="1150" y="10"/>
                  </a:cubicBezTo>
                  <a:cubicBezTo>
                    <a:pt x="1150" y="420"/>
                    <a:pt x="1150" y="420"/>
                    <a:pt x="1150" y="420"/>
                  </a:cubicBezTo>
                  <a:cubicBezTo>
                    <a:pt x="1200" y="444"/>
                    <a:pt x="1246" y="478"/>
                    <a:pt x="1286" y="519"/>
                  </a:cubicBezTo>
                  <a:cubicBezTo>
                    <a:pt x="1419" y="658"/>
                    <a:pt x="1453" y="859"/>
                    <a:pt x="1382" y="1030"/>
                  </a:cubicBezTo>
                  <a:cubicBezTo>
                    <a:pt x="1453" y="1030"/>
                    <a:pt x="1453" y="1030"/>
                    <a:pt x="1453" y="1030"/>
                  </a:cubicBezTo>
                  <a:cubicBezTo>
                    <a:pt x="1458" y="1030"/>
                    <a:pt x="1462" y="1026"/>
                    <a:pt x="1462" y="1020"/>
                  </a:cubicBezTo>
                  <a:cubicBezTo>
                    <a:pt x="1462" y="10"/>
                    <a:pt x="1462" y="10"/>
                    <a:pt x="1462" y="10"/>
                  </a:cubicBezTo>
                  <a:cubicBezTo>
                    <a:pt x="1462" y="4"/>
                    <a:pt x="1458" y="0"/>
                    <a:pt x="1453" y="0"/>
                  </a:cubicBezTo>
                  <a:close/>
                  <a:moveTo>
                    <a:pt x="735" y="593"/>
                  </a:moveTo>
                  <a:cubicBezTo>
                    <a:pt x="728" y="599"/>
                    <a:pt x="721" y="605"/>
                    <a:pt x="715" y="611"/>
                  </a:cubicBezTo>
                  <a:cubicBezTo>
                    <a:pt x="584" y="737"/>
                    <a:pt x="580" y="946"/>
                    <a:pt x="706" y="1077"/>
                  </a:cubicBezTo>
                  <a:cubicBezTo>
                    <a:pt x="715" y="1087"/>
                    <a:pt x="725" y="1095"/>
                    <a:pt x="735" y="1104"/>
                  </a:cubicBezTo>
                  <a:lnTo>
                    <a:pt x="735" y="593"/>
                  </a:lnTo>
                  <a:close/>
                  <a:moveTo>
                    <a:pt x="944" y="519"/>
                  </a:moveTo>
                  <a:cubicBezTo>
                    <a:pt x="907" y="519"/>
                    <a:pt x="872" y="525"/>
                    <a:pt x="838" y="536"/>
                  </a:cubicBezTo>
                  <a:cubicBezTo>
                    <a:pt x="838" y="1161"/>
                    <a:pt x="838" y="1161"/>
                    <a:pt x="838" y="1161"/>
                  </a:cubicBezTo>
                  <a:cubicBezTo>
                    <a:pt x="872" y="1172"/>
                    <a:pt x="907" y="1178"/>
                    <a:pt x="944" y="1178"/>
                  </a:cubicBezTo>
                  <a:cubicBezTo>
                    <a:pt x="1016" y="1178"/>
                    <a:pt x="1087" y="1154"/>
                    <a:pt x="1144" y="1110"/>
                  </a:cubicBezTo>
                  <a:cubicBezTo>
                    <a:pt x="1146" y="1109"/>
                    <a:pt x="1146" y="1109"/>
                    <a:pt x="1146" y="1109"/>
                  </a:cubicBezTo>
                  <a:cubicBezTo>
                    <a:pt x="1153" y="1103"/>
                    <a:pt x="1162" y="1096"/>
                    <a:pt x="1172" y="1086"/>
                  </a:cubicBezTo>
                  <a:cubicBezTo>
                    <a:pt x="1182" y="1077"/>
                    <a:pt x="1191" y="1067"/>
                    <a:pt x="1200" y="1056"/>
                  </a:cubicBezTo>
                  <a:cubicBezTo>
                    <a:pt x="1304" y="927"/>
                    <a:pt x="1296" y="740"/>
                    <a:pt x="1181" y="620"/>
                  </a:cubicBezTo>
                  <a:cubicBezTo>
                    <a:pt x="1119" y="555"/>
                    <a:pt x="1034" y="519"/>
                    <a:pt x="944" y="519"/>
                  </a:cubicBezTo>
                  <a:close/>
                  <a:moveTo>
                    <a:pt x="944" y="374"/>
                  </a:moveTo>
                  <a:cubicBezTo>
                    <a:pt x="990" y="374"/>
                    <a:pt x="1036" y="380"/>
                    <a:pt x="1079" y="393"/>
                  </a:cubicBezTo>
                  <a:cubicBezTo>
                    <a:pt x="1079" y="253"/>
                    <a:pt x="1079" y="253"/>
                    <a:pt x="1079" y="253"/>
                  </a:cubicBezTo>
                  <a:cubicBezTo>
                    <a:pt x="1079" y="247"/>
                    <a:pt x="1075" y="243"/>
                    <a:pt x="1069" y="243"/>
                  </a:cubicBezTo>
                  <a:cubicBezTo>
                    <a:pt x="776" y="243"/>
                    <a:pt x="776" y="243"/>
                    <a:pt x="776" y="243"/>
                  </a:cubicBezTo>
                  <a:cubicBezTo>
                    <a:pt x="771" y="243"/>
                    <a:pt x="766" y="247"/>
                    <a:pt x="766" y="253"/>
                  </a:cubicBezTo>
                  <a:cubicBezTo>
                    <a:pt x="766" y="408"/>
                    <a:pt x="766" y="408"/>
                    <a:pt x="766" y="408"/>
                  </a:cubicBezTo>
                  <a:cubicBezTo>
                    <a:pt x="822" y="385"/>
                    <a:pt x="882" y="374"/>
                    <a:pt x="944" y="374"/>
                  </a:cubicBezTo>
                  <a:close/>
                  <a:moveTo>
                    <a:pt x="614" y="506"/>
                  </a:moveTo>
                  <a:cubicBezTo>
                    <a:pt x="639" y="482"/>
                    <a:pt x="667" y="461"/>
                    <a:pt x="696" y="443"/>
                  </a:cubicBezTo>
                  <a:cubicBezTo>
                    <a:pt x="696" y="89"/>
                    <a:pt x="696" y="89"/>
                    <a:pt x="696" y="89"/>
                  </a:cubicBezTo>
                  <a:cubicBezTo>
                    <a:pt x="696" y="80"/>
                    <a:pt x="691" y="73"/>
                    <a:pt x="686" y="73"/>
                  </a:cubicBezTo>
                  <a:cubicBezTo>
                    <a:pt x="393" y="73"/>
                    <a:pt x="393" y="73"/>
                    <a:pt x="393" y="73"/>
                  </a:cubicBezTo>
                  <a:cubicBezTo>
                    <a:pt x="387" y="73"/>
                    <a:pt x="383" y="80"/>
                    <a:pt x="383" y="89"/>
                  </a:cubicBezTo>
                  <a:cubicBezTo>
                    <a:pt x="383" y="1015"/>
                    <a:pt x="383" y="1015"/>
                    <a:pt x="383" y="1015"/>
                  </a:cubicBezTo>
                  <a:cubicBezTo>
                    <a:pt x="383" y="1023"/>
                    <a:pt x="387" y="1030"/>
                    <a:pt x="393" y="1030"/>
                  </a:cubicBezTo>
                  <a:cubicBezTo>
                    <a:pt x="505" y="1030"/>
                    <a:pt x="505" y="1030"/>
                    <a:pt x="505" y="1030"/>
                  </a:cubicBezTo>
                  <a:cubicBezTo>
                    <a:pt x="433" y="855"/>
                    <a:pt x="470" y="645"/>
                    <a:pt x="614" y="50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0" name="Freeform 29">
              <a:extLst>
                <a:ext uri="{FF2B5EF4-FFF2-40B4-BE49-F238E27FC236}">
                  <a16:creationId xmlns:a16="http://schemas.microsoft.com/office/drawing/2014/main" id="{07385039-B208-433D-97C3-719751E80D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63" y="667"/>
              <a:ext cx="3560" cy="3417"/>
            </a:xfrm>
            <a:custGeom>
              <a:avLst/>
              <a:gdLst>
                <a:gd name="T0" fmla="*/ 734 w 1900"/>
                <a:gd name="T1" fmla="*/ 1246 h 1822"/>
                <a:gd name="T2" fmla="*/ 1284 w 1900"/>
                <a:gd name="T3" fmla="*/ 1303 h 1822"/>
                <a:gd name="T4" fmla="*/ 1385 w 1900"/>
                <a:gd name="T5" fmla="*/ 1407 h 1822"/>
                <a:gd name="T6" fmla="*/ 1401 w 1900"/>
                <a:gd name="T7" fmla="*/ 1407 h 1822"/>
                <a:gd name="T8" fmla="*/ 1493 w 1900"/>
                <a:gd name="T9" fmla="*/ 1320 h 1822"/>
                <a:gd name="T10" fmla="*/ 1493 w 1900"/>
                <a:gd name="T11" fmla="*/ 1303 h 1822"/>
                <a:gd name="T12" fmla="*/ 1392 w 1900"/>
                <a:gd name="T13" fmla="*/ 1198 h 1822"/>
                <a:gd name="T14" fmla="*/ 1353 w 1900"/>
                <a:gd name="T15" fmla="*/ 651 h 1822"/>
                <a:gd name="T16" fmla="*/ 746 w 1900"/>
                <a:gd name="T17" fmla="*/ 639 h 1822"/>
                <a:gd name="T18" fmla="*/ 734 w 1900"/>
                <a:gd name="T19" fmla="*/ 1246 h 1822"/>
                <a:gd name="T20" fmla="*/ 1272 w 1900"/>
                <a:gd name="T21" fmla="*/ 1246 h 1822"/>
                <a:gd name="T22" fmla="*/ 773 w 1900"/>
                <a:gd name="T23" fmla="*/ 1209 h 1822"/>
                <a:gd name="T24" fmla="*/ 783 w 1900"/>
                <a:gd name="T25" fmla="*/ 678 h 1822"/>
                <a:gd name="T26" fmla="*/ 1314 w 1900"/>
                <a:gd name="T27" fmla="*/ 688 h 1822"/>
                <a:gd name="T28" fmla="*/ 1336 w 1900"/>
                <a:gd name="T29" fmla="*/ 1185 h 1822"/>
                <a:gd name="T30" fmla="*/ 1304 w 1900"/>
                <a:gd name="T31" fmla="*/ 1219 h 1822"/>
                <a:gd name="T32" fmla="*/ 1272 w 1900"/>
                <a:gd name="T33" fmla="*/ 1246 h 1822"/>
                <a:gd name="T34" fmla="*/ 1765 w 1900"/>
                <a:gd name="T35" fmla="*/ 1822 h 1822"/>
                <a:gd name="T36" fmla="*/ 1727 w 1900"/>
                <a:gd name="T37" fmla="*/ 1807 h 1822"/>
                <a:gd name="T38" fmla="*/ 1417 w 1900"/>
                <a:gd name="T39" fmla="*/ 1484 h 1822"/>
                <a:gd name="T40" fmla="*/ 1418 w 1900"/>
                <a:gd name="T41" fmla="*/ 1453 h 1822"/>
                <a:gd name="T42" fmla="*/ 1541 w 1900"/>
                <a:gd name="T43" fmla="*/ 1334 h 1822"/>
                <a:gd name="T44" fmla="*/ 1557 w 1900"/>
                <a:gd name="T45" fmla="*/ 1327 h 1822"/>
                <a:gd name="T46" fmla="*/ 1572 w 1900"/>
                <a:gd name="T47" fmla="*/ 1334 h 1822"/>
                <a:gd name="T48" fmla="*/ 1882 w 1900"/>
                <a:gd name="T49" fmla="*/ 1659 h 1822"/>
                <a:gd name="T50" fmla="*/ 1891 w 1900"/>
                <a:gd name="T51" fmla="*/ 1721 h 1822"/>
                <a:gd name="T52" fmla="*/ 1851 w 1900"/>
                <a:gd name="T53" fmla="*/ 1781 h 1822"/>
                <a:gd name="T54" fmla="*/ 1789 w 1900"/>
                <a:gd name="T55" fmla="*/ 1819 h 1822"/>
                <a:gd name="T56" fmla="*/ 1765 w 1900"/>
                <a:gd name="T57" fmla="*/ 1822 h 1822"/>
                <a:gd name="T58" fmla="*/ 1464 w 1900"/>
                <a:gd name="T59" fmla="*/ 1469 h 1822"/>
                <a:gd name="T60" fmla="*/ 1759 w 1900"/>
                <a:gd name="T61" fmla="*/ 1777 h 1822"/>
                <a:gd name="T62" fmla="*/ 1777 w 1900"/>
                <a:gd name="T63" fmla="*/ 1777 h 1822"/>
                <a:gd name="T64" fmla="*/ 1820 w 1900"/>
                <a:gd name="T65" fmla="*/ 1749 h 1822"/>
                <a:gd name="T66" fmla="*/ 1849 w 1900"/>
                <a:gd name="T67" fmla="*/ 1707 h 1822"/>
                <a:gd name="T68" fmla="*/ 1851 w 1900"/>
                <a:gd name="T69" fmla="*/ 1689 h 1822"/>
                <a:gd name="T70" fmla="*/ 1556 w 1900"/>
                <a:gd name="T71" fmla="*/ 1381 h 1822"/>
                <a:gd name="T72" fmla="*/ 1464 w 1900"/>
                <a:gd name="T73" fmla="*/ 1469 h 1822"/>
                <a:gd name="T74" fmla="*/ 1640 w 1900"/>
                <a:gd name="T75" fmla="*/ 0 h 1822"/>
                <a:gd name="T76" fmla="*/ 22 w 1900"/>
                <a:gd name="T77" fmla="*/ 0 h 1822"/>
                <a:gd name="T78" fmla="*/ 0 w 1900"/>
                <a:gd name="T79" fmla="*/ 22 h 1822"/>
                <a:gd name="T80" fmla="*/ 0 w 1900"/>
                <a:gd name="T81" fmla="*/ 1208 h 1822"/>
                <a:gd name="T82" fmla="*/ 22 w 1900"/>
                <a:gd name="T83" fmla="*/ 1230 h 1822"/>
                <a:gd name="T84" fmla="*/ 661 w 1900"/>
                <a:gd name="T85" fmla="*/ 1230 h 1822"/>
                <a:gd name="T86" fmla="*/ 633 w 1900"/>
                <a:gd name="T87" fmla="*/ 1186 h 1822"/>
                <a:gd name="T88" fmla="*/ 44 w 1900"/>
                <a:gd name="T89" fmla="*/ 1186 h 1822"/>
                <a:gd name="T90" fmla="*/ 44 w 1900"/>
                <a:gd name="T91" fmla="*/ 44 h 1822"/>
                <a:gd name="T92" fmla="*/ 1618 w 1900"/>
                <a:gd name="T93" fmla="*/ 44 h 1822"/>
                <a:gd name="T94" fmla="*/ 1618 w 1900"/>
                <a:gd name="T95" fmla="*/ 1186 h 1822"/>
                <a:gd name="T96" fmla="*/ 1454 w 1900"/>
                <a:gd name="T97" fmla="*/ 1186 h 1822"/>
                <a:gd name="T98" fmla="*/ 1451 w 1900"/>
                <a:gd name="T99" fmla="*/ 1192 h 1822"/>
                <a:gd name="T100" fmla="*/ 1487 w 1900"/>
                <a:gd name="T101" fmla="*/ 1230 h 1822"/>
                <a:gd name="T102" fmla="*/ 1640 w 1900"/>
                <a:gd name="T103" fmla="*/ 1230 h 1822"/>
                <a:gd name="T104" fmla="*/ 1662 w 1900"/>
                <a:gd name="T105" fmla="*/ 1208 h 1822"/>
                <a:gd name="T106" fmla="*/ 1662 w 1900"/>
                <a:gd name="T107" fmla="*/ 22 h 1822"/>
                <a:gd name="T108" fmla="*/ 1640 w 1900"/>
                <a:gd name="T109" fmla="*/ 0 h 18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900" h="1822">
                  <a:moveTo>
                    <a:pt x="734" y="1246"/>
                  </a:moveTo>
                  <a:cubicBezTo>
                    <a:pt x="881" y="1399"/>
                    <a:pt x="1115" y="1418"/>
                    <a:pt x="1284" y="1303"/>
                  </a:cubicBezTo>
                  <a:cubicBezTo>
                    <a:pt x="1284" y="1303"/>
                    <a:pt x="1284" y="1303"/>
                    <a:pt x="1385" y="1407"/>
                  </a:cubicBezTo>
                  <a:cubicBezTo>
                    <a:pt x="1389" y="1412"/>
                    <a:pt x="1397" y="1412"/>
                    <a:pt x="1401" y="1407"/>
                  </a:cubicBezTo>
                  <a:cubicBezTo>
                    <a:pt x="1401" y="1407"/>
                    <a:pt x="1401" y="1407"/>
                    <a:pt x="1493" y="1320"/>
                  </a:cubicBezTo>
                  <a:cubicBezTo>
                    <a:pt x="1498" y="1315"/>
                    <a:pt x="1498" y="1308"/>
                    <a:pt x="1493" y="1303"/>
                  </a:cubicBezTo>
                  <a:cubicBezTo>
                    <a:pt x="1493" y="1303"/>
                    <a:pt x="1493" y="1303"/>
                    <a:pt x="1392" y="1198"/>
                  </a:cubicBezTo>
                  <a:cubicBezTo>
                    <a:pt x="1510" y="1033"/>
                    <a:pt x="1498" y="802"/>
                    <a:pt x="1353" y="651"/>
                  </a:cubicBezTo>
                  <a:cubicBezTo>
                    <a:pt x="1188" y="480"/>
                    <a:pt x="917" y="475"/>
                    <a:pt x="746" y="639"/>
                  </a:cubicBezTo>
                  <a:cubicBezTo>
                    <a:pt x="576" y="803"/>
                    <a:pt x="571" y="1075"/>
                    <a:pt x="734" y="1246"/>
                  </a:cubicBezTo>
                  <a:close/>
                  <a:moveTo>
                    <a:pt x="1272" y="1246"/>
                  </a:moveTo>
                  <a:cubicBezTo>
                    <a:pt x="1123" y="1361"/>
                    <a:pt x="907" y="1348"/>
                    <a:pt x="773" y="1209"/>
                  </a:cubicBezTo>
                  <a:cubicBezTo>
                    <a:pt x="630" y="1060"/>
                    <a:pt x="634" y="821"/>
                    <a:pt x="783" y="678"/>
                  </a:cubicBezTo>
                  <a:cubicBezTo>
                    <a:pt x="932" y="534"/>
                    <a:pt x="1171" y="539"/>
                    <a:pt x="1314" y="688"/>
                  </a:cubicBezTo>
                  <a:cubicBezTo>
                    <a:pt x="1447" y="826"/>
                    <a:pt x="1453" y="1040"/>
                    <a:pt x="1336" y="1185"/>
                  </a:cubicBezTo>
                  <a:cubicBezTo>
                    <a:pt x="1326" y="1197"/>
                    <a:pt x="1315" y="1208"/>
                    <a:pt x="1304" y="1219"/>
                  </a:cubicBezTo>
                  <a:cubicBezTo>
                    <a:pt x="1294" y="1229"/>
                    <a:pt x="1284" y="1238"/>
                    <a:pt x="1272" y="1246"/>
                  </a:cubicBezTo>
                  <a:close/>
                  <a:moveTo>
                    <a:pt x="1765" y="1822"/>
                  </a:moveTo>
                  <a:cubicBezTo>
                    <a:pt x="1750" y="1822"/>
                    <a:pt x="1736" y="1817"/>
                    <a:pt x="1727" y="1807"/>
                  </a:cubicBezTo>
                  <a:cubicBezTo>
                    <a:pt x="1417" y="1484"/>
                    <a:pt x="1417" y="1484"/>
                    <a:pt x="1417" y="1484"/>
                  </a:cubicBezTo>
                  <a:cubicBezTo>
                    <a:pt x="1409" y="1475"/>
                    <a:pt x="1409" y="1461"/>
                    <a:pt x="1418" y="1453"/>
                  </a:cubicBezTo>
                  <a:cubicBezTo>
                    <a:pt x="1541" y="1334"/>
                    <a:pt x="1541" y="1334"/>
                    <a:pt x="1541" y="1334"/>
                  </a:cubicBezTo>
                  <a:cubicBezTo>
                    <a:pt x="1545" y="1330"/>
                    <a:pt x="1551" y="1327"/>
                    <a:pt x="1557" y="1327"/>
                  </a:cubicBezTo>
                  <a:cubicBezTo>
                    <a:pt x="1563" y="1328"/>
                    <a:pt x="1568" y="1330"/>
                    <a:pt x="1572" y="1334"/>
                  </a:cubicBezTo>
                  <a:cubicBezTo>
                    <a:pt x="1882" y="1659"/>
                    <a:pt x="1882" y="1659"/>
                    <a:pt x="1882" y="1659"/>
                  </a:cubicBezTo>
                  <a:cubicBezTo>
                    <a:pt x="1896" y="1673"/>
                    <a:pt x="1900" y="1696"/>
                    <a:pt x="1891" y="1721"/>
                  </a:cubicBezTo>
                  <a:cubicBezTo>
                    <a:pt x="1884" y="1742"/>
                    <a:pt x="1870" y="1763"/>
                    <a:pt x="1851" y="1781"/>
                  </a:cubicBezTo>
                  <a:cubicBezTo>
                    <a:pt x="1832" y="1799"/>
                    <a:pt x="1810" y="1813"/>
                    <a:pt x="1789" y="1819"/>
                  </a:cubicBezTo>
                  <a:cubicBezTo>
                    <a:pt x="1781" y="1821"/>
                    <a:pt x="1773" y="1822"/>
                    <a:pt x="1765" y="1822"/>
                  </a:cubicBezTo>
                  <a:close/>
                  <a:moveTo>
                    <a:pt x="1464" y="1469"/>
                  </a:moveTo>
                  <a:cubicBezTo>
                    <a:pt x="1759" y="1777"/>
                    <a:pt x="1759" y="1777"/>
                    <a:pt x="1759" y="1777"/>
                  </a:cubicBezTo>
                  <a:cubicBezTo>
                    <a:pt x="1760" y="1778"/>
                    <a:pt x="1766" y="1780"/>
                    <a:pt x="1777" y="1777"/>
                  </a:cubicBezTo>
                  <a:cubicBezTo>
                    <a:pt x="1791" y="1773"/>
                    <a:pt x="1806" y="1763"/>
                    <a:pt x="1820" y="1749"/>
                  </a:cubicBezTo>
                  <a:cubicBezTo>
                    <a:pt x="1834" y="1736"/>
                    <a:pt x="1845" y="1721"/>
                    <a:pt x="1849" y="1707"/>
                  </a:cubicBezTo>
                  <a:cubicBezTo>
                    <a:pt x="1853" y="1696"/>
                    <a:pt x="1852" y="1690"/>
                    <a:pt x="1851" y="1689"/>
                  </a:cubicBezTo>
                  <a:cubicBezTo>
                    <a:pt x="1556" y="1381"/>
                    <a:pt x="1556" y="1381"/>
                    <a:pt x="1556" y="1381"/>
                  </a:cubicBezTo>
                  <a:lnTo>
                    <a:pt x="1464" y="1469"/>
                  </a:lnTo>
                  <a:close/>
                  <a:moveTo>
                    <a:pt x="1640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1208"/>
                    <a:pt x="0" y="1208"/>
                    <a:pt x="0" y="1208"/>
                  </a:cubicBezTo>
                  <a:cubicBezTo>
                    <a:pt x="0" y="1220"/>
                    <a:pt x="10" y="1230"/>
                    <a:pt x="22" y="1230"/>
                  </a:cubicBezTo>
                  <a:cubicBezTo>
                    <a:pt x="661" y="1230"/>
                    <a:pt x="661" y="1230"/>
                    <a:pt x="661" y="1230"/>
                  </a:cubicBezTo>
                  <a:cubicBezTo>
                    <a:pt x="651" y="1216"/>
                    <a:pt x="641" y="1201"/>
                    <a:pt x="633" y="1186"/>
                  </a:cubicBezTo>
                  <a:cubicBezTo>
                    <a:pt x="44" y="1186"/>
                    <a:pt x="44" y="1186"/>
                    <a:pt x="44" y="1186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1618" y="44"/>
                    <a:pt x="1618" y="44"/>
                    <a:pt x="1618" y="44"/>
                  </a:cubicBezTo>
                  <a:cubicBezTo>
                    <a:pt x="1618" y="1186"/>
                    <a:pt x="1618" y="1186"/>
                    <a:pt x="1618" y="1186"/>
                  </a:cubicBezTo>
                  <a:cubicBezTo>
                    <a:pt x="1454" y="1186"/>
                    <a:pt x="1454" y="1186"/>
                    <a:pt x="1454" y="1186"/>
                  </a:cubicBezTo>
                  <a:cubicBezTo>
                    <a:pt x="1453" y="1188"/>
                    <a:pt x="1452" y="1190"/>
                    <a:pt x="1451" y="1192"/>
                  </a:cubicBezTo>
                  <a:cubicBezTo>
                    <a:pt x="1487" y="1230"/>
                    <a:pt x="1487" y="1230"/>
                    <a:pt x="1487" y="1230"/>
                  </a:cubicBezTo>
                  <a:cubicBezTo>
                    <a:pt x="1640" y="1230"/>
                    <a:pt x="1640" y="1230"/>
                    <a:pt x="1640" y="1230"/>
                  </a:cubicBezTo>
                  <a:cubicBezTo>
                    <a:pt x="1652" y="1230"/>
                    <a:pt x="1662" y="1220"/>
                    <a:pt x="1662" y="1208"/>
                  </a:cubicBezTo>
                  <a:cubicBezTo>
                    <a:pt x="1662" y="22"/>
                    <a:pt x="1662" y="22"/>
                    <a:pt x="1662" y="22"/>
                  </a:cubicBezTo>
                  <a:cubicBezTo>
                    <a:pt x="1662" y="10"/>
                    <a:pt x="1652" y="0"/>
                    <a:pt x="164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413" name="Shape 1393"/>
          <p:cNvSpPr/>
          <p:nvPr/>
        </p:nvSpPr>
        <p:spPr>
          <a:xfrm>
            <a:off x="2188637" y="462870"/>
            <a:ext cx="4482800" cy="38779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endParaRPr lang="en-US" altLang="de-DE" sz="2800" b="1" dirty="0">
              <a:solidFill>
                <a:srgbClr val="B52227"/>
              </a:solidFill>
              <a:latin typeface="Calibri" pitchFamily="34" charset="0"/>
              <a:ea typeface="+mj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17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Business Plan Development </a:t>
            </a:r>
          </a:p>
        </p:txBody>
      </p:sp>
    </p:spTree>
    <p:extLst>
      <p:ext uri="{BB962C8B-B14F-4D97-AF65-F5344CB8AC3E}">
        <p14:creationId xmlns:p14="http://schemas.microsoft.com/office/powerpoint/2010/main" val="4188035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" name="Shape 1369"/>
          <p:cNvSpPr/>
          <p:nvPr/>
        </p:nvSpPr>
        <p:spPr>
          <a:xfrm flipH="1">
            <a:off x="5041681" y="2129272"/>
            <a:ext cx="684360" cy="681478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85" name="Shape 1370"/>
          <p:cNvSpPr/>
          <p:nvPr/>
        </p:nvSpPr>
        <p:spPr>
          <a:xfrm>
            <a:off x="5690023" y="2094694"/>
            <a:ext cx="70269" cy="702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750"/>
                </a:moveTo>
                <a:cubicBezTo>
                  <a:pt x="21600" y="12759"/>
                  <a:pt x="21196" y="14467"/>
                  <a:pt x="20187" y="16175"/>
                </a:cubicBezTo>
                <a:cubicBezTo>
                  <a:pt x="19178" y="17883"/>
                  <a:pt x="18067" y="19088"/>
                  <a:pt x="16250" y="20093"/>
                </a:cubicBezTo>
                <a:cubicBezTo>
                  <a:pt x="14535" y="21098"/>
                  <a:pt x="12819" y="21600"/>
                  <a:pt x="10800" y="21600"/>
                </a:cubicBezTo>
                <a:cubicBezTo>
                  <a:pt x="8781" y="21600"/>
                  <a:pt x="7065" y="21098"/>
                  <a:pt x="5350" y="20093"/>
                </a:cubicBezTo>
                <a:cubicBezTo>
                  <a:pt x="3634" y="19088"/>
                  <a:pt x="2422" y="17883"/>
                  <a:pt x="1413" y="16175"/>
                </a:cubicBezTo>
                <a:cubicBezTo>
                  <a:pt x="404" y="14467"/>
                  <a:pt x="0" y="12659"/>
                  <a:pt x="0" y="10750"/>
                </a:cubicBezTo>
                <a:cubicBezTo>
                  <a:pt x="0" y="8740"/>
                  <a:pt x="404" y="7133"/>
                  <a:pt x="1413" y="5425"/>
                </a:cubicBezTo>
                <a:cubicBezTo>
                  <a:pt x="2422" y="3717"/>
                  <a:pt x="3634" y="2311"/>
                  <a:pt x="5350" y="1407"/>
                </a:cubicBezTo>
                <a:cubicBezTo>
                  <a:pt x="7065" y="402"/>
                  <a:pt x="8781" y="0"/>
                  <a:pt x="10800" y="0"/>
                </a:cubicBezTo>
                <a:cubicBezTo>
                  <a:pt x="12819" y="0"/>
                  <a:pt x="14535" y="402"/>
                  <a:pt x="16250" y="1407"/>
                </a:cubicBezTo>
                <a:cubicBezTo>
                  <a:pt x="18067" y="2311"/>
                  <a:pt x="19178" y="3717"/>
                  <a:pt x="20187" y="5425"/>
                </a:cubicBezTo>
                <a:cubicBezTo>
                  <a:pt x="21196" y="7133"/>
                  <a:pt x="21600" y="8841"/>
                  <a:pt x="21600" y="10750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86" name="Shape 1372"/>
          <p:cNvSpPr/>
          <p:nvPr/>
        </p:nvSpPr>
        <p:spPr>
          <a:xfrm>
            <a:off x="5953281" y="3638664"/>
            <a:ext cx="2265414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2. Business </a:t>
            </a:r>
            <a:r>
              <a:rPr lang="en-US" altLang="de-DE" dirty="0"/>
              <a:t>Concept</a:t>
            </a:r>
          </a:p>
        </p:txBody>
      </p:sp>
      <p:sp>
        <p:nvSpPr>
          <p:cNvPr id="287" name="Shape 1373"/>
          <p:cNvSpPr/>
          <p:nvPr/>
        </p:nvSpPr>
        <p:spPr>
          <a:xfrm flipH="1">
            <a:off x="5221777" y="3244418"/>
            <a:ext cx="965307" cy="1441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88" name="Shape 1374"/>
          <p:cNvSpPr/>
          <p:nvPr/>
        </p:nvSpPr>
        <p:spPr>
          <a:xfrm>
            <a:off x="6151064" y="3209839"/>
            <a:ext cx="70269" cy="702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51"/>
                </a:moveTo>
                <a:cubicBezTo>
                  <a:pt x="21600" y="12879"/>
                  <a:pt x="21196" y="14501"/>
                  <a:pt x="20187" y="16225"/>
                </a:cubicBezTo>
                <a:cubicBezTo>
                  <a:pt x="19178" y="17949"/>
                  <a:pt x="17966" y="19166"/>
                  <a:pt x="16250" y="20180"/>
                </a:cubicBezTo>
                <a:cubicBezTo>
                  <a:pt x="14535" y="21194"/>
                  <a:pt x="12819" y="21600"/>
                  <a:pt x="10800" y="21600"/>
                </a:cubicBezTo>
                <a:cubicBezTo>
                  <a:pt x="8781" y="21600"/>
                  <a:pt x="7065" y="21194"/>
                  <a:pt x="5350" y="20180"/>
                </a:cubicBezTo>
                <a:cubicBezTo>
                  <a:pt x="3634" y="19166"/>
                  <a:pt x="2422" y="17949"/>
                  <a:pt x="1413" y="16225"/>
                </a:cubicBezTo>
                <a:cubicBezTo>
                  <a:pt x="404" y="14501"/>
                  <a:pt x="0" y="12879"/>
                  <a:pt x="0" y="10851"/>
                </a:cubicBezTo>
                <a:cubicBezTo>
                  <a:pt x="0" y="8823"/>
                  <a:pt x="404" y="7200"/>
                  <a:pt x="1413" y="5476"/>
                </a:cubicBezTo>
                <a:cubicBezTo>
                  <a:pt x="2422" y="3651"/>
                  <a:pt x="3634" y="2434"/>
                  <a:pt x="5350" y="1420"/>
                </a:cubicBezTo>
                <a:cubicBezTo>
                  <a:pt x="7065" y="406"/>
                  <a:pt x="8781" y="0"/>
                  <a:pt x="10800" y="0"/>
                </a:cubicBezTo>
                <a:cubicBezTo>
                  <a:pt x="12819" y="0"/>
                  <a:pt x="14535" y="406"/>
                  <a:pt x="16250" y="1420"/>
                </a:cubicBezTo>
                <a:cubicBezTo>
                  <a:pt x="17966" y="2434"/>
                  <a:pt x="19178" y="3651"/>
                  <a:pt x="20187" y="5476"/>
                </a:cubicBezTo>
                <a:cubicBezTo>
                  <a:pt x="21196" y="7200"/>
                  <a:pt x="21600" y="8823"/>
                  <a:pt x="21600" y="10851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89" name="Shape 1376"/>
          <p:cNvSpPr/>
          <p:nvPr/>
        </p:nvSpPr>
        <p:spPr>
          <a:xfrm>
            <a:off x="5448015" y="4718442"/>
            <a:ext cx="2116413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3. Market </a:t>
            </a:r>
            <a:r>
              <a:rPr lang="en-US" altLang="de-DE" dirty="0"/>
              <a:t>Analysis</a:t>
            </a:r>
          </a:p>
        </p:txBody>
      </p:sp>
      <p:sp>
        <p:nvSpPr>
          <p:cNvPr id="290" name="Shape 1377"/>
          <p:cNvSpPr/>
          <p:nvPr/>
        </p:nvSpPr>
        <p:spPr>
          <a:xfrm flipH="1" flipV="1">
            <a:off x="5041681" y="3676644"/>
            <a:ext cx="684360" cy="684360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91" name="Shape 1378"/>
          <p:cNvSpPr/>
          <p:nvPr/>
        </p:nvSpPr>
        <p:spPr>
          <a:xfrm>
            <a:off x="5690023" y="4323544"/>
            <a:ext cx="70269" cy="7027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819"/>
                  <a:pt x="21196" y="14535"/>
                  <a:pt x="20187" y="16250"/>
                </a:cubicBezTo>
                <a:cubicBezTo>
                  <a:pt x="19178" y="17966"/>
                  <a:pt x="18067" y="19178"/>
                  <a:pt x="16250" y="20187"/>
                </a:cubicBezTo>
                <a:cubicBezTo>
                  <a:pt x="14535" y="21196"/>
                  <a:pt x="12819" y="21600"/>
                  <a:pt x="10800" y="21600"/>
                </a:cubicBezTo>
                <a:cubicBezTo>
                  <a:pt x="8781" y="21600"/>
                  <a:pt x="7065" y="21196"/>
                  <a:pt x="5350" y="20187"/>
                </a:cubicBezTo>
                <a:cubicBezTo>
                  <a:pt x="3634" y="19178"/>
                  <a:pt x="2422" y="17966"/>
                  <a:pt x="1413" y="16250"/>
                </a:cubicBezTo>
                <a:cubicBezTo>
                  <a:pt x="404" y="14535"/>
                  <a:pt x="0" y="12819"/>
                  <a:pt x="0" y="10800"/>
                </a:cubicBezTo>
                <a:cubicBezTo>
                  <a:pt x="0" y="8781"/>
                  <a:pt x="404" y="7166"/>
                  <a:pt x="1413" y="5350"/>
                </a:cubicBezTo>
                <a:cubicBezTo>
                  <a:pt x="2422" y="3634"/>
                  <a:pt x="3634" y="2422"/>
                  <a:pt x="5350" y="1413"/>
                </a:cubicBezTo>
                <a:cubicBezTo>
                  <a:pt x="7065" y="404"/>
                  <a:pt x="8781" y="0"/>
                  <a:pt x="10800" y="0"/>
                </a:cubicBezTo>
                <a:cubicBezTo>
                  <a:pt x="12819" y="0"/>
                  <a:pt x="14535" y="404"/>
                  <a:pt x="16250" y="1413"/>
                </a:cubicBezTo>
                <a:cubicBezTo>
                  <a:pt x="18067" y="2422"/>
                  <a:pt x="19178" y="3634"/>
                  <a:pt x="20187" y="5350"/>
                </a:cubicBezTo>
                <a:cubicBezTo>
                  <a:pt x="21196" y="7166"/>
                  <a:pt x="21600" y="8781"/>
                  <a:pt x="21600" y="10800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92" name="Shape 1380"/>
          <p:cNvSpPr/>
          <p:nvPr/>
        </p:nvSpPr>
        <p:spPr>
          <a:xfrm>
            <a:off x="3411426" y="5411949"/>
            <a:ext cx="2501775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4. Management </a:t>
            </a:r>
            <a:r>
              <a:rPr lang="en-US" altLang="de-DE" dirty="0"/>
              <a:t>Team </a:t>
            </a:r>
          </a:p>
        </p:txBody>
      </p:sp>
      <p:sp>
        <p:nvSpPr>
          <p:cNvPr id="293" name="Shape 1381"/>
          <p:cNvSpPr/>
          <p:nvPr/>
        </p:nvSpPr>
        <p:spPr>
          <a:xfrm flipV="1">
            <a:off x="4610895" y="3856740"/>
            <a:ext cx="1442" cy="965307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94" name="Shape 1382"/>
          <p:cNvSpPr/>
          <p:nvPr/>
        </p:nvSpPr>
        <p:spPr>
          <a:xfrm>
            <a:off x="4576318" y="4815760"/>
            <a:ext cx="70269" cy="702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819"/>
                  <a:pt x="21196" y="14535"/>
                  <a:pt x="20187" y="16250"/>
                </a:cubicBezTo>
                <a:cubicBezTo>
                  <a:pt x="19178" y="17966"/>
                  <a:pt x="17966" y="19178"/>
                  <a:pt x="16250" y="20187"/>
                </a:cubicBezTo>
                <a:cubicBezTo>
                  <a:pt x="14434" y="21196"/>
                  <a:pt x="12819" y="21600"/>
                  <a:pt x="10800" y="21600"/>
                </a:cubicBezTo>
                <a:cubicBezTo>
                  <a:pt x="8781" y="21600"/>
                  <a:pt x="7065" y="21196"/>
                  <a:pt x="5350" y="20187"/>
                </a:cubicBezTo>
                <a:cubicBezTo>
                  <a:pt x="3634" y="19178"/>
                  <a:pt x="2422" y="17966"/>
                  <a:pt x="1413" y="16250"/>
                </a:cubicBezTo>
                <a:cubicBezTo>
                  <a:pt x="404" y="14535"/>
                  <a:pt x="0" y="12819"/>
                  <a:pt x="0" y="10800"/>
                </a:cubicBezTo>
                <a:cubicBezTo>
                  <a:pt x="0" y="8781"/>
                  <a:pt x="404" y="7166"/>
                  <a:pt x="1413" y="5350"/>
                </a:cubicBezTo>
                <a:cubicBezTo>
                  <a:pt x="2422" y="3634"/>
                  <a:pt x="3634" y="2422"/>
                  <a:pt x="5350" y="1413"/>
                </a:cubicBezTo>
                <a:cubicBezTo>
                  <a:pt x="7065" y="404"/>
                  <a:pt x="8781" y="0"/>
                  <a:pt x="10800" y="0"/>
                </a:cubicBezTo>
                <a:cubicBezTo>
                  <a:pt x="12819" y="0"/>
                  <a:pt x="14434" y="404"/>
                  <a:pt x="16250" y="1413"/>
                </a:cubicBezTo>
                <a:cubicBezTo>
                  <a:pt x="17966" y="2422"/>
                  <a:pt x="19178" y="3634"/>
                  <a:pt x="20187" y="5350"/>
                </a:cubicBezTo>
                <a:cubicBezTo>
                  <a:pt x="21196" y="7166"/>
                  <a:pt x="21600" y="8781"/>
                  <a:pt x="21600" y="10800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04" name="Shape 1396"/>
          <p:cNvSpPr/>
          <p:nvPr/>
        </p:nvSpPr>
        <p:spPr>
          <a:xfrm>
            <a:off x="3557703" y="2191225"/>
            <a:ext cx="2106060" cy="21060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2"/>
                </a:moveTo>
                <a:cubicBezTo>
                  <a:pt x="21600" y="12786"/>
                  <a:pt x="21148" y="14482"/>
                  <a:pt x="20152" y="16201"/>
                </a:cubicBezTo>
                <a:cubicBezTo>
                  <a:pt x="19157" y="17923"/>
                  <a:pt x="17920" y="19160"/>
                  <a:pt x="16197" y="20152"/>
                </a:cubicBezTo>
                <a:cubicBezTo>
                  <a:pt x="14478" y="21148"/>
                  <a:pt x="12786" y="21600"/>
                  <a:pt x="10802" y="21600"/>
                </a:cubicBezTo>
                <a:cubicBezTo>
                  <a:pt x="8814" y="21600"/>
                  <a:pt x="7118" y="21148"/>
                  <a:pt x="5399" y="20152"/>
                </a:cubicBezTo>
                <a:cubicBezTo>
                  <a:pt x="3677" y="19160"/>
                  <a:pt x="2440" y="17923"/>
                  <a:pt x="1448" y="16201"/>
                </a:cubicBezTo>
                <a:cubicBezTo>
                  <a:pt x="452" y="14482"/>
                  <a:pt x="0" y="12786"/>
                  <a:pt x="0" y="10802"/>
                </a:cubicBezTo>
                <a:cubicBezTo>
                  <a:pt x="0" y="8814"/>
                  <a:pt x="452" y="7125"/>
                  <a:pt x="1448" y="5403"/>
                </a:cubicBezTo>
                <a:cubicBezTo>
                  <a:pt x="2440" y="3680"/>
                  <a:pt x="3677" y="2440"/>
                  <a:pt x="5399" y="1448"/>
                </a:cubicBezTo>
                <a:cubicBezTo>
                  <a:pt x="7118" y="452"/>
                  <a:pt x="8814" y="0"/>
                  <a:pt x="10802" y="0"/>
                </a:cubicBezTo>
                <a:cubicBezTo>
                  <a:pt x="12786" y="0"/>
                  <a:pt x="14478" y="452"/>
                  <a:pt x="16197" y="1448"/>
                </a:cubicBezTo>
                <a:cubicBezTo>
                  <a:pt x="17920" y="2440"/>
                  <a:pt x="19157" y="3680"/>
                  <a:pt x="20152" y="5403"/>
                </a:cubicBezTo>
                <a:cubicBezTo>
                  <a:pt x="21148" y="7125"/>
                  <a:pt x="21600" y="8814"/>
                  <a:pt x="21600" y="10802"/>
                </a:cubicBezTo>
              </a:path>
            </a:pathLst>
          </a:custGeom>
          <a:solidFill>
            <a:schemeClr val="tx2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pSp>
        <p:nvGrpSpPr>
          <p:cNvPr id="305" name="Group 1484"/>
          <p:cNvGrpSpPr/>
          <p:nvPr/>
        </p:nvGrpSpPr>
        <p:grpSpPr>
          <a:xfrm>
            <a:off x="3832889" y="2668116"/>
            <a:ext cx="1569599" cy="1196741"/>
            <a:chOff x="0" y="0"/>
            <a:chExt cx="2232318" cy="1702030"/>
          </a:xfrm>
        </p:grpSpPr>
        <p:sp>
          <p:nvSpPr>
            <p:cNvPr id="306" name="Shape 1397"/>
            <p:cNvSpPr/>
            <p:nvPr/>
          </p:nvSpPr>
          <p:spPr>
            <a:xfrm>
              <a:off x="1096685" y="1529186"/>
              <a:ext cx="299890" cy="1728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63" h="19639" extrusionOk="0">
                  <a:moveTo>
                    <a:pt x="2906" y="16748"/>
                  </a:moveTo>
                  <a:cubicBezTo>
                    <a:pt x="-969" y="12892"/>
                    <a:pt x="-969" y="6608"/>
                    <a:pt x="2906" y="2911"/>
                  </a:cubicBezTo>
                  <a:cubicBezTo>
                    <a:pt x="6689" y="-997"/>
                    <a:pt x="12912" y="-944"/>
                    <a:pt x="16756" y="2911"/>
                  </a:cubicBezTo>
                  <a:cubicBezTo>
                    <a:pt x="20631" y="6819"/>
                    <a:pt x="20631" y="12892"/>
                    <a:pt x="16756" y="16748"/>
                  </a:cubicBezTo>
                  <a:cubicBezTo>
                    <a:pt x="13004" y="20603"/>
                    <a:pt x="6780" y="20603"/>
                    <a:pt x="2906" y="16748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7" name="Shape 1398"/>
            <p:cNvSpPr/>
            <p:nvPr/>
          </p:nvSpPr>
          <p:spPr>
            <a:xfrm>
              <a:off x="0" y="866759"/>
              <a:ext cx="1251521" cy="7269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00" y="19462"/>
                  </a:moveTo>
                  <a:cubicBezTo>
                    <a:pt x="18434" y="20510"/>
                    <a:pt x="16983" y="20828"/>
                    <a:pt x="16262" y="20124"/>
                  </a:cubicBezTo>
                  <a:cubicBezTo>
                    <a:pt x="15853" y="19697"/>
                    <a:pt x="15765" y="19076"/>
                    <a:pt x="15990" y="18372"/>
                  </a:cubicBezTo>
                  <a:lnTo>
                    <a:pt x="15316" y="17710"/>
                  </a:lnTo>
                  <a:lnTo>
                    <a:pt x="11421" y="21600"/>
                  </a:lnTo>
                  <a:lnTo>
                    <a:pt x="6901" y="17117"/>
                  </a:lnTo>
                  <a:lnTo>
                    <a:pt x="7558" y="16469"/>
                  </a:lnTo>
                  <a:cubicBezTo>
                    <a:pt x="8255" y="16690"/>
                    <a:pt x="8913" y="16621"/>
                    <a:pt x="9321" y="16193"/>
                  </a:cubicBezTo>
                  <a:cubicBezTo>
                    <a:pt x="10043" y="15490"/>
                    <a:pt x="9730" y="14014"/>
                    <a:pt x="8664" y="12966"/>
                  </a:cubicBezTo>
                  <a:cubicBezTo>
                    <a:pt x="7574" y="11903"/>
                    <a:pt x="6131" y="11600"/>
                    <a:pt x="5426" y="12303"/>
                  </a:cubicBezTo>
                  <a:cubicBezTo>
                    <a:pt x="5025" y="12731"/>
                    <a:pt x="4953" y="13393"/>
                    <a:pt x="5154" y="14055"/>
                  </a:cubicBezTo>
                  <a:lnTo>
                    <a:pt x="4520" y="14676"/>
                  </a:lnTo>
                  <a:lnTo>
                    <a:pt x="0" y="10193"/>
                  </a:lnTo>
                  <a:lnTo>
                    <a:pt x="3887" y="6303"/>
                  </a:lnTo>
                  <a:lnTo>
                    <a:pt x="3214" y="5641"/>
                  </a:lnTo>
                  <a:cubicBezTo>
                    <a:pt x="2509" y="5876"/>
                    <a:pt x="1851" y="5793"/>
                    <a:pt x="1451" y="5366"/>
                  </a:cubicBezTo>
                  <a:cubicBezTo>
                    <a:pt x="721" y="4662"/>
                    <a:pt x="1018" y="3186"/>
                    <a:pt x="2084" y="2138"/>
                  </a:cubicBezTo>
                  <a:cubicBezTo>
                    <a:pt x="3142" y="1090"/>
                    <a:pt x="4593" y="772"/>
                    <a:pt x="5314" y="1476"/>
                  </a:cubicBezTo>
                  <a:cubicBezTo>
                    <a:pt x="5723" y="1903"/>
                    <a:pt x="5811" y="2566"/>
                    <a:pt x="5586" y="3228"/>
                  </a:cubicBezTo>
                  <a:lnTo>
                    <a:pt x="6268" y="3890"/>
                  </a:lnTo>
                  <a:lnTo>
                    <a:pt x="10155" y="0"/>
                  </a:lnTo>
                  <a:lnTo>
                    <a:pt x="14683" y="4469"/>
                  </a:lnTo>
                  <a:lnTo>
                    <a:pt x="14026" y="5131"/>
                  </a:lnTo>
                  <a:cubicBezTo>
                    <a:pt x="13321" y="4897"/>
                    <a:pt x="12663" y="4979"/>
                    <a:pt x="12263" y="5407"/>
                  </a:cubicBezTo>
                  <a:cubicBezTo>
                    <a:pt x="11557" y="6110"/>
                    <a:pt x="11854" y="7586"/>
                    <a:pt x="12912" y="8634"/>
                  </a:cubicBezTo>
                  <a:cubicBezTo>
                    <a:pt x="14002" y="9683"/>
                    <a:pt x="15453" y="10000"/>
                    <a:pt x="16150" y="9297"/>
                  </a:cubicBezTo>
                  <a:cubicBezTo>
                    <a:pt x="16559" y="8869"/>
                    <a:pt x="16623" y="8248"/>
                    <a:pt x="16422" y="7545"/>
                  </a:cubicBezTo>
                  <a:lnTo>
                    <a:pt x="17080" y="6883"/>
                  </a:lnTo>
                  <a:lnTo>
                    <a:pt x="21600" y="11366"/>
                  </a:lnTo>
                  <a:lnTo>
                    <a:pt x="17713" y="15255"/>
                  </a:lnTo>
                  <a:lnTo>
                    <a:pt x="18386" y="15917"/>
                  </a:lnTo>
                  <a:cubicBezTo>
                    <a:pt x="19091" y="15683"/>
                    <a:pt x="19749" y="15766"/>
                    <a:pt x="20157" y="16193"/>
                  </a:cubicBezTo>
                  <a:cubicBezTo>
                    <a:pt x="20879" y="16924"/>
                    <a:pt x="20582" y="18372"/>
                    <a:pt x="19500" y="19462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8" name="Shape 1399"/>
            <p:cNvSpPr/>
            <p:nvPr/>
          </p:nvSpPr>
          <p:spPr>
            <a:xfrm>
              <a:off x="1100353" y="940525"/>
              <a:ext cx="38475" cy="97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086" y="16639"/>
                  </a:lnTo>
                  <a:lnTo>
                    <a:pt x="0" y="21600"/>
                  </a:lnTo>
                  <a:lnTo>
                    <a:pt x="0" y="4961"/>
                  </a:lnTo>
                  <a:lnTo>
                    <a:pt x="21600" y="0"/>
                  </a:lnTo>
                </a:path>
              </a:pathLst>
            </a:custGeom>
            <a:solidFill>
              <a:srgbClr val="4751A3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9" name="Shape 1400"/>
            <p:cNvSpPr/>
            <p:nvPr/>
          </p:nvSpPr>
          <p:spPr>
            <a:xfrm>
              <a:off x="829875" y="930280"/>
              <a:ext cx="280259" cy="1839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6781"/>
                  </a:moveTo>
                  <a:lnTo>
                    <a:pt x="21600" y="15749"/>
                  </a:lnTo>
                  <a:cubicBezTo>
                    <a:pt x="21600" y="16077"/>
                    <a:pt x="21600" y="16241"/>
                    <a:pt x="21492" y="16514"/>
                  </a:cubicBezTo>
                  <a:cubicBezTo>
                    <a:pt x="21492" y="16678"/>
                    <a:pt x="21492" y="16678"/>
                    <a:pt x="21385" y="16843"/>
                  </a:cubicBezTo>
                  <a:lnTo>
                    <a:pt x="21385" y="17007"/>
                  </a:lnTo>
                  <a:cubicBezTo>
                    <a:pt x="21385" y="17007"/>
                    <a:pt x="21385" y="17116"/>
                    <a:pt x="21277" y="17116"/>
                  </a:cubicBezTo>
                  <a:cubicBezTo>
                    <a:pt x="21169" y="17280"/>
                    <a:pt x="21169" y="17608"/>
                    <a:pt x="21062" y="17772"/>
                  </a:cubicBezTo>
                  <a:cubicBezTo>
                    <a:pt x="21062" y="17772"/>
                    <a:pt x="21062" y="17936"/>
                    <a:pt x="20990" y="17936"/>
                  </a:cubicBezTo>
                  <a:cubicBezTo>
                    <a:pt x="20990" y="18046"/>
                    <a:pt x="20990" y="18046"/>
                    <a:pt x="20882" y="18046"/>
                  </a:cubicBezTo>
                  <a:cubicBezTo>
                    <a:pt x="20775" y="18210"/>
                    <a:pt x="20775" y="18210"/>
                    <a:pt x="20775" y="18374"/>
                  </a:cubicBezTo>
                  <a:cubicBezTo>
                    <a:pt x="20667" y="18538"/>
                    <a:pt x="20559" y="18866"/>
                    <a:pt x="20380" y="18975"/>
                  </a:cubicBezTo>
                  <a:cubicBezTo>
                    <a:pt x="20380" y="18975"/>
                    <a:pt x="20272" y="18975"/>
                    <a:pt x="20272" y="19139"/>
                  </a:cubicBezTo>
                  <a:cubicBezTo>
                    <a:pt x="20057" y="19467"/>
                    <a:pt x="19878" y="19631"/>
                    <a:pt x="19662" y="19905"/>
                  </a:cubicBezTo>
                  <a:cubicBezTo>
                    <a:pt x="19662" y="19905"/>
                    <a:pt x="19555" y="19905"/>
                    <a:pt x="19555" y="20069"/>
                  </a:cubicBezTo>
                  <a:cubicBezTo>
                    <a:pt x="19340" y="20233"/>
                    <a:pt x="19160" y="20397"/>
                    <a:pt x="18945" y="20561"/>
                  </a:cubicBezTo>
                  <a:cubicBezTo>
                    <a:pt x="18837" y="20561"/>
                    <a:pt x="18765" y="20670"/>
                    <a:pt x="18765" y="20670"/>
                  </a:cubicBezTo>
                  <a:cubicBezTo>
                    <a:pt x="18658" y="20834"/>
                    <a:pt x="18443" y="20834"/>
                    <a:pt x="18335" y="20998"/>
                  </a:cubicBezTo>
                  <a:cubicBezTo>
                    <a:pt x="18335" y="20998"/>
                    <a:pt x="18335" y="20998"/>
                    <a:pt x="18227" y="20998"/>
                  </a:cubicBezTo>
                  <a:cubicBezTo>
                    <a:pt x="17940" y="21163"/>
                    <a:pt x="17546" y="21327"/>
                    <a:pt x="17223" y="21491"/>
                  </a:cubicBezTo>
                  <a:lnTo>
                    <a:pt x="16828" y="21491"/>
                  </a:lnTo>
                  <a:cubicBezTo>
                    <a:pt x="16613" y="21491"/>
                    <a:pt x="16505" y="21600"/>
                    <a:pt x="16326" y="21600"/>
                  </a:cubicBezTo>
                  <a:lnTo>
                    <a:pt x="12989" y="21600"/>
                  </a:lnTo>
                  <a:cubicBezTo>
                    <a:pt x="12773" y="21600"/>
                    <a:pt x="12558" y="21491"/>
                    <a:pt x="12379" y="21491"/>
                  </a:cubicBezTo>
                  <a:lnTo>
                    <a:pt x="11948" y="21491"/>
                  </a:lnTo>
                  <a:cubicBezTo>
                    <a:pt x="11661" y="21491"/>
                    <a:pt x="11446" y="21327"/>
                    <a:pt x="11159" y="21327"/>
                  </a:cubicBezTo>
                  <a:cubicBezTo>
                    <a:pt x="11051" y="21327"/>
                    <a:pt x="10944" y="21327"/>
                    <a:pt x="10836" y="21163"/>
                  </a:cubicBezTo>
                  <a:lnTo>
                    <a:pt x="10764" y="21163"/>
                  </a:lnTo>
                  <a:cubicBezTo>
                    <a:pt x="10334" y="20998"/>
                    <a:pt x="9831" y="20834"/>
                    <a:pt x="9437" y="20670"/>
                  </a:cubicBezTo>
                  <a:lnTo>
                    <a:pt x="9329" y="20670"/>
                  </a:lnTo>
                  <a:cubicBezTo>
                    <a:pt x="9221" y="20670"/>
                    <a:pt x="9221" y="20561"/>
                    <a:pt x="9221" y="20561"/>
                  </a:cubicBezTo>
                  <a:cubicBezTo>
                    <a:pt x="8611" y="20233"/>
                    <a:pt x="8001" y="19905"/>
                    <a:pt x="7391" y="19631"/>
                  </a:cubicBezTo>
                  <a:lnTo>
                    <a:pt x="7320" y="19631"/>
                  </a:lnTo>
                  <a:cubicBezTo>
                    <a:pt x="7212" y="19631"/>
                    <a:pt x="7212" y="19467"/>
                    <a:pt x="7104" y="19467"/>
                  </a:cubicBezTo>
                  <a:cubicBezTo>
                    <a:pt x="6817" y="19303"/>
                    <a:pt x="6494" y="18975"/>
                    <a:pt x="6207" y="18866"/>
                  </a:cubicBezTo>
                  <a:cubicBezTo>
                    <a:pt x="6100" y="18702"/>
                    <a:pt x="5992" y="18702"/>
                    <a:pt x="5884" y="18538"/>
                  </a:cubicBezTo>
                  <a:cubicBezTo>
                    <a:pt x="5490" y="18210"/>
                    <a:pt x="5095" y="17936"/>
                    <a:pt x="4772" y="17608"/>
                  </a:cubicBezTo>
                  <a:cubicBezTo>
                    <a:pt x="1722" y="14983"/>
                    <a:pt x="0" y="11593"/>
                    <a:pt x="0" y="8804"/>
                  </a:cubicBezTo>
                  <a:lnTo>
                    <a:pt x="0" y="0"/>
                  </a:lnTo>
                  <a:cubicBezTo>
                    <a:pt x="0" y="2789"/>
                    <a:pt x="1650" y="6015"/>
                    <a:pt x="4772" y="8804"/>
                  </a:cubicBezTo>
                  <a:cubicBezTo>
                    <a:pt x="5167" y="9132"/>
                    <a:pt x="5490" y="9406"/>
                    <a:pt x="5884" y="9734"/>
                  </a:cubicBezTo>
                  <a:cubicBezTo>
                    <a:pt x="5992" y="9898"/>
                    <a:pt x="6100" y="9898"/>
                    <a:pt x="6207" y="10062"/>
                  </a:cubicBezTo>
                  <a:cubicBezTo>
                    <a:pt x="6494" y="10335"/>
                    <a:pt x="6817" y="10499"/>
                    <a:pt x="7104" y="10663"/>
                  </a:cubicBezTo>
                  <a:cubicBezTo>
                    <a:pt x="7212" y="10663"/>
                    <a:pt x="7320" y="10827"/>
                    <a:pt x="7391" y="10827"/>
                  </a:cubicBezTo>
                  <a:cubicBezTo>
                    <a:pt x="8001" y="11101"/>
                    <a:pt x="8611" y="11429"/>
                    <a:pt x="9221" y="11757"/>
                  </a:cubicBezTo>
                  <a:cubicBezTo>
                    <a:pt x="9329" y="11757"/>
                    <a:pt x="9329" y="11921"/>
                    <a:pt x="9437" y="11921"/>
                  </a:cubicBezTo>
                  <a:cubicBezTo>
                    <a:pt x="9831" y="12030"/>
                    <a:pt x="10334" y="12194"/>
                    <a:pt x="10764" y="12358"/>
                  </a:cubicBezTo>
                  <a:cubicBezTo>
                    <a:pt x="10836" y="12358"/>
                    <a:pt x="10944" y="12523"/>
                    <a:pt x="11051" y="12523"/>
                  </a:cubicBezTo>
                  <a:cubicBezTo>
                    <a:pt x="11374" y="12687"/>
                    <a:pt x="11553" y="12687"/>
                    <a:pt x="11876" y="12687"/>
                  </a:cubicBezTo>
                  <a:cubicBezTo>
                    <a:pt x="11948" y="12687"/>
                    <a:pt x="12163" y="12687"/>
                    <a:pt x="12271" y="12796"/>
                  </a:cubicBezTo>
                  <a:cubicBezTo>
                    <a:pt x="12486" y="12796"/>
                    <a:pt x="12666" y="12960"/>
                    <a:pt x="12881" y="12960"/>
                  </a:cubicBezTo>
                  <a:cubicBezTo>
                    <a:pt x="13096" y="12960"/>
                    <a:pt x="13168" y="13124"/>
                    <a:pt x="13276" y="13124"/>
                  </a:cubicBezTo>
                  <a:lnTo>
                    <a:pt x="15608" y="13124"/>
                  </a:lnTo>
                  <a:cubicBezTo>
                    <a:pt x="15823" y="13124"/>
                    <a:pt x="15895" y="13124"/>
                    <a:pt x="16003" y="12960"/>
                  </a:cubicBezTo>
                  <a:cubicBezTo>
                    <a:pt x="16074" y="12796"/>
                    <a:pt x="16326" y="12796"/>
                    <a:pt x="16505" y="12796"/>
                  </a:cubicBezTo>
                  <a:cubicBezTo>
                    <a:pt x="16613" y="12796"/>
                    <a:pt x="16828" y="12796"/>
                    <a:pt x="16936" y="12687"/>
                  </a:cubicBezTo>
                  <a:cubicBezTo>
                    <a:pt x="17330" y="12523"/>
                    <a:pt x="17653" y="12358"/>
                    <a:pt x="17940" y="12194"/>
                  </a:cubicBezTo>
                  <a:cubicBezTo>
                    <a:pt x="18155" y="12030"/>
                    <a:pt x="18227" y="12030"/>
                    <a:pt x="18335" y="11921"/>
                  </a:cubicBezTo>
                  <a:cubicBezTo>
                    <a:pt x="18443" y="11921"/>
                    <a:pt x="18443" y="11757"/>
                    <a:pt x="18550" y="11757"/>
                  </a:cubicBezTo>
                  <a:cubicBezTo>
                    <a:pt x="18765" y="11593"/>
                    <a:pt x="18945" y="11429"/>
                    <a:pt x="19160" y="11265"/>
                  </a:cubicBezTo>
                  <a:cubicBezTo>
                    <a:pt x="19447" y="10991"/>
                    <a:pt x="19662" y="10827"/>
                    <a:pt x="19878" y="10499"/>
                  </a:cubicBezTo>
                  <a:cubicBezTo>
                    <a:pt x="19878" y="10499"/>
                    <a:pt x="19950" y="10499"/>
                    <a:pt x="19950" y="10335"/>
                  </a:cubicBezTo>
                  <a:cubicBezTo>
                    <a:pt x="20165" y="10062"/>
                    <a:pt x="20380" y="9734"/>
                    <a:pt x="20488" y="9406"/>
                  </a:cubicBezTo>
                  <a:cubicBezTo>
                    <a:pt x="20488" y="9296"/>
                    <a:pt x="20488" y="9296"/>
                    <a:pt x="20559" y="9296"/>
                  </a:cubicBezTo>
                  <a:cubicBezTo>
                    <a:pt x="20667" y="8968"/>
                    <a:pt x="20775" y="8640"/>
                    <a:pt x="20882" y="8367"/>
                  </a:cubicBezTo>
                  <a:lnTo>
                    <a:pt x="20882" y="8203"/>
                  </a:lnTo>
                  <a:cubicBezTo>
                    <a:pt x="21385" y="7601"/>
                    <a:pt x="21492" y="7273"/>
                    <a:pt x="21600" y="6781"/>
                  </a:cubicBezTo>
                </a:path>
              </a:pathLst>
            </a:custGeom>
            <a:solidFill>
              <a:srgbClr val="474E8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0" name="Shape 1401"/>
            <p:cNvSpPr/>
            <p:nvPr/>
          </p:nvSpPr>
          <p:spPr>
            <a:xfrm>
              <a:off x="131140" y="563495"/>
              <a:ext cx="40506" cy="978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961"/>
                  </a:moveTo>
                  <a:lnTo>
                    <a:pt x="21600" y="21600"/>
                  </a:lnTo>
                  <a:lnTo>
                    <a:pt x="0" y="16329"/>
                  </a:lnTo>
                  <a:lnTo>
                    <a:pt x="0" y="0"/>
                  </a:lnTo>
                  <a:lnTo>
                    <a:pt x="21600" y="4961"/>
                  </a:lnTo>
                </a:path>
              </a:pathLst>
            </a:custGeom>
            <a:solidFill>
              <a:srgbClr val="DE1C3A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1" name="Shape 1402"/>
            <p:cNvSpPr/>
            <p:nvPr/>
          </p:nvSpPr>
          <p:spPr>
            <a:xfrm>
              <a:off x="149582" y="982562"/>
              <a:ext cx="91744" cy="423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525" extrusionOk="0">
                  <a:moveTo>
                    <a:pt x="11403" y="1514"/>
                  </a:moveTo>
                  <a:cubicBezTo>
                    <a:pt x="14254" y="5789"/>
                    <a:pt x="16995" y="5789"/>
                    <a:pt x="19736" y="10964"/>
                  </a:cubicBezTo>
                  <a:cubicBezTo>
                    <a:pt x="20065" y="11639"/>
                    <a:pt x="21600" y="13439"/>
                    <a:pt x="21600" y="14789"/>
                  </a:cubicBezTo>
                  <a:cubicBezTo>
                    <a:pt x="21052" y="18614"/>
                    <a:pt x="17653" y="21089"/>
                    <a:pt x="16118" y="20414"/>
                  </a:cubicBezTo>
                  <a:cubicBezTo>
                    <a:pt x="13596" y="19739"/>
                    <a:pt x="11403" y="18614"/>
                    <a:pt x="8662" y="17939"/>
                  </a:cubicBezTo>
                  <a:cubicBezTo>
                    <a:pt x="6798" y="17264"/>
                    <a:pt x="2741" y="17264"/>
                    <a:pt x="877" y="16139"/>
                  </a:cubicBezTo>
                  <a:cubicBezTo>
                    <a:pt x="0" y="14789"/>
                    <a:pt x="0" y="10289"/>
                    <a:pt x="0" y="7814"/>
                  </a:cubicBezTo>
                  <a:cubicBezTo>
                    <a:pt x="0" y="6464"/>
                    <a:pt x="1206" y="3989"/>
                    <a:pt x="1206" y="3989"/>
                  </a:cubicBezTo>
                  <a:cubicBezTo>
                    <a:pt x="2741" y="5339"/>
                    <a:pt x="3399" y="6464"/>
                    <a:pt x="5592" y="5789"/>
                  </a:cubicBezTo>
                  <a:cubicBezTo>
                    <a:pt x="5811" y="5339"/>
                    <a:pt x="6469" y="5339"/>
                    <a:pt x="7127" y="5339"/>
                  </a:cubicBezTo>
                  <a:cubicBezTo>
                    <a:pt x="8991" y="839"/>
                    <a:pt x="10197" y="-511"/>
                    <a:pt x="10855" y="164"/>
                  </a:cubicBezTo>
                  <a:cubicBezTo>
                    <a:pt x="10855" y="164"/>
                    <a:pt x="11074" y="839"/>
                    <a:pt x="11403" y="1514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2" name="Shape 1403"/>
            <p:cNvSpPr/>
            <p:nvPr/>
          </p:nvSpPr>
          <p:spPr>
            <a:xfrm>
              <a:off x="59423" y="918935"/>
              <a:ext cx="88540" cy="4162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21" h="21118" extrusionOk="0">
                  <a:moveTo>
                    <a:pt x="11520" y="1376"/>
                  </a:moveTo>
                  <a:cubicBezTo>
                    <a:pt x="14400" y="6021"/>
                    <a:pt x="17169" y="6021"/>
                    <a:pt x="19938" y="11363"/>
                  </a:cubicBezTo>
                  <a:cubicBezTo>
                    <a:pt x="20271" y="11828"/>
                    <a:pt x="21600" y="15776"/>
                    <a:pt x="21268" y="17170"/>
                  </a:cubicBezTo>
                  <a:cubicBezTo>
                    <a:pt x="20935" y="21118"/>
                    <a:pt x="17502" y="21118"/>
                    <a:pt x="16283" y="21118"/>
                  </a:cubicBezTo>
                  <a:cubicBezTo>
                    <a:pt x="13735" y="20421"/>
                    <a:pt x="11520" y="19260"/>
                    <a:pt x="8751" y="18563"/>
                  </a:cubicBezTo>
                  <a:cubicBezTo>
                    <a:pt x="6868" y="17866"/>
                    <a:pt x="2769" y="17866"/>
                    <a:pt x="886" y="16473"/>
                  </a:cubicBezTo>
                  <a:cubicBezTo>
                    <a:pt x="0" y="15312"/>
                    <a:pt x="0" y="10666"/>
                    <a:pt x="0" y="8112"/>
                  </a:cubicBezTo>
                  <a:cubicBezTo>
                    <a:pt x="0" y="6718"/>
                    <a:pt x="1218" y="4163"/>
                    <a:pt x="1218" y="4163"/>
                  </a:cubicBezTo>
                  <a:cubicBezTo>
                    <a:pt x="2769" y="5324"/>
                    <a:pt x="3434" y="6718"/>
                    <a:pt x="5649" y="6021"/>
                  </a:cubicBezTo>
                  <a:cubicBezTo>
                    <a:pt x="5871" y="5324"/>
                    <a:pt x="6535" y="5324"/>
                    <a:pt x="7200" y="5324"/>
                  </a:cubicBezTo>
                  <a:cubicBezTo>
                    <a:pt x="9083" y="679"/>
                    <a:pt x="10302" y="-482"/>
                    <a:pt x="10966" y="215"/>
                  </a:cubicBezTo>
                  <a:cubicBezTo>
                    <a:pt x="10966" y="-482"/>
                    <a:pt x="11188" y="679"/>
                    <a:pt x="11520" y="1376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3" name="Shape 1404"/>
            <p:cNvSpPr/>
            <p:nvPr/>
          </p:nvSpPr>
          <p:spPr>
            <a:xfrm>
              <a:off x="178269" y="618820"/>
              <a:ext cx="137525" cy="1039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0" h="20382" extrusionOk="0">
                  <a:moveTo>
                    <a:pt x="0" y="2370"/>
                  </a:moveTo>
                  <a:lnTo>
                    <a:pt x="6285" y="0"/>
                  </a:lnTo>
                  <a:lnTo>
                    <a:pt x="7080" y="4192"/>
                  </a:lnTo>
                  <a:cubicBezTo>
                    <a:pt x="7080" y="4192"/>
                    <a:pt x="14015" y="11119"/>
                    <a:pt x="16688" y="13397"/>
                  </a:cubicBezTo>
                  <a:cubicBezTo>
                    <a:pt x="16688" y="13397"/>
                    <a:pt x="21600" y="14400"/>
                    <a:pt x="21383" y="17772"/>
                  </a:cubicBezTo>
                  <a:cubicBezTo>
                    <a:pt x="21383" y="21144"/>
                    <a:pt x="17338" y="21600"/>
                    <a:pt x="14448" y="17043"/>
                  </a:cubicBezTo>
                  <a:cubicBezTo>
                    <a:pt x="14448" y="17043"/>
                    <a:pt x="6068" y="12668"/>
                    <a:pt x="4262" y="10299"/>
                  </a:cubicBezTo>
                  <a:cubicBezTo>
                    <a:pt x="2601" y="8020"/>
                    <a:pt x="0" y="2370"/>
                    <a:pt x="0" y="237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4" name="Shape 1405"/>
            <p:cNvSpPr/>
            <p:nvPr/>
          </p:nvSpPr>
          <p:spPr>
            <a:xfrm>
              <a:off x="158344" y="555911"/>
              <a:ext cx="68636" cy="849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29" h="19153" extrusionOk="0">
                  <a:moveTo>
                    <a:pt x="3479" y="279"/>
                  </a:moveTo>
                  <a:cubicBezTo>
                    <a:pt x="11804" y="-2447"/>
                    <a:pt x="16529" y="15693"/>
                    <a:pt x="16529" y="15693"/>
                  </a:cubicBezTo>
                  <a:cubicBezTo>
                    <a:pt x="16529" y="15693"/>
                    <a:pt x="15291" y="16846"/>
                    <a:pt x="11804" y="18000"/>
                  </a:cubicBezTo>
                  <a:cubicBezTo>
                    <a:pt x="7979" y="19153"/>
                    <a:pt x="4829" y="19153"/>
                    <a:pt x="4829" y="19153"/>
                  </a:cubicBezTo>
                  <a:cubicBezTo>
                    <a:pt x="4829" y="19153"/>
                    <a:pt x="-5071" y="2901"/>
                    <a:pt x="3479" y="279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5" name="Shape 1406"/>
            <p:cNvSpPr/>
            <p:nvPr/>
          </p:nvSpPr>
          <p:spPr>
            <a:xfrm>
              <a:off x="63521" y="751222"/>
              <a:ext cx="116331" cy="1849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150" extrusionOk="0">
                  <a:moveTo>
                    <a:pt x="9802" y="123"/>
                  </a:moveTo>
                  <a:cubicBezTo>
                    <a:pt x="12058" y="-584"/>
                    <a:pt x="21600" y="1990"/>
                    <a:pt x="21600" y="1990"/>
                  </a:cubicBezTo>
                  <a:cubicBezTo>
                    <a:pt x="21600" y="1990"/>
                    <a:pt x="15701" y="11780"/>
                    <a:pt x="13966" y="13345"/>
                  </a:cubicBezTo>
                  <a:cubicBezTo>
                    <a:pt x="12058" y="14909"/>
                    <a:pt x="7373" y="19603"/>
                    <a:pt x="7373" y="19603"/>
                  </a:cubicBezTo>
                  <a:cubicBezTo>
                    <a:pt x="7373" y="19603"/>
                    <a:pt x="1475" y="21016"/>
                    <a:pt x="0" y="19300"/>
                  </a:cubicBezTo>
                  <a:cubicBezTo>
                    <a:pt x="0" y="19300"/>
                    <a:pt x="1475" y="13496"/>
                    <a:pt x="4945" y="11074"/>
                  </a:cubicBezTo>
                  <a:cubicBezTo>
                    <a:pt x="4945" y="11074"/>
                    <a:pt x="7894" y="880"/>
                    <a:pt x="9802" y="123"/>
                  </a:cubicBezTo>
                </a:path>
              </a:pathLst>
            </a:custGeom>
            <a:solidFill>
              <a:srgbClr val="47645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6" name="Shape 1407"/>
            <p:cNvSpPr/>
            <p:nvPr/>
          </p:nvSpPr>
          <p:spPr>
            <a:xfrm>
              <a:off x="90585" y="764305"/>
              <a:ext cx="109757" cy="2345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23" h="21177" extrusionOk="0">
                  <a:moveTo>
                    <a:pt x="13473" y="713"/>
                  </a:moveTo>
                  <a:cubicBezTo>
                    <a:pt x="13473" y="713"/>
                    <a:pt x="18063" y="8976"/>
                    <a:pt x="18873" y="10611"/>
                  </a:cubicBezTo>
                  <a:cubicBezTo>
                    <a:pt x="19593" y="12289"/>
                    <a:pt x="21123" y="20551"/>
                    <a:pt x="21123" y="20551"/>
                  </a:cubicBezTo>
                  <a:cubicBezTo>
                    <a:pt x="17343" y="21600"/>
                    <a:pt x="12753" y="21013"/>
                    <a:pt x="12753" y="21013"/>
                  </a:cubicBezTo>
                  <a:lnTo>
                    <a:pt x="8433" y="10485"/>
                  </a:lnTo>
                  <a:cubicBezTo>
                    <a:pt x="8433" y="10485"/>
                    <a:pt x="3573" y="5662"/>
                    <a:pt x="1593" y="3901"/>
                  </a:cubicBezTo>
                  <a:cubicBezTo>
                    <a:pt x="-477" y="2013"/>
                    <a:pt x="63" y="0"/>
                    <a:pt x="63" y="0"/>
                  </a:cubicBezTo>
                  <a:lnTo>
                    <a:pt x="13473" y="713"/>
                  </a:lnTo>
                </a:path>
              </a:pathLst>
            </a:custGeom>
            <a:solidFill>
              <a:srgbClr val="4773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7" name="Shape 1408"/>
            <p:cNvSpPr/>
            <p:nvPr/>
          </p:nvSpPr>
          <p:spPr>
            <a:xfrm>
              <a:off x="84011" y="550935"/>
              <a:ext cx="114285" cy="2299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9429" extrusionOk="0">
                  <a:moveTo>
                    <a:pt x="21600" y="2581"/>
                  </a:moveTo>
                  <a:lnTo>
                    <a:pt x="19580" y="18644"/>
                  </a:lnTo>
                  <a:cubicBezTo>
                    <a:pt x="10712" y="20411"/>
                    <a:pt x="0" y="18644"/>
                    <a:pt x="0" y="18644"/>
                  </a:cubicBezTo>
                  <a:lnTo>
                    <a:pt x="0" y="2228"/>
                  </a:lnTo>
                  <a:cubicBezTo>
                    <a:pt x="8254" y="-1189"/>
                    <a:pt x="18351" y="343"/>
                    <a:pt x="18351" y="343"/>
                  </a:cubicBezTo>
                  <a:cubicBezTo>
                    <a:pt x="20898" y="892"/>
                    <a:pt x="21600" y="2581"/>
                    <a:pt x="21600" y="2581"/>
                  </a:cubicBezTo>
                </a:path>
              </a:pathLst>
            </a:custGeom>
            <a:solidFill>
              <a:srgbClr val="476A6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8" name="Shape 1409"/>
            <p:cNvSpPr/>
            <p:nvPr/>
          </p:nvSpPr>
          <p:spPr>
            <a:xfrm>
              <a:off x="116797" y="534808"/>
              <a:ext cx="50179" cy="512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189" h="18788" extrusionOk="0">
                  <a:moveTo>
                    <a:pt x="14560" y="0"/>
                  </a:moveTo>
                  <a:lnTo>
                    <a:pt x="14560" y="6293"/>
                  </a:lnTo>
                  <a:cubicBezTo>
                    <a:pt x="14560" y="6293"/>
                    <a:pt x="21600" y="14797"/>
                    <a:pt x="12640" y="18198"/>
                  </a:cubicBezTo>
                  <a:cubicBezTo>
                    <a:pt x="3520" y="21600"/>
                    <a:pt x="0" y="9184"/>
                    <a:pt x="0" y="9184"/>
                  </a:cubicBezTo>
                  <a:lnTo>
                    <a:pt x="5920" y="2891"/>
                  </a:lnTo>
                  <a:lnTo>
                    <a:pt x="14560" y="0"/>
                  </a:lnTo>
                </a:path>
              </a:pathLst>
            </a:custGeom>
            <a:solidFill>
              <a:srgbClr val="FFE98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9" name="Shape 1410"/>
            <p:cNvSpPr/>
            <p:nvPr/>
          </p:nvSpPr>
          <p:spPr>
            <a:xfrm>
              <a:off x="90159" y="639311"/>
              <a:ext cx="137525" cy="1036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0" h="20324" extrusionOk="0">
                  <a:moveTo>
                    <a:pt x="0" y="2278"/>
                  </a:moveTo>
                  <a:lnTo>
                    <a:pt x="6285" y="0"/>
                  </a:lnTo>
                  <a:lnTo>
                    <a:pt x="7152" y="4101"/>
                  </a:lnTo>
                  <a:cubicBezTo>
                    <a:pt x="7152" y="4101"/>
                    <a:pt x="14015" y="11028"/>
                    <a:pt x="16688" y="13306"/>
                  </a:cubicBezTo>
                  <a:cubicBezTo>
                    <a:pt x="16688" y="13306"/>
                    <a:pt x="21600" y="14400"/>
                    <a:pt x="21383" y="17681"/>
                  </a:cubicBezTo>
                  <a:cubicBezTo>
                    <a:pt x="21383" y="21053"/>
                    <a:pt x="17338" y="21600"/>
                    <a:pt x="14448" y="16952"/>
                  </a:cubicBezTo>
                  <a:cubicBezTo>
                    <a:pt x="14448" y="16952"/>
                    <a:pt x="6068" y="12577"/>
                    <a:pt x="4262" y="10299"/>
                  </a:cubicBezTo>
                  <a:cubicBezTo>
                    <a:pt x="2601" y="7929"/>
                    <a:pt x="0" y="2278"/>
                    <a:pt x="0" y="2278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0" name="Shape 1411"/>
            <p:cNvSpPr/>
            <p:nvPr/>
          </p:nvSpPr>
          <p:spPr>
            <a:xfrm>
              <a:off x="70234" y="576020"/>
              <a:ext cx="68636" cy="853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29" h="19239" extrusionOk="0">
                  <a:moveTo>
                    <a:pt x="3479" y="260"/>
                  </a:moveTo>
                  <a:cubicBezTo>
                    <a:pt x="11804" y="-2361"/>
                    <a:pt x="16529" y="15674"/>
                    <a:pt x="16529" y="15674"/>
                  </a:cubicBezTo>
                  <a:cubicBezTo>
                    <a:pt x="16529" y="15674"/>
                    <a:pt x="15291" y="16827"/>
                    <a:pt x="11804" y="17981"/>
                  </a:cubicBezTo>
                  <a:cubicBezTo>
                    <a:pt x="7979" y="19239"/>
                    <a:pt x="4829" y="19239"/>
                    <a:pt x="4829" y="19239"/>
                  </a:cubicBezTo>
                  <a:cubicBezTo>
                    <a:pt x="4829" y="19239"/>
                    <a:pt x="-5071" y="2987"/>
                    <a:pt x="3479" y="260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1" name="Shape 1412"/>
            <p:cNvSpPr/>
            <p:nvPr/>
          </p:nvSpPr>
          <p:spPr>
            <a:xfrm>
              <a:off x="98355" y="479483"/>
              <a:ext cx="85595" cy="896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900"/>
                  </a:moveTo>
                  <a:cubicBezTo>
                    <a:pt x="0" y="9225"/>
                    <a:pt x="354" y="8887"/>
                    <a:pt x="354" y="7987"/>
                  </a:cubicBezTo>
                  <a:lnTo>
                    <a:pt x="354" y="7650"/>
                  </a:lnTo>
                  <a:cubicBezTo>
                    <a:pt x="590" y="7313"/>
                    <a:pt x="590" y="6975"/>
                    <a:pt x="944" y="6975"/>
                  </a:cubicBezTo>
                  <a:lnTo>
                    <a:pt x="1652" y="6975"/>
                  </a:lnTo>
                  <a:cubicBezTo>
                    <a:pt x="2007" y="6975"/>
                    <a:pt x="2243" y="7313"/>
                    <a:pt x="2597" y="7650"/>
                  </a:cubicBezTo>
                  <a:lnTo>
                    <a:pt x="2951" y="7987"/>
                  </a:lnTo>
                  <a:cubicBezTo>
                    <a:pt x="3659" y="8550"/>
                    <a:pt x="4013" y="9900"/>
                    <a:pt x="4249" y="11137"/>
                  </a:cubicBezTo>
                  <a:cubicBezTo>
                    <a:pt x="4957" y="11475"/>
                    <a:pt x="5311" y="11812"/>
                    <a:pt x="5666" y="11812"/>
                  </a:cubicBezTo>
                  <a:cubicBezTo>
                    <a:pt x="5666" y="11475"/>
                    <a:pt x="5902" y="10800"/>
                    <a:pt x="5902" y="9900"/>
                  </a:cubicBezTo>
                  <a:lnTo>
                    <a:pt x="5902" y="6413"/>
                  </a:lnTo>
                  <a:lnTo>
                    <a:pt x="4603" y="4163"/>
                  </a:lnTo>
                  <a:cubicBezTo>
                    <a:pt x="4603" y="3150"/>
                    <a:pt x="4957" y="2250"/>
                    <a:pt x="5666" y="1350"/>
                  </a:cubicBezTo>
                  <a:cubicBezTo>
                    <a:pt x="5902" y="675"/>
                    <a:pt x="6610" y="338"/>
                    <a:pt x="7318" y="0"/>
                  </a:cubicBezTo>
                  <a:lnTo>
                    <a:pt x="8262" y="0"/>
                  </a:lnTo>
                  <a:cubicBezTo>
                    <a:pt x="9325" y="338"/>
                    <a:pt x="10269" y="1013"/>
                    <a:pt x="11921" y="1913"/>
                  </a:cubicBezTo>
                  <a:cubicBezTo>
                    <a:pt x="13574" y="2925"/>
                    <a:pt x="15344" y="3150"/>
                    <a:pt x="16997" y="3150"/>
                  </a:cubicBezTo>
                  <a:cubicBezTo>
                    <a:pt x="18649" y="3150"/>
                    <a:pt x="19593" y="2925"/>
                    <a:pt x="20302" y="2250"/>
                  </a:cubicBezTo>
                  <a:cubicBezTo>
                    <a:pt x="20892" y="1575"/>
                    <a:pt x="21246" y="1350"/>
                    <a:pt x="21246" y="1013"/>
                  </a:cubicBezTo>
                  <a:cubicBezTo>
                    <a:pt x="21600" y="1913"/>
                    <a:pt x="21600" y="2588"/>
                    <a:pt x="21600" y="3150"/>
                  </a:cubicBezTo>
                  <a:lnTo>
                    <a:pt x="21600" y="7650"/>
                  </a:lnTo>
                  <a:cubicBezTo>
                    <a:pt x="21600" y="11137"/>
                    <a:pt x="21246" y="13725"/>
                    <a:pt x="20656" y="15300"/>
                  </a:cubicBezTo>
                  <a:cubicBezTo>
                    <a:pt x="19948" y="16875"/>
                    <a:pt x="19239" y="18113"/>
                    <a:pt x="18649" y="18787"/>
                  </a:cubicBezTo>
                  <a:cubicBezTo>
                    <a:pt x="18649" y="19125"/>
                    <a:pt x="18295" y="19350"/>
                    <a:pt x="17941" y="19687"/>
                  </a:cubicBezTo>
                  <a:cubicBezTo>
                    <a:pt x="17941" y="20025"/>
                    <a:pt x="17587" y="20025"/>
                    <a:pt x="17233" y="20362"/>
                  </a:cubicBezTo>
                  <a:cubicBezTo>
                    <a:pt x="17233" y="20700"/>
                    <a:pt x="17233" y="20700"/>
                    <a:pt x="16997" y="20700"/>
                  </a:cubicBezTo>
                  <a:cubicBezTo>
                    <a:pt x="16643" y="20700"/>
                    <a:pt x="16643" y="20700"/>
                    <a:pt x="16289" y="21037"/>
                  </a:cubicBezTo>
                  <a:cubicBezTo>
                    <a:pt x="15934" y="21262"/>
                    <a:pt x="15934" y="21262"/>
                    <a:pt x="15580" y="21262"/>
                  </a:cubicBezTo>
                  <a:cubicBezTo>
                    <a:pt x="15344" y="21600"/>
                    <a:pt x="14636" y="21600"/>
                    <a:pt x="13928" y="21600"/>
                  </a:cubicBezTo>
                  <a:cubicBezTo>
                    <a:pt x="12984" y="21600"/>
                    <a:pt x="11921" y="21600"/>
                    <a:pt x="10977" y="21262"/>
                  </a:cubicBezTo>
                  <a:cubicBezTo>
                    <a:pt x="9679" y="21037"/>
                    <a:pt x="8262" y="20025"/>
                    <a:pt x="6964" y="18787"/>
                  </a:cubicBezTo>
                  <a:cubicBezTo>
                    <a:pt x="6256" y="17775"/>
                    <a:pt x="5311" y="16875"/>
                    <a:pt x="4603" y="15637"/>
                  </a:cubicBezTo>
                  <a:lnTo>
                    <a:pt x="3659" y="13725"/>
                  </a:lnTo>
                  <a:cubicBezTo>
                    <a:pt x="3659" y="13725"/>
                    <a:pt x="3659" y="13950"/>
                    <a:pt x="3305" y="13950"/>
                  </a:cubicBezTo>
                  <a:lnTo>
                    <a:pt x="2951" y="13950"/>
                  </a:lnTo>
                  <a:cubicBezTo>
                    <a:pt x="2243" y="13950"/>
                    <a:pt x="1652" y="13725"/>
                    <a:pt x="944" y="12375"/>
                  </a:cubicBezTo>
                  <a:cubicBezTo>
                    <a:pt x="590" y="11475"/>
                    <a:pt x="354" y="10800"/>
                    <a:pt x="0" y="990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2" name="Shape 1413"/>
            <p:cNvSpPr/>
            <p:nvPr/>
          </p:nvSpPr>
          <p:spPr>
            <a:xfrm>
              <a:off x="98702" y="458992"/>
              <a:ext cx="93449" cy="753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20" h="21600" extrusionOk="0">
                  <a:moveTo>
                    <a:pt x="4708" y="8956"/>
                  </a:moveTo>
                  <a:cubicBezTo>
                    <a:pt x="4070" y="10010"/>
                    <a:pt x="3751" y="10800"/>
                    <a:pt x="3751" y="12249"/>
                  </a:cubicBezTo>
                  <a:lnTo>
                    <a:pt x="5240" y="15278"/>
                  </a:lnTo>
                  <a:cubicBezTo>
                    <a:pt x="5240" y="15673"/>
                    <a:pt x="4389" y="20810"/>
                    <a:pt x="4389" y="21600"/>
                  </a:cubicBezTo>
                  <a:cubicBezTo>
                    <a:pt x="4070" y="21600"/>
                    <a:pt x="3751" y="21205"/>
                    <a:pt x="3219" y="20810"/>
                  </a:cubicBezTo>
                  <a:cubicBezTo>
                    <a:pt x="2899" y="19361"/>
                    <a:pt x="2580" y="17912"/>
                    <a:pt x="1942" y="17122"/>
                  </a:cubicBezTo>
                  <a:lnTo>
                    <a:pt x="1622" y="16727"/>
                  </a:lnTo>
                  <a:cubicBezTo>
                    <a:pt x="1410" y="16332"/>
                    <a:pt x="1090" y="16068"/>
                    <a:pt x="771" y="16068"/>
                  </a:cubicBezTo>
                  <a:lnTo>
                    <a:pt x="133" y="16068"/>
                  </a:lnTo>
                  <a:cubicBezTo>
                    <a:pt x="-80" y="13434"/>
                    <a:pt x="-80" y="11590"/>
                    <a:pt x="452" y="9746"/>
                  </a:cubicBezTo>
                  <a:cubicBezTo>
                    <a:pt x="1410" y="3820"/>
                    <a:pt x="4070" y="395"/>
                    <a:pt x="8326" y="0"/>
                  </a:cubicBezTo>
                  <a:cubicBezTo>
                    <a:pt x="13114" y="0"/>
                    <a:pt x="16093" y="1580"/>
                    <a:pt x="17583" y="4873"/>
                  </a:cubicBezTo>
                  <a:cubicBezTo>
                    <a:pt x="17902" y="5268"/>
                    <a:pt x="18753" y="6717"/>
                    <a:pt x="19073" y="7112"/>
                  </a:cubicBezTo>
                  <a:cubicBezTo>
                    <a:pt x="19392" y="7902"/>
                    <a:pt x="21201" y="7902"/>
                    <a:pt x="21520" y="8561"/>
                  </a:cubicBezTo>
                  <a:cubicBezTo>
                    <a:pt x="21520" y="8956"/>
                    <a:pt x="21094" y="9220"/>
                    <a:pt x="20562" y="10010"/>
                  </a:cubicBezTo>
                  <a:cubicBezTo>
                    <a:pt x="19924" y="10668"/>
                    <a:pt x="19073" y="12249"/>
                    <a:pt x="17583" y="12249"/>
                  </a:cubicBezTo>
                  <a:cubicBezTo>
                    <a:pt x="16093" y="12249"/>
                    <a:pt x="11837" y="11590"/>
                    <a:pt x="10348" y="10800"/>
                  </a:cubicBezTo>
                  <a:cubicBezTo>
                    <a:pt x="8858" y="9746"/>
                    <a:pt x="8007" y="8166"/>
                    <a:pt x="7049" y="7507"/>
                  </a:cubicBezTo>
                  <a:lnTo>
                    <a:pt x="6198" y="7507"/>
                  </a:lnTo>
                  <a:cubicBezTo>
                    <a:pt x="5879" y="7507"/>
                    <a:pt x="5240" y="7902"/>
                    <a:pt x="4708" y="8956"/>
                  </a:cubicBezTo>
                </a:path>
              </a:pathLst>
            </a:custGeom>
            <a:solidFill>
              <a:srgbClr val="DECB2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3" name="Shape 1414"/>
            <p:cNvSpPr/>
            <p:nvPr/>
          </p:nvSpPr>
          <p:spPr>
            <a:xfrm>
              <a:off x="380900" y="643409"/>
              <a:ext cx="16393" cy="1019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788" y="0"/>
                  </a:moveTo>
                  <a:cubicBezTo>
                    <a:pt x="17788" y="297"/>
                    <a:pt x="17788" y="594"/>
                    <a:pt x="21600" y="594"/>
                  </a:cubicBezTo>
                  <a:cubicBezTo>
                    <a:pt x="21600" y="1090"/>
                    <a:pt x="17788" y="1387"/>
                    <a:pt x="17788" y="1684"/>
                  </a:cubicBezTo>
                  <a:lnTo>
                    <a:pt x="17788" y="0"/>
                  </a:lnTo>
                  <a:close/>
                  <a:moveTo>
                    <a:pt x="17788" y="15952"/>
                  </a:moveTo>
                  <a:lnTo>
                    <a:pt x="17788" y="16547"/>
                  </a:lnTo>
                  <a:cubicBezTo>
                    <a:pt x="17788" y="16844"/>
                    <a:pt x="17788" y="17042"/>
                    <a:pt x="13976" y="17637"/>
                  </a:cubicBezTo>
                  <a:lnTo>
                    <a:pt x="13976" y="18231"/>
                  </a:lnTo>
                  <a:cubicBezTo>
                    <a:pt x="10165" y="18429"/>
                    <a:pt x="10165" y="19024"/>
                    <a:pt x="10165" y="19321"/>
                  </a:cubicBezTo>
                  <a:lnTo>
                    <a:pt x="10165" y="19916"/>
                  </a:lnTo>
                  <a:lnTo>
                    <a:pt x="0" y="21600"/>
                  </a:lnTo>
                  <a:lnTo>
                    <a:pt x="0" y="5648"/>
                  </a:lnTo>
                  <a:lnTo>
                    <a:pt x="10165" y="3963"/>
                  </a:lnTo>
                  <a:cubicBezTo>
                    <a:pt x="10165" y="3666"/>
                    <a:pt x="10165" y="3666"/>
                    <a:pt x="13976" y="3369"/>
                  </a:cubicBezTo>
                  <a:cubicBezTo>
                    <a:pt x="17788" y="3072"/>
                    <a:pt x="17788" y="2576"/>
                    <a:pt x="17788" y="2279"/>
                  </a:cubicBezTo>
                  <a:lnTo>
                    <a:pt x="17788" y="15952"/>
                  </a:lnTo>
                  <a:close/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4" name="Shape 1415"/>
            <p:cNvSpPr/>
            <p:nvPr/>
          </p:nvSpPr>
          <p:spPr>
            <a:xfrm>
              <a:off x="870857" y="711029"/>
              <a:ext cx="38475" cy="958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6567"/>
                  </a:lnTo>
                  <a:lnTo>
                    <a:pt x="0" y="21600"/>
                  </a:lnTo>
                  <a:lnTo>
                    <a:pt x="0" y="5033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5" name="Shape 1416"/>
            <p:cNvSpPr/>
            <p:nvPr/>
          </p:nvSpPr>
          <p:spPr>
            <a:xfrm>
              <a:off x="116797" y="702833"/>
              <a:ext cx="128628" cy="1245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7979"/>
                  </a:moveTo>
                  <a:lnTo>
                    <a:pt x="21600" y="20955"/>
                  </a:lnTo>
                  <a:lnTo>
                    <a:pt x="21366" y="20955"/>
                  </a:lnTo>
                  <a:cubicBezTo>
                    <a:pt x="20430" y="21116"/>
                    <a:pt x="19339" y="21116"/>
                    <a:pt x="18481" y="21358"/>
                  </a:cubicBezTo>
                  <a:lnTo>
                    <a:pt x="17389" y="21358"/>
                  </a:lnTo>
                  <a:cubicBezTo>
                    <a:pt x="16921" y="21358"/>
                    <a:pt x="16531" y="21600"/>
                    <a:pt x="16064" y="21600"/>
                  </a:cubicBezTo>
                  <a:lnTo>
                    <a:pt x="13412" y="21600"/>
                  </a:lnTo>
                  <a:cubicBezTo>
                    <a:pt x="12788" y="21600"/>
                    <a:pt x="12321" y="21600"/>
                    <a:pt x="11853" y="21358"/>
                  </a:cubicBezTo>
                  <a:lnTo>
                    <a:pt x="11697" y="21358"/>
                  </a:lnTo>
                  <a:cubicBezTo>
                    <a:pt x="11229" y="21358"/>
                    <a:pt x="10527" y="21116"/>
                    <a:pt x="10137" y="21116"/>
                  </a:cubicBezTo>
                  <a:lnTo>
                    <a:pt x="9279" y="21116"/>
                  </a:lnTo>
                  <a:cubicBezTo>
                    <a:pt x="9045" y="21116"/>
                    <a:pt x="8812" y="21116"/>
                    <a:pt x="8578" y="20955"/>
                  </a:cubicBezTo>
                  <a:cubicBezTo>
                    <a:pt x="8344" y="20955"/>
                    <a:pt x="7954" y="20713"/>
                    <a:pt x="7720" y="20713"/>
                  </a:cubicBezTo>
                  <a:cubicBezTo>
                    <a:pt x="7486" y="20713"/>
                    <a:pt x="7486" y="20713"/>
                    <a:pt x="7252" y="20472"/>
                  </a:cubicBezTo>
                  <a:lnTo>
                    <a:pt x="7018" y="20472"/>
                  </a:lnTo>
                  <a:cubicBezTo>
                    <a:pt x="6394" y="20230"/>
                    <a:pt x="5926" y="19988"/>
                    <a:pt x="5536" y="19988"/>
                  </a:cubicBezTo>
                  <a:cubicBezTo>
                    <a:pt x="4835" y="19827"/>
                    <a:pt x="4367" y="19585"/>
                    <a:pt x="3743" y="19101"/>
                  </a:cubicBezTo>
                  <a:cubicBezTo>
                    <a:pt x="1092" y="17490"/>
                    <a:pt x="0" y="15475"/>
                    <a:pt x="0" y="12976"/>
                  </a:cubicBezTo>
                  <a:lnTo>
                    <a:pt x="0" y="0"/>
                  </a:lnTo>
                  <a:cubicBezTo>
                    <a:pt x="0" y="2499"/>
                    <a:pt x="1326" y="4513"/>
                    <a:pt x="3743" y="6125"/>
                  </a:cubicBezTo>
                  <a:cubicBezTo>
                    <a:pt x="4211" y="6367"/>
                    <a:pt x="4835" y="6851"/>
                    <a:pt x="5536" y="7093"/>
                  </a:cubicBezTo>
                  <a:cubicBezTo>
                    <a:pt x="6160" y="7254"/>
                    <a:pt x="6628" y="7496"/>
                    <a:pt x="7252" y="7737"/>
                  </a:cubicBezTo>
                  <a:cubicBezTo>
                    <a:pt x="7486" y="7737"/>
                    <a:pt x="7486" y="7737"/>
                    <a:pt x="7720" y="7979"/>
                  </a:cubicBezTo>
                  <a:cubicBezTo>
                    <a:pt x="8110" y="8221"/>
                    <a:pt x="8578" y="8221"/>
                    <a:pt x="9279" y="8382"/>
                  </a:cubicBezTo>
                  <a:lnTo>
                    <a:pt x="9669" y="8382"/>
                  </a:lnTo>
                  <a:cubicBezTo>
                    <a:pt x="10371" y="8624"/>
                    <a:pt x="10995" y="8624"/>
                    <a:pt x="11697" y="8624"/>
                  </a:cubicBezTo>
                  <a:cubicBezTo>
                    <a:pt x="11697" y="8624"/>
                    <a:pt x="11697" y="8624"/>
                    <a:pt x="11853" y="8624"/>
                  </a:cubicBezTo>
                  <a:lnTo>
                    <a:pt x="16064" y="8624"/>
                  </a:lnTo>
                  <a:cubicBezTo>
                    <a:pt x="16531" y="8624"/>
                    <a:pt x="16921" y="8624"/>
                    <a:pt x="17389" y="8382"/>
                  </a:cubicBezTo>
                  <a:cubicBezTo>
                    <a:pt x="17857" y="8382"/>
                    <a:pt x="18013" y="8382"/>
                    <a:pt x="18481" y="8221"/>
                  </a:cubicBezTo>
                  <a:cubicBezTo>
                    <a:pt x="19339" y="7979"/>
                    <a:pt x="20274" y="7979"/>
                    <a:pt x="21366" y="7737"/>
                  </a:cubicBezTo>
                  <a:cubicBezTo>
                    <a:pt x="21366" y="7737"/>
                    <a:pt x="21600" y="7737"/>
                    <a:pt x="21600" y="7979"/>
                  </a:cubicBezTo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6" name="Shape 1417"/>
            <p:cNvSpPr/>
            <p:nvPr/>
          </p:nvSpPr>
          <p:spPr>
            <a:xfrm>
              <a:off x="245888" y="747912"/>
              <a:ext cx="38476" cy="958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985"/>
                  </a:moveTo>
                  <a:lnTo>
                    <a:pt x="21600" y="21600"/>
                  </a:lnTo>
                  <a:lnTo>
                    <a:pt x="0" y="16719"/>
                  </a:lnTo>
                  <a:lnTo>
                    <a:pt x="0" y="0"/>
                  </a:lnTo>
                  <a:lnTo>
                    <a:pt x="21600" y="4985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7" name="Shape 1418"/>
            <p:cNvSpPr/>
            <p:nvPr/>
          </p:nvSpPr>
          <p:spPr>
            <a:xfrm>
              <a:off x="747912" y="727421"/>
              <a:ext cx="128627" cy="12248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713" y="14727"/>
                  </a:moveTo>
                  <a:cubicBezTo>
                    <a:pt x="5478" y="14727"/>
                    <a:pt x="5243" y="14973"/>
                    <a:pt x="5243" y="14973"/>
                  </a:cubicBezTo>
                  <a:cubicBezTo>
                    <a:pt x="4852" y="15218"/>
                    <a:pt x="4148" y="15464"/>
                    <a:pt x="3757" y="15709"/>
                  </a:cubicBezTo>
                  <a:cubicBezTo>
                    <a:pt x="3052" y="16118"/>
                    <a:pt x="2661" y="16609"/>
                    <a:pt x="2191" y="16855"/>
                  </a:cubicBezTo>
                  <a:cubicBezTo>
                    <a:pt x="1722" y="17264"/>
                    <a:pt x="1330" y="17755"/>
                    <a:pt x="1096" y="18245"/>
                  </a:cubicBezTo>
                  <a:cubicBezTo>
                    <a:pt x="1096" y="18491"/>
                    <a:pt x="1096" y="18491"/>
                    <a:pt x="861" y="18491"/>
                  </a:cubicBezTo>
                  <a:cubicBezTo>
                    <a:pt x="626" y="18818"/>
                    <a:pt x="391" y="19309"/>
                    <a:pt x="157" y="19800"/>
                  </a:cubicBezTo>
                  <a:lnTo>
                    <a:pt x="157" y="19964"/>
                  </a:lnTo>
                  <a:cubicBezTo>
                    <a:pt x="0" y="20455"/>
                    <a:pt x="0" y="21109"/>
                    <a:pt x="0" y="21600"/>
                  </a:cubicBezTo>
                  <a:lnTo>
                    <a:pt x="0" y="8264"/>
                  </a:lnTo>
                  <a:cubicBezTo>
                    <a:pt x="0" y="7855"/>
                    <a:pt x="0" y="7609"/>
                    <a:pt x="157" y="7118"/>
                  </a:cubicBezTo>
                  <a:cubicBezTo>
                    <a:pt x="157" y="6873"/>
                    <a:pt x="157" y="6873"/>
                    <a:pt x="391" y="6709"/>
                  </a:cubicBezTo>
                  <a:lnTo>
                    <a:pt x="391" y="6464"/>
                  </a:lnTo>
                  <a:cubicBezTo>
                    <a:pt x="391" y="6464"/>
                    <a:pt x="391" y="6218"/>
                    <a:pt x="626" y="6218"/>
                  </a:cubicBezTo>
                  <a:cubicBezTo>
                    <a:pt x="861" y="5973"/>
                    <a:pt x="861" y="5564"/>
                    <a:pt x="1096" y="5318"/>
                  </a:cubicBezTo>
                  <a:cubicBezTo>
                    <a:pt x="1096" y="5318"/>
                    <a:pt x="1096" y="5073"/>
                    <a:pt x="1330" y="5073"/>
                  </a:cubicBezTo>
                  <a:cubicBezTo>
                    <a:pt x="1330" y="4827"/>
                    <a:pt x="1330" y="4827"/>
                    <a:pt x="1487" y="4827"/>
                  </a:cubicBezTo>
                  <a:cubicBezTo>
                    <a:pt x="1722" y="4582"/>
                    <a:pt x="1722" y="4582"/>
                    <a:pt x="1722" y="4336"/>
                  </a:cubicBezTo>
                  <a:cubicBezTo>
                    <a:pt x="1957" y="4173"/>
                    <a:pt x="2191" y="3682"/>
                    <a:pt x="2661" y="3436"/>
                  </a:cubicBezTo>
                  <a:cubicBezTo>
                    <a:pt x="3052" y="3027"/>
                    <a:pt x="3522" y="2782"/>
                    <a:pt x="4148" y="2291"/>
                  </a:cubicBezTo>
                  <a:lnTo>
                    <a:pt x="4383" y="2291"/>
                  </a:lnTo>
                  <a:cubicBezTo>
                    <a:pt x="4852" y="2045"/>
                    <a:pt x="5243" y="1800"/>
                    <a:pt x="5948" y="1636"/>
                  </a:cubicBezTo>
                  <a:cubicBezTo>
                    <a:pt x="6183" y="1636"/>
                    <a:pt x="6417" y="1391"/>
                    <a:pt x="6417" y="1391"/>
                  </a:cubicBezTo>
                  <a:cubicBezTo>
                    <a:pt x="6574" y="1145"/>
                    <a:pt x="6809" y="1145"/>
                    <a:pt x="7043" y="1145"/>
                  </a:cubicBezTo>
                  <a:lnTo>
                    <a:pt x="7513" y="1145"/>
                  </a:lnTo>
                  <a:cubicBezTo>
                    <a:pt x="8139" y="900"/>
                    <a:pt x="8609" y="655"/>
                    <a:pt x="9235" y="655"/>
                  </a:cubicBezTo>
                  <a:cubicBezTo>
                    <a:pt x="9470" y="655"/>
                    <a:pt x="9470" y="409"/>
                    <a:pt x="9704" y="409"/>
                  </a:cubicBezTo>
                  <a:lnTo>
                    <a:pt x="9939" y="409"/>
                  </a:lnTo>
                  <a:cubicBezTo>
                    <a:pt x="10096" y="409"/>
                    <a:pt x="10330" y="409"/>
                    <a:pt x="10565" y="245"/>
                  </a:cubicBezTo>
                  <a:cubicBezTo>
                    <a:pt x="11035" y="245"/>
                    <a:pt x="11270" y="0"/>
                    <a:pt x="11661" y="0"/>
                  </a:cubicBezTo>
                  <a:lnTo>
                    <a:pt x="17452" y="0"/>
                  </a:lnTo>
                  <a:cubicBezTo>
                    <a:pt x="17609" y="0"/>
                    <a:pt x="18078" y="0"/>
                    <a:pt x="18313" y="245"/>
                  </a:cubicBezTo>
                  <a:cubicBezTo>
                    <a:pt x="18783" y="245"/>
                    <a:pt x="18939" y="245"/>
                    <a:pt x="19409" y="409"/>
                  </a:cubicBezTo>
                  <a:lnTo>
                    <a:pt x="19878" y="409"/>
                  </a:lnTo>
                  <a:cubicBezTo>
                    <a:pt x="20504" y="409"/>
                    <a:pt x="20974" y="655"/>
                    <a:pt x="21600" y="655"/>
                  </a:cubicBezTo>
                  <a:lnTo>
                    <a:pt x="21600" y="13827"/>
                  </a:lnTo>
                  <a:cubicBezTo>
                    <a:pt x="20974" y="13582"/>
                    <a:pt x="20270" y="13582"/>
                    <a:pt x="19409" y="13418"/>
                  </a:cubicBezTo>
                  <a:cubicBezTo>
                    <a:pt x="18939" y="13418"/>
                    <a:pt x="18783" y="13418"/>
                    <a:pt x="18313" y="13173"/>
                  </a:cubicBezTo>
                  <a:cubicBezTo>
                    <a:pt x="17843" y="13173"/>
                    <a:pt x="17452" y="13173"/>
                    <a:pt x="16983" y="12927"/>
                  </a:cubicBezTo>
                  <a:lnTo>
                    <a:pt x="11896" y="12927"/>
                  </a:lnTo>
                  <a:cubicBezTo>
                    <a:pt x="11426" y="12927"/>
                    <a:pt x="11035" y="13173"/>
                    <a:pt x="10565" y="13173"/>
                  </a:cubicBezTo>
                  <a:cubicBezTo>
                    <a:pt x="10330" y="13173"/>
                    <a:pt x="10096" y="13173"/>
                    <a:pt x="9939" y="13418"/>
                  </a:cubicBezTo>
                  <a:cubicBezTo>
                    <a:pt x="9704" y="13418"/>
                    <a:pt x="9470" y="13418"/>
                    <a:pt x="9235" y="13582"/>
                  </a:cubicBezTo>
                  <a:cubicBezTo>
                    <a:pt x="8609" y="13827"/>
                    <a:pt x="8139" y="13827"/>
                    <a:pt x="7513" y="14073"/>
                  </a:cubicBezTo>
                  <a:cubicBezTo>
                    <a:pt x="6417" y="14564"/>
                    <a:pt x="5948" y="14727"/>
                    <a:pt x="5713" y="14727"/>
                  </a:cubicBez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8" name="Shape 1419"/>
            <p:cNvSpPr/>
            <p:nvPr/>
          </p:nvSpPr>
          <p:spPr>
            <a:xfrm>
              <a:off x="1006915" y="813482"/>
              <a:ext cx="16394" cy="999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350"/>
                  </a:moveTo>
                  <a:lnTo>
                    <a:pt x="21600" y="21600"/>
                  </a:lnTo>
                  <a:cubicBezTo>
                    <a:pt x="21600" y="20692"/>
                    <a:pt x="21600" y="19884"/>
                    <a:pt x="16971" y="18976"/>
                  </a:cubicBezTo>
                  <a:cubicBezTo>
                    <a:pt x="12343" y="18168"/>
                    <a:pt x="7714" y="17260"/>
                    <a:pt x="0" y="16150"/>
                  </a:cubicBezTo>
                  <a:lnTo>
                    <a:pt x="0" y="0"/>
                  </a:lnTo>
                  <a:cubicBezTo>
                    <a:pt x="12343" y="2019"/>
                    <a:pt x="21600" y="3735"/>
                    <a:pt x="21600" y="5350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9" name="Shape 1420"/>
            <p:cNvSpPr/>
            <p:nvPr/>
          </p:nvSpPr>
          <p:spPr>
            <a:xfrm>
              <a:off x="356539" y="958967"/>
              <a:ext cx="267966" cy="1839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2851"/>
                  </a:moveTo>
                  <a:lnTo>
                    <a:pt x="21600" y="21600"/>
                  </a:lnTo>
                  <a:cubicBezTo>
                    <a:pt x="21600" y="18866"/>
                    <a:pt x="19918" y="15585"/>
                    <a:pt x="16667" y="12851"/>
                  </a:cubicBezTo>
                  <a:cubicBezTo>
                    <a:pt x="16219" y="12523"/>
                    <a:pt x="15920" y="12194"/>
                    <a:pt x="15509" y="11921"/>
                  </a:cubicBezTo>
                  <a:cubicBezTo>
                    <a:pt x="15397" y="11757"/>
                    <a:pt x="15284" y="11757"/>
                    <a:pt x="15172" y="11593"/>
                  </a:cubicBezTo>
                  <a:cubicBezTo>
                    <a:pt x="14873" y="11265"/>
                    <a:pt x="14537" y="11155"/>
                    <a:pt x="14238" y="10991"/>
                  </a:cubicBezTo>
                  <a:cubicBezTo>
                    <a:pt x="14126" y="10991"/>
                    <a:pt x="14014" y="10827"/>
                    <a:pt x="13902" y="10827"/>
                  </a:cubicBezTo>
                  <a:lnTo>
                    <a:pt x="11996" y="9898"/>
                  </a:lnTo>
                  <a:cubicBezTo>
                    <a:pt x="11921" y="9898"/>
                    <a:pt x="11921" y="9898"/>
                    <a:pt x="11809" y="9734"/>
                  </a:cubicBezTo>
                  <a:cubicBezTo>
                    <a:pt x="11361" y="9570"/>
                    <a:pt x="10837" y="9406"/>
                    <a:pt x="10426" y="9296"/>
                  </a:cubicBezTo>
                  <a:cubicBezTo>
                    <a:pt x="10314" y="9296"/>
                    <a:pt x="10202" y="9132"/>
                    <a:pt x="10127" y="9132"/>
                  </a:cubicBezTo>
                  <a:cubicBezTo>
                    <a:pt x="9791" y="8968"/>
                    <a:pt x="9567" y="8968"/>
                    <a:pt x="9268" y="8968"/>
                  </a:cubicBezTo>
                  <a:cubicBezTo>
                    <a:pt x="9156" y="8968"/>
                    <a:pt x="8969" y="8968"/>
                    <a:pt x="8857" y="8804"/>
                  </a:cubicBezTo>
                  <a:cubicBezTo>
                    <a:pt x="8633" y="8804"/>
                    <a:pt x="8408" y="8640"/>
                    <a:pt x="8221" y="8640"/>
                  </a:cubicBezTo>
                  <a:cubicBezTo>
                    <a:pt x="7997" y="8640"/>
                    <a:pt x="7885" y="8531"/>
                    <a:pt x="7773" y="8531"/>
                  </a:cubicBezTo>
                  <a:lnTo>
                    <a:pt x="5381" y="8531"/>
                  </a:lnTo>
                  <a:cubicBezTo>
                    <a:pt x="5157" y="8531"/>
                    <a:pt x="5045" y="8531"/>
                    <a:pt x="4933" y="8640"/>
                  </a:cubicBezTo>
                  <a:cubicBezTo>
                    <a:pt x="4821" y="8804"/>
                    <a:pt x="4634" y="8804"/>
                    <a:pt x="4410" y="8804"/>
                  </a:cubicBezTo>
                  <a:cubicBezTo>
                    <a:pt x="4298" y="8804"/>
                    <a:pt x="4111" y="8804"/>
                    <a:pt x="3999" y="8968"/>
                  </a:cubicBezTo>
                  <a:cubicBezTo>
                    <a:pt x="3588" y="9132"/>
                    <a:pt x="3251" y="9296"/>
                    <a:pt x="2952" y="9406"/>
                  </a:cubicBezTo>
                  <a:cubicBezTo>
                    <a:pt x="2728" y="9570"/>
                    <a:pt x="2616" y="9570"/>
                    <a:pt x="2504" y="9734"/>
                  </a:cubicBezTo>
                  <a:cubicBezTo>
                    <a:pt x="2429" y="9734"/>
                    <a:pt x="2317" y="9898"/>
                    <a:pt x="2317" y="9898"/>
                  </a:cubicBezTo>
                  <a:lnTo>
                    <a:pt x="1682" y="10335"/>
                  </a:lnTo>
                  <a:lnTo>
                    <a:pt x="1570" y="10499"/>
                  </a:lnTo>
                  <a:cubicBezTo>
                    <a:pt x="1345" y="10827"/>
                    <a:pt x="1046" y="10991"/>
                    <a:pt x="934" y="11265"/>
                  </a:cubicBezTo>
                  <a:lnTo>
                    <a:pt x="635" y="11757"/>
                  </a:lnTo>
                  <a:cubicBezTo>
                    <a:pt x="523" y="11757"/>
                    <a:pt x="523" y="11921"/>
                    <a:pt x="523" y="11921"/>
                  </a:cubicBezTo>
                  <a:cubicBezTo>
                    <a:pt x="523" y="12030"/>
                    <a:pt x="411" y="12030"/>
                    <a:pt x="411" y="12194"/>
                  </a:cubicBezTo>
                  <a:cubicBezTo>
                    <a:pt x="411" y="12358"/>
                    <a:pt x="299" y="12358"/>
                    <a:pt x="299" y="12523"/>
                  </a:cubicBezTo>
                  <a:cubicBezTo>
                    <a:pt x="187" y="12687"/>
                    <a:pt x="187" y="12687"/>
                    <a:pt x="187" y="12851"/>
                  </a:cubicBezTo>
                  <a:cubicBezTo>
                    <a:pt x="187" y="12960"/>
                    <a:pt x="187" y="12960"/>
                    <a:pt x="75" y="13124"/>
                  </a:cubicBezTo>
                  <a:cubicBezTo>
                    <a:pt x="75" y="13288"/>
                    <a:pt x="0" y="13452"/>
                    <a:pt x="0" y="13452"/>
                  </a:cubicBezTo>
                  <a:lnTo>
                    <a:pt x="0" y="4648"/>
                  </a:lnTo>
                  <a:cubicBezTo>
                    <a:pt x="0" y="4484"/>
                    <a:pt x="75" y="4320"/>
                    <a:pt x="75" y="4320"/>
                  </a:cubicBezTo>
                  <a:lnTo>
                    <a:pt x="75" y="4047"/>
                  </a:lnTo>
                  <a:cubicBezTo>
                    <a:pt x="75" y="3883"/>
                    <a:pt x="187" y="3883"/>
                    <a:pt x="187" y="3718"/>
                  </a:cubicBezTo>
                  <a:cubicBezTo>
                    <a:pt x="187" y="3718"/>
                    <a:pt x="187" y="3554"/>
                    <a:pt x="299" y="3554"/>
                  </a:cubicBezTo>
                  <a:lnTo>
                    <a:pt x="299" y="3390"/>
                  </a:lnTo>
                  <a:cubicBezTo>
                    <a:pt x="299" y="3281"/>
                    <a:pt x="411" y="3281"/>
                    <a:pt x="411" y="3117"/>
                  </a:cubicBezTo>
                  <a:lnTo>
                    <a:pt x="523" y="2953"/>
                  </a:lnTo>
                  <a:lnTo>
                    <a:pt x="822" y="2461"/>
                  </a:lnTo>
                  <a:cubicBezTo>
                    <a:pt x="1046" y="2187"/>
                    <a:pt x="1271" y="2023"/>
                    <a:pt x="1457" y="1695"/>
                  </a:cubicBezTo>
                  <a:lnTo>
                    <a:pt x="1570" y="1695"/>
                  </a:lnTo>
                  <a:cubicBezTo>
                    <a:pt x="1570" y="1695"/>
                    <a:pt x="1682" y="1695"/>
                    <a:pt x="1682" y="1586"/>
                  </a:cubicBezTo>
                  <a:lnTo>
                    <a:pt x="2317" y="1094"/>
                  </a:lnTo>
                  <a:cubicBezTo>
                    <a:pt x="2429" y="1094"/>
                    <a:pt x="2504" y="930"/>
                    <a:pt x="2504" y="930"/>
                  </a:cubicBezTo>
                  <a:cubicBezTo>
                    <a:pt x="2616" y="766"/>
                    <a:pt x="2840" y="766"/>
                    <a:pt x="2952" y="656"/>
                  </a:cubicBezTo>
                  <a:lnTo>
                    <a:pt x="3027" y="656"/>
                  </a:lnTo>
                  <a:cubicBezTo>
                    <a:pt x="3363" y="492"/>
                    <a:pt x="3774" y="328"/>
                    <a:pt x="4111" y="164"/>
                  </a:cubicBezTo>
                  <a:lnTo>
                    <a:pt x="4522" y="164"/>
                  </a:lnTo>
                  <a:cubicBezTo>
                    <a:pt x="4746" y="164"/>
                    <a:pt x="4821" y="0"/>
                    <a:pt x="5045" y="0"/>
                  </a:cubicBezTo>
                  <a:lnTo>
                    <a:pt x="8520" y="0"/>
                  </a:lnTo>
                  <a:cubicBezTo>
                    <a:pt x="8745" y="0"/>
                    <a:pt x="8969" y="164"/>
                    <a:pt x="9156" y="164"/>
                  </a:cubicBezTo>
                  <a:lnTo>
                    <a:pt x="9567" y="164"/>
                  </a:lnTo>
                  <a:cubicBezTo>
                    <a:pt x="9903" y="164"/>
                    <a:pt x="10127" y="328"/>
                    <a:pt x="10426" y="328"/>
                  </a:cubicBezTo>
                  <a:cubicBezTo>
                    <a:pt x="10538" y="328"/>
                    <a:pt x="10651" y="328"/>
                    <a:pt x="10763" y="492"/>
                  </a:cubicBezTo>
                  <a:lnTo>
                    <a:pt x="10837" y="492"/>
                  </a:lnTo>
                  <a:cubicBezTo>
                    <a:pt x="11286" y="656"/>
                    <a:pt x="11809" y="766"/>
                    <a:pt x="12220" y="930"/>
                  </a:cubicBezTo>
                  <a:lnTo>
                    <a:pt x="12332" y="930"/>
                  </a:lnTo>
                  <a:cubicBezTo>
                    <a:pt x="12444" y="930"/>
                    <a:pt x="12444" y="1094"/>
                    <a:pt x="12444" y="1094"/>
                  </a:cubicBezTo>
                  <a:lnTo>
                    <a:pt x="14313" y="2023"/>
                  </a:lnTo>
                  <a:lnTo>
                    <a:pt x="14425" y="2023"/>
                  </a:lnTo>
                  <a:cubicBezTo>
                    <a:pt x="14537" y="2023"/>
                    <a:pt x="14537" y="2187"/>
                    <a:pt x="14649" y="2187"/>
                  </a:cubicBezTo>
                  <a:cubicBezTo>
                    <a:pt x="14948" y="2351"/>
                    <a:pt x="15284" y="2625"/>
                    <a:pt x="15583" y="2789"/>
                  </a:cubicBezTo>
                  <a:cubicBezTo>
                    <a:pt x="15696" y="2953"/>
                    <a:pt x="15808" y="2953"/>
                    <a:pt x="15920" y="3117"/>
                  </a:cubicBezTo>
                  <a:cubicBezTo>
                    <a:pt x="16331" y="3390"/>
                    <a:pt x="16742" y="3718"/>
                    <a:pt x="17078" y="4047"/>
                  </a:cubicBezTo>
                  <a:cubicBezTo>
                    <a:pt x="19918" y="6671"/>
                    <a:pt x="21600" y="9898"/>
                    <a:pt x="21600" y="12851"/>
                  </a:cubicBez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0" name="Shape 1421"/>
            <p:cNvSpPr/>
            <p:nvPr/>
          </p:nvSpPr>
          <p:spPr>
            <a:xfrm>
              <a:off x="321704" y="1028636"/>
              <a:ext cx="40506" cy="97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6639"/>
                  </a:lnTo>
                  <a:lnTo>
                    <a:pt x="0" y="21600"/>
                  </a:lnTo>
                  <a:lnTo>
                    <a:pt x="0" y="4961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1" name="Shape 1422"/>
            <p:cNvSpPr/>
            <p:nvPr/>
          </p:nvSpPr>
          <p:spPr>
            <a:xfrm>
              <a:off x="59423" y="901593"/>
              <a:ext cx="261818" cy="2249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4444"/>
                  </a:moveTo>
                  <a:lnTo>
                    <a:pt x="21600" y="21600"/>
                  </a:lnTo>
                  <a:lnTo>
                    <a:pt x="0" y="7156"/>
                  </a:lnTo>
                  <a:lnTo>
                    <a:pt x="0" y="0"/>
                  </a:lnTo>
                  <a:lnTo>
                    <a:pt x="21600" y="14444"/>
                  </a:ln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2" name="Shape 1423"/>
            <p:cNvSpPr/>
            <p:nvPr/>
          </p:nvSpPr>
          <p:spPr>
            <a:xfrm>
              <a:off x="1086010" y="942574"/>
              <a:ext cx="224935" cy="2064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7850"/>
                  </a:lnTo>
                  <a:lnTo>
                    <a:pt x="0" y="21600"/>
                  </a:lnTo>
                  <a:lnTo>
                    <a:pt x="0" y="13750"/>
                  </a:lnTo>
                  <a:lnTo>
                    <a:pt x="21600" y="0"/>
                  </a:lnTo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3" name="Shape 1424"/>
            <p:cNvSpPr/>
            <p:nvPr/>
          </p:nvSpPr>
          <p:spPr>
            <a:xfrm>
              <a:off x="948721" y="1153629"/>
              <a:ext cx="40506" cy="97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271"/>
                  </a:moveTo>
                  <a:lnTo>
                    <a:pt x="21600" y="21600"/>
                  </a:lnTo>
                  <a:lnTo>
                    <a:pt x="0" y="16639"/>
                  </a:lnTo>
                  <a:lnTo>
                    <a:pt x="0" y="0"/>
                  </a:lnTo>
                  <a:lnTo>
                    <a:pt x="21600" y="5271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4" name="Shape 1425"/>
            <p:cNvSpPr/>
            <p:nvPr/>
          </p:nvSpPr>
          <p:spPr>
            <a:xfrm>
              <a:off x="979458" y="1139285"/>
              <a:ext cx="271717" cy="183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2" h="21600" extrusionOk="0">
                  <a:moveTo>
                    <a:pt x="21490" y="0"/>
                  </a:moveTo>
                  <a:cubicBezTo>
                    <a:pt x="21600" y="271"/>
                    <a:pt x="21600" y="597"/>
                    <a:pt x="21490" y="1357"/>
                  </a:cubicBezTo>
                  <a:lnTo>
                    <a:pt x="21490" y="0"/>
                  </a:lnTo>
                  <a:close/>
                  <a:moveTo>
                    <a:pt x="21490" y="8738"/>
                  </a:moveTo>
                  <a:lnTo>
                    <a:pt x="21490" y="8846"/>
                  </a:lnTo>
                  <a:cubicBezTo>
                    <a:pt x="21490" y="9172"/>
                    <a:pt x="21490" y="9497"/>
                    <a:pt x="21416" y="9660"/>
                  </a:cubicBezTo>
                  <a:cubicBezTo>
                    <a:pt x="21416" y="9769"/>
                    <a:pt x="21416" y="9769"/>
                    <a:pt x="21306" y="9932"/>
                  </a:cubicBezTo>
                  <a:cubicBezTo>
                    <a:pt x="21195" y="10257"/>
                    <a:pt x="21195" y="10420"/>
                    <a:pt x="21195" y="10529"/>
                  </a:cubicBezTo>
                  <a:lnTo>
                    <a:pt x="21195" y="10691"/>
                  </a:lnTo>
                  <a:cubicBezTo>
                    <a:pt x="21085" y="10854"/>
                    <a:pt x="21085" y="11017"/>
                    <a:pt x="20974" y="11180"/>
                  </a:cubicBezTo>
                  <a:cubicBezTo>
                    <a:pt x="20864" y="11343"/>
                    <a:pt x="20864" y="11451"/>
                    <a:pt x="20864" y="11614"/>
                  </a:cubicBezTo>
                  <a:cubicBezTo>
                    <a:pt x="20864" y="11614"/>
                    <a:pt x="20864" y="11777"/>
                    <a:pt x="20790" y="11777"/>
                  </a:cubicBezTo>
                  <a:cubicBezTo>
                    <a:pt x="20680" y="12103"/>
                    <a:pt x="20459" y="12374"/>
                    <a:pt x="20349" y="12699"/>
                  </a:cubicBezTo>
                  <a:cubicBezTo>
                    <a:pt x="20349" y="12862"/>
                    <a:pt x="20275" y="12862"/>
                    <a:pt x="20275" y="13025"/>
                  </a:cubicBezTo>
                  <a:lnTo>
                    <a:pt x="20165" y="13134"/>
                  </a:lnTo>
                  <a:cubicBezTo>
                    <a:pt x="19944" y="13459"/>
                    <a:pt x="19834" y="13785"/>
                    <a:pt x="19650" y="13948"/>
                  </a:cubicBezTo>
                  <a:lnTo>
                    <a:pt x="19429" y="14219"/>
                  </a:lnTo>
                  <a:lnTo>
                    <a:pt x="19208" y="14545"/>
                  </a:lnTo>
                  <a:lnTo>
                    <a:pt x="19024" y="14870"/>
                  </a:lnTo>
                  <a:cubicBezTo>
                    <a:pt x="18803" y="15142"/>
                    <a:pt x="18583" y="15305"/>
                    <a:pt x="18399" y="15630"/>
                  </a:cubicBezTo>
                  <a:cubicBezTo>
                    <a:pt x="18288" y="15739"/>
                    <a:pt x="18067" y="15902"/>
                    <a:pt x="17957" y="16064"/>
                  </a:cubicBezTo>
                  <a:cubicBezTo>
                    <a:pt x="17663" y="16390"/>
                    <a:pt x="17442" y="16553"/>
                    <a:pt x="17148" y="16824"/>
                  </a:cubicBezTo>
                  <a:cubicBezTo>
                    <a:pt x="17037" y="16987"/>
                    <a:pt x="16927" y="16987"/>
                    <a:pt x="16816" y="17150"/>
                  </a:cubicBezTo>
                  <a:cubicBezTo>
                    <a:pt x="16743" y="17313"/>
                    <a:pt x="16632" y="17313"/>
                    <a:pt x="16632" y="17421"/>
                  </a:cubicBezTo>
                  <a:cubicBezTo>
                    <a:pt x="16007" y="18072"/>
                    <a:pt x="15381" y="18507"/>
                    <a:pt x="14645" y="18832"/>
                  </a:cubicBezTo>
                  <a:lnTo>
                    <a:pt x="14535" y="18832"/>
                  </a:lnTo>
                  <a:cubicBezTo>
                    <a:pt x="13909" y="19266"/>
                    <a:pt x="13210" y="19592"/>
                    <a:pt x="12585" y="19918"/>
                  </a:cubicBezTo>
                  <a:cubicBezTo>
                    <a:pt x="12474" y="19918"/>
                    <a:pt x="12474" y="19918"/>
                    <a:pt x="12364" y="20026"/>
                  </a:cubicBezTo>
                  <a:cubicBezTo>
                    <a:pt x="12070" y="20189"/>
                    <a:pt x="11628" y="20352"/>
                    <a:pt x="11334" y="20515"/>
                  </a:cubicBezTo>
                  <a:cubicBezTo>
                    <a:pt x="11223" y="20677"/>
                    <a:pt x="11113" y="20677"/>
                    <a:pt x="10929" y="20677"/>
                  </a:cubicBezTo>
                  <a:cubicBezTo>
                    <a:pt x="10598" y="20840"/>
                    <a:pt x="10303" y="20949"/>
                    <a:pt x="9972" y="20949"/>
                  </a:cubicBezTo>
                  <a:cubicBezTo>
                    <a:pt x="9862" y="20949"/>
                    <a:pt x="9751" y="20949"/>
                    <a:pt x="9751" y="21112"/>
                  </a:cubicBezTo>
                  <a:lnTo>
                    <a:pt x="9678" y="21112"/>
                  </a:lnTo>
                  <a:cubicBezTo>
                    <a:pt x="9236" y="21274"/>
                    <a:pt x="8721" y="21274"/>
                    <a:pt x="8316" y="21437"/>
                  </a:cubicBezTo>
                  <a:lnTo>
                    <a:pt x="7911" y="21437"/>
                  </a:lnTo>
                  <a:cubicBezTo>
                    <a:pt x="7691" y="21437"/>
                    <a:pt x="7470" y="21600"/>
                    <a:pt x="7175" y="21600"/>
                  </a:cubicBezTo>
                  <a:lnTo>
                    <a:pt x="5299" y="21600"/>
                  </a:lnTo>
                  <a:cubicBezTo>
                    <a:pt x="5188" y="21600"/>
                    <a:pt x="5078" y="21600"/>
                    <a:pt x="4894" y="21437"/>
                  </a:cubicBezTo>
                  <a:lnTo>
                    <a:pt x="4563" y="21437"/>
                  </a:lnTo>
                  <a:cubicBezTo>
                    <a:pt x="4379" y="21437"/>
                    <a:pt x="4158" y="21274"/>
                    <a:pt x="3937" y="21274"/>
                  </a:cubicBezTo>
                  <a:lnTo>
                    <a:pt x="3864" y="21274"/>
                  </a:lnTo>
                  <a:cubicBezTo>
                    <a:pt x="3643" y="21274"/>
                    <a:pt x="3422" y="21112"/>
                    <a:pt x="3312" y="21112"/>
                  </a:cubicBezTo>
                  <a:lnTo>
                    <a:pt x="3238" y="21112"/>
                  </a:lnTo>
                  <a:cubicBezTo>
                    <a:pt x="3128" y="21112"/>
                    <a:pt x="3017" y="20949"/>
                    <a:pt x="2907" y="20949"/>
                  </a:cubicBezTo>
                  <a:cubicBezTo>
                    <a:pt x="2797" y="20949"/>
                    <a:pt x="2723" y="20840"/>
                    <a:pt x="2613" y="20840"/>
                  </a:cubicBezTo>
                  <a:lnTo>
                    <a:pt x="2502" y="20840"/>
                  </a:lnTo>
                  <a:cubicBezTo>
                    <a:pt x="2171" y="20677"/>
                    <a:pt x="1987" y="20515"/>
                    <a:pt x="1766" y="20352"/>
                  </a:cubicBezTo>
                  <a:cubicBezTo>
                    <a:pt x="515" y="19266"/>
                    <a:pt x="0" y="17910"/>
                    <a:pt x="0" y="16227"/>
                  </a:cubicBezTo>
                  <a:lnTo>
                    <a:pt x="0" y="7489"/>
                  </a:lnTo>
                  <a:cubicBezTo>
                    <a:pt x="0" y="9172"/>
                    <a:pt x="626" y="10529"/>
                    <a:pt x="1766" y="11614"/>
                  </a:cubicBezTo>
                  <a:cubicBezTo>
                    <a:pt x="1987" y="11777"/>
                    <a:pt x="2281" y="11940"/>
                    <a:pt x="2502" y="12103"/>
                  </a:cubicBezTo>
                  <a:cubicBezTo>
                    <a:pt x="2613" y="12265"/>
                    <a:pt x="2723" y="12265"/>
                    <a:pt x="2907" y="12265"/>
                  </a:cubicBezTo>
                  <a:cubicBezTo>
                    <a:pt x="3017" y="12265"/>
                    <a:pt x="3128" y="12374"/>
                    <a:pt x="3238" y="12374"/>
                  </a:cubicBezTo>
                  <a:cubicBezTo>
                    <a:pt x="3422" y="12537"/>
                    <a:pt x="3643" y="12537"/>
                    <a:pt x="3864" y="12699"/>
                  </a:cubicBezTo>
                  <a:lnTo>
                    <a:pt x="3937" y="12699"/>
                  </a:lnTo>
                  <a:cubicBezTo>
                    <a:pt x="4158" y="12862"/>
                    <a:pt x="4489" y="12862"/>
                    <a:pt x="4673" y="12862"/>
                  </a:cubicBezTo>
                  <a:lnTo>
                    <a:pt x="4894" y="12862"/>
                  </a:lnTo>
                  <a:cubicBezTo>
                    <a:pt x="5078" y="12862"/>
                    <a:pt x="5299" y="13025"/>
                    <a:pt x="5409" y="13025"/>
                  </a:cubicBezTo>
                  <a:lnTo>
                    <a:pt x="7065" y="13025"/>
                  </a:lnTo>
                  <a:cubicBezTo>
                    <a:pt x="7286" y="13025"/>
                    <a:pt x="7470" y="13025"/>
                    <a:pt x="7801" y="12862"/>
                  </a:cubicBezTo>
                  <a:lnTo>
                    <a:pt x="8206" y="12862"/>
                  </a:lnTo>
                  <a:cubicBezTo>
                    <a:pt x="8611" y="12699"/>
                    <a:pt x="9163" y="12699"/>
                    <a:pt x="9567" y="12537"/>
                  </a:cubicBezTo>
                  <a:cubicBezTo>
                    <a:pt x="9678" y="12537"/>
                    <a:pt x="9751" y="12537"/>
                    <a:pt x="9862" y="12374"/>
                  </a:cubicBezTo>
                  <a:cubicBezTo>
                    <a:pt x="10193" y="12265"/>
                    <a:pt x="10487" y="12265"/>
                    <a:pt x="10818" y="12103"/>
                  </a:cubicBezTo>
                  <a:cubicBezTo>
                    <a:pt x="10929" y="11940"/>
                    <a:pt x="11002" y="11940"/>
                    <a:pt x="11223" y="11940"/>
                  </a:cubicBezTo>
                  <a:cubicBezTo>
                    <a:pt x="11518" y="11777"/>
                    <a:pt x="11959" y="11614"/>
                    <a:pt x="12253" y="11451"/>
                  </a:cubicBezTo>
                  <a:cubicBezTo>
                    <a:pt x="12364" y="11451"/>
                    <a:pt x="12364" y="11451"/>
                    <a:pt x="12474" y="11343"/>
                  </a:cubicBezTo>
                  <a:cubicBezTo>
                    <a:pt x="13100" y="11017"/>
                    <a:pt x="13836" y="10691"/>
                    <a:pt x="14425" y="10257"/>
                  </a:cubicBezTo>
                  <a:lnTo>
                    <a:pt x="14535" y="10257"/>
                  </a:lnTo>
                  <a:cubicBezTo>
                    <a:pt x="15160" y="9769"/>
                    <a:pt x="15896" y="9335"/>
                    <a:pt x="16522" y="8846"/>
                  </a:cubicBezTo>
                  <a:cubicBezTo>
                    <a:pt x="16743" y="8738"/>
                    <a:pt x="16816" y="8575"/>
                    <a:pt x="17037" y="8412"/>
                  </a:cubicBezTo>
                  <a:cubicBezTo>
                    <a:pt x="17332" y="8086"/>
                    <a:pt x="17552" y="7978"/>
                    <a:pt x="17883" y="7652"/>
                  </a:cubicBezTo>
                  <a:cubicBezTo>
                    <a:pt x="17957" y="7489"/>
                    <a:pt x="18178" y="7327"/>
                    <a:pt x="18288" y="7164"/>
                  </a:cubicBezTo>
                  <a:cubicBezTo>
                    <a:pt x="18509" y="6892"/>
                    <a:pt x="18693" y="6730"/>
                    <a:pt x="18914" y="6404"/>
                  </a:cubicBezTo>
                  <a:cubicBezTo>
                    <a:pt x="19024" y="6241"/>
                    <a:pt x="19208" y="6133"/>
                    <a:pt x="19319" y="5970"/>
                  </a:cubicBezTo>
                  <a:lnTo>
                    <a:pt x="19539" y="5644"/>
                  </a:lnTo>
                  <a:cubicBezTo>
                    <a:pt x="19723" y="5373"/>
                    <a:pt x="19834" y="5047"/>
                    <a:pt x="20055" y="4884"/>
                  </a:cubicBezTo>
                  <a:cubicBezTo>
                    <a:pt x="20165" y="4884"/>
                    <a:pt x="20165" y="4722"/>
                    <a:pt x="20165" y="4722"/>
                  </a:cubicBezTo>
                  <a:lnTo>
                    <a:pt x="20349" y="4450"/>
                  </a:lnTo>
                  <a:cubicBezTo>
                    <a:pt x="20459" y="4125"/>
                    <a:pt x="20680" y="3799"/>
                    <a:pt x="20790" y="3528"/>
                  </a:cubicBezTo>
                  <a:cubicBezTo>
                    <a:pt x="20864" y="3365"/>
                    <a:pt x="20864" y="3202"/>
                    <a:pt x="20974" y="2876"/>
                  </a:cubicBezTo>
                  <a:cubicBezTo>
                    <a:pt x="21085" y="2768"/>
                    <a:pt x="21085" y="2605"/>
                    <a:pt x="21195" y="2442"/>
                  </a:cubicBezTo>
                  <a:cubicBezTo>
                    <a:pt x="21306" y="2117"/>
                    <a:pt x="21306" y="1954"/>
                    <a:pt x="21416" y="1682"/>
                  </a:cubicBezTo>
                  <a:cubicBezTo>
                    <a:pt x="21416" y="1520"/>
                    <a:pt x="21490" y="1520"/>
                    <a:pt x="21490" y="1357"/>
                  </a:cubicBezTo>
                  <a:lnTo>
                    <a:pt x="21490" y="8738"/>
                  </a:lnTo>
                  <a:close/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5" name="Shape 1426"/>
            <p:cNvSpPr/>
            <p:nvPr/>
          </p:nvSpPr>
          <p:spPr>
            <a:xfrm>
              <a:off x="723323" y="1153629"/>
              <a:ext cx="224936" cy="2064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7850"/>
                  </a:lnTo>
                  <a:lnTo>
                    <a:pt x="0" y="21600"/>
                  </a:lnTo>
                  <a:lnTo>
                    <a:pt x="0" y="13750"/>
                  </a:lnTo>
                  <a:lnTo>
                    <a:pt x="21600" y="0"/>
                  </a:lnTo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6" name="Shape 1427"/>
            <p:cNvSpPr/>
            <p:nvPr/>
          </p:nvSpPr>
          <p:spPr>
            <a:xfrm>
              <a:off x="461042" y="1133138"/>
              <a:ext cx="261819" cy="2249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4430"/>
                  </a:moveTo>
                  <a:lnTo>
                    <a:pt x="21600" y="21600"/>
                  </a:lnTo>
                  <a:lnTo>
                    <a:pt x="0" y="7037"/>
                  </a:lnTo>
                  <a:lnTo>
                    <a:pt x="115" y="0"/>
                  </a:lnTo>
                  <a:lnTo>
                    <a:pt x="21600" y="14430"/>
                  </a:ln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7" name="Shape 1428"/>
            <p:cNvSpPr/>
            <p:nvPr/>
          </p:nvSpPr>
          <p:spPr>
            <a:xfrm>
              <a:off x="57374" y="559397"/>
              <a:ext cx="1251521" cy="7249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24" y="19457"/>
                  </a:moveTo>
                  <a:cubicBezTo>
                    <a:pt x="18458" y="20508"/>
                    <a:pt x="17007" y="20826"/>
                    <a:pt x="16286" y="20120"/>
                  </a:cubicBezTo>
                  <a:cubicBezTo>
                    <a:pt x="15877" y="19692"/>
                    <a:pt x="15789" y="19069"/>
                    <a:pt x="16014" y="18364"/>
                  </a:cubicBezTo>
                  <a:lnTo>
                    <a:pt x="15332" y="17700"/>
                  </a:lnTo>
                  <a:lnTo>
                    <a:pt x="11445" y="21600"/>
                  </a:lnTo>
                  <a:lnTo>
                    <a:pt x="6925" y="17106"/>
                  </a:lnTo>
                  <a:lnTo>
                    <a:pt x="7574" y="16456"/>
                  </a:lnTo>
                  <a:cubicBezTo>
                    <a:pt x="8279" y="16677"/>
                    <a:pt x="8937" y="16608"/>
                    <a:pt x="9345" y="16179"/>
                  </a:cubicBezTo>
                  <a:cubicBezTo>
                    <a:pt x="10067" y="15474"/>
                    <a:pt x="9746" y="13994"/>
                    <a:pt x="8688" y="12943"/>
                  </a:cubicBezTo>
                  <a:cubicBezTo>
                    <a:pt x="7598" y="11879"/>
                    <a:pt x="6155" y="11574"/>
                    <a:pt x="5450" y="12280"/>
                  </a:cubicBezTo>
                  <a:cubicBezTo>
                    <a:pt x="5041" y="12708"/>
                    <a:pt x="4977" y="13372"/>
                    <a:pt x="5178" y="14036"/>
                  </a:cubicBezTo>
                  <a:lnTo>
                    <a:pt x="4520" y="14700"/>
                  </a:lnTo>
                  <a:lnTo>
                    <a:pt x="0" y="10205"/>
                  </a:lnTo>
                  <a:lnTo>
                    <a:pt x="3887" y="6320"/>
                  </a:lnTo>
                  <a:lnTo>
                    <a:pt x="3214" y="5656"/>
                  </a:lnTo>
                  <a:cubicBezTo>
                    <a:pt x="2509" y="5891"/>
                    <a:pt x="1851" y="5808"/>
                    <a:pt x="1451" y="5379"/>
                  </a:cubicBezTo>
                  <a:cubicBezTo>
                    <a:pt x="721" y="4674"/>
                    <a:pt x="1018" y="3194"/>
                    <a:pt x="2084" y="2143"/>
                  </a:cubicBezTo>
                  <a:cubicBezTo>
                    <a:pt x="3142" y="1092"/>
                    <a:pt x="4593" y="774"/>
                    <a:pt x="5314" y="1480"/>
                  </a:cubicBezTo>
                  <a:cubicBezTo>
                    <a:pt x="5723" y="1908"/>
                    <a:pt x="5811" y="2572"/>
                    <a:pt x="5586" y="3236"/>
                  </a:cubicBezTo>
                  <a:lnTo>
                    <a:pt x="6268" y="3900"/>
                  </a:lnTo>
                  <a:lnTo>
                    <a:pt x="10155" y="0"/>
                  </a:lnTo>
                  <a:lnTo>
                    <a:pt x="14683" y="4480"/>
                  </a:lnTo>
                  <a:lnTo>
                    <a:pt x="14026" y="5144"/>
                  </a:lnTo>
                  <a:cubicBezTo>
                    <a:pt x="13321" y="4909"/>
                    <a:pt x="12663" y="4992"/>
                    <a:pt x="12263" y="5421"/>
                  </a:cubicBezTo>
                  <a:cubicBezTo>
                    <a:pt x="11557" y="6126"/>
                    <a:pt x="11854" y="7606"/>
                    <a:pt x="12912" y="8643"/>
                  </a:cubicBezTo>
                  <a:cubicBezTo>
                    <a:pt x="14002" y="9694"/>
                    <a:pt x="15453" y="10012"/>
                    <a:pt x="16150" y="9307"/>
                  </a:cubicBezTo>
                  <a:cubicBezTo>
                    <a:pt x="16559" y="8878"/>
                    <a:pt x="16623" y="8256"/>
                    <a:pt x="16422" y="7564"/>
                  </a:cubicBezTo>
                  <a:lnTo>
                    <a:pt x="17080" y="6900"/>
                  </a:lnTo>
                  <a:lnTo>
                    <a:pt x="21600" y="11381"/>
                  </a:lnTo>
                  <a:lnTo>
                    <a:pt x="17713" y="15280"/>
                  </a:lnTo>
                  <a:lnTo>
                    <a:pt x="18386" y="15944"/>
                  </a:lnTo>
                  <a:cubicBezTo>
                    <a:pt x="19091" y="15709"/>
                    <a:pt x="19749" y="15792"/>
                    <a:pt x="20157" y="16221"/>
                  </a:cubicBezTo>
                  <a:cubicBezTo>
                    <a:pt x="20903" y="16912"/>
                    <a:pt x="20606" y="18406"/>
                    <a:pt x="19524" y="19457"/>
                  </a:cubicBezTo>
                </a:path>
              </a:pathLst>
            </a:custGeom>
            <a:solidFill>
              <a:srgbClr val="FAFFE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8" name="Shape 1429"/>
            <p:cNvSpPr/>
            <p:nvPr/>
          </p:nvSpPr>
          <p:spPr>
            <a:xfrm>
              <a:off x="1309359" y="1565493"/>
              <a:ext cx="34364" cy="487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8514"/>
                  </a:moveTo>
                  <a:lnTo>
                    <a:pt x="0" y="15634"/>
                  </a:lnTo>
                  <a:cubicBezTo>
                    <a:pt x="0" y="15634"/>
                    <a:pt x="5918" y="12754"/>
                    <a:pt x="5030" y="6994"/>
                  </a:cubicBezTo>
                  <a:cubicBezTo>
                    <a:pt x="5030" y="1234"/>
                    <a:pt x="11540" y="0"/>
                    <a:pt x="11540" y="0"/>
                  </a:cubicBezTo>
                  <a:lnTo>
                    <a:pt x="16570" y="2263"/>
                  </a:lnTo>
                  <a:lnTo>
                    <a:pt x="21600" y="11726"/>
                  </a:lnTo>
                  <a:lnTo>
                    <a:pt x="8581" y="21600"/>
                  </a:lnTo>
                  <a:lnTo>
                    <a:pt x="0" y="18514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9" name="Shape 1430"/>
            <p:cNvSpPr/>
            <p:nvPr/>
          </p:nvSpPr>
          <p:spPr>
            <a:xfrm>
              <a:off x="1298343" y="1561395"/>
              <a:ext cx="63828" cy="610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76" h="21600" extrusionOk="0">
                  <a:moveTo>
                    <a:pt x="9913" y="4710"/>
                  </a:moveTo>
                  <a:cubicBezTo>
                    <a:pt x="9450" y="974"/>
                    <a:pt x="13307" y="0"/>
                    <a:pt x="13307" y="0"/>
                  </a:cubicBezTo>
                  <a:cubicBezTo>
                    <a:pt x="13307" y="0"/>
                    <a:pt x="17319" y="2111"/>
                    <a:pt x="18553" y="5197"/>
                  </a:cubicBezTo>
                  <a:cubicBezTo>
                    <a:pt x="19942" y="8445"/>
                    <a:pt x="19942" y="11044"/>
                    <a:pt x="21176" y="12830"/>
                  </a:cubicBezTo>
                  <a:lnTo>
                    <a:pt x="17627" y="15266"/>
                  </a:lnTo>
                  <a:lnTo>
                    <a:pt x="15467" y="13805"/>
                  </a:lnTo>
                  <a:cubicBezTo>
                    <a:pt x="15467" y="13805"/>
                    <a:pt x="15467" y="15591"/>
                    <a:pt x="13770" y="17540"/>
                  </a:cubicBezTo>
                  <a:cubicBezTo>
                    <a:pt x="12073" y="19326"/>
                    <a:pt x="3896" y="21600"/>
                    <a:pt x="3896" y="21600"/>
                  </a:cubicBezTo>
                  <a:cubicBezTo>
                    <a:pt x="3896" y="21600"/>
                    <a:pt x="502" y="21113"/>
                    <a:pt x="39" y="18839"/>
                  </a:cubicBezTo>
                  <a:cubicBezTo>
                    <a:pt x="-424" y="16078"/>
                    <a:pt x="3433" y="13317"/>
                    <a:pt x="3433" y="13317"/>
                  </a:cubicBezTo>
                  <a:cubicBezTo>
                    <a:pt x="3433" y="13317"/>
                    <a:pt x="5285" y="16078"/>
                    <a:pt x="7445" y="14292"/>
                  </a:cubicBezTo>
                  <a:cubicBezTo>
                    <a:pt x="8987" y="12830"/>
                    <a:pt x="10685" y="7795"/>
                    <a:pt x="9913" y="4710"/>
                  </a:cubicBezTo>
                </a:path>
              </a:pathLst>
            </a:custGeom>
            <a:solidFill>
              <a:srgbClr val="6F7C76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0" name="Shape 1431"/>
            <p:cNvSpPr/>
            <p:nvPr/>
          </p:nvSpPr>
          <p:spPr>
            <a:xfrm>
              <a:off x="1139285" y="1609980"/>
              <a:ext cx="42564" cy="390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9821" extrusionOk="0">
                  <a:moveTo>
                    <a:pt x="0" y="13175"/>
                  </a:moveTo>
                  <a:lnTo>
                    <a:pt x="2136" y="10326"/>
                  </a:lnTo>
                  <a:cubicBezTo>
                    <a:pt x="2136" y="10326"/>
                    <a:pt x="7596" y="10326"/>
                    <a:pt x="10919" y="4392"/>
                  </a:cubicBezTo>
                  <a:cubicBezTo>
                    <a:pt x="14242" y="-1779"/>
                    <a:pt x="19464" y="357"/>
                    <a:pt x="19464" y="357"/>
                  </a:cubicBezTo>
                  <a:lnTo>
                    <a:pt x="21600" y="5105"/>
                  </a:lnTo>
                  <a:lnTo>
                    <a:pt x="18989" y="16498"/>
                  </a:lnTo>
                  <a:lnTo>
                    <a:pt x="4035" y="19821"/>
                  </a:lnTo>
                  <a:lnTo>
                    <a:pt x="0" y="13175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1" name="Shape 1432"/>
            <p:cNvSpPr/>
            <p:nvPr/>
          </p:nvSpPr>
          <p:spPr>
            <a:xfrm>
              <a:off x="1127130" y="1615586"/>
              <a:ext cx="69245" cy="443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04" h="19663" extrusionOk="0">
                  <a:moveTo>
                    <a:pt x="14120" y="2632"/>
                  </a:moveTo>
                  <a:cubicBezTo>
                    <a:pt x="14803" y="-1314"/>
                    <a:pt x="18768" y="348"/>
                    <a:pt x="18768" y="348"/>
                  </a:cubicBezTo>
                  <a:cubicBezTo>
                    <a:pt x="18768" y="348"/>
                    <a:pt x="20955" y="5748"/>
                    <a:pt x="20271" y="9694"/>
                  </a:cubicBezTo>
                  <a:cubicBezTo>
                    <a:pt x="19451" y="13848"/>
                    <a:pt x="17947" y="16755"/>
                    <a:pt x="18358" y="19663"/>
                  </a:cubicBezTo>
                  <a:lnTo>
                    <a:pt x="14803" y="19663"/>
                  </a:lnTo>
                  <a:lnTo>
                    <a:pt x="14120" y="16755"/>
                  </a:lnTo>
                  <a:cubicBezTo>
                    <a:pt x="14120" y="16755"/>
                    <a:pt x="13299" y="18001"/>
                    <a:pt x="10975" y="19040"/>
                  </a:cubicBezTo>
                  <a:cubicBezTo>
                    <a:pt x="8651" y="20286"/>
                    <a:pt x="1679" y="16132"/>
                    <a:pt x="1679" y="16132"/>
                  </a:cubicBezTo>
                  <a:cubicBezTo>
                    <a:pt x="1679" y="16132"/>
                    <a:pt x="-645" y="12601"/>
                    <a:pt x="175" y="9694"/>
                  </a:cubicBezTo>
                  <a:cubicBezTo>
                    <a:pt x="996" y="6786"/>
                    <a:pt x="5233" y="6786"/>
                    <a:pt x="5233" y="6786"/>
                  </a:cubicBezTo>
                  <a:cubicBezTo>
                    <a:pt x="5233" y="6786"/>
                    <a:pt x="5233" y="10940"/>
                    <a:pt x="7558" y="10940"/>
                  </a:cubicBezTo>
                  <a:cubicBezTo>
                    <a:pt x="9882" y="10940"/>
                    <a:pt x="12889" y="6786"/>
                    <a:pt x="14120" y="2632"/>
                  </a:cubicBezTo>
                </a:path>
              </a:pathLst>
            </a:custGeom>
            <a:solidFill>
              <a:srgbClr val="6F7C76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2" name="Shape 1433"/>
            <p:cNvSpPr/>
            <p:nvPr/>
          </p:nvSpPr>
          <p:spPr>
            <a:xfrm>
              <a:off x="1234429" y="1333948"/>
              <a:ext cx="113397" cy="2513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90" h="21064" extrusionOk="0">
                  <a:moveTo>
                    <a:pt x="2321" y="2098"/>
                  </a:moveTo>
                  <a:lnTo>
                    <a:pt x="10740" y="0"/>
                  </a:lnTo>
                  <a:cubicBezTo>
                    <a:pt x="10740" y="0"/>
                    <a:pt x="14567" y="2331"/>
                    <a:pt x="12101" y="4196"/>
                  </a:cubicBezTo>
                  <a:cubicBezTo>
                    <a:pt x="9975" y="5711"/>
                    <a:pt x="10230" y="8896"/>
                    <a:pt x="10230" y="9557"/>
                  </a:cubicBezTo>
                  <a:cubicBezTo>
                    <a:pt x="10230" y="9557"/>
                    <a:pt x="11676" y="10528"/>
                    <a:pt x="12866" y="11732"/>
                  </a:cubicBezTo>
                  <a:cubicBezTo>
                    <a:pt x="14057" y="12937"/>
                    <a:pt x="19244" y="18647"/>
                    <a:pt x="20690" y="19424"/>
                  </a:cubicBezTo>
                  <a:cubicBezTo>
                    <a:pt x="20690" y="19424"/>
                    <a:pt x="17373" y="21600"/>
                    <a:pt x="14567" y="20940"/>
                  </a:cubicBezTo>
                  <a:cubicBezTo>
                    <a:pt x="14567" y="20940"/>
                    <a:pt x="3427" y="12859"/>
                    <a:pt x="1301" y="11965"/>
                  </a:cubicBezTo>
                  <a:cubicBezTo>
                    <a:pt x="-910" y="11072"/>
                    <a:pt x="366" y="4740"/>
                    <a:pt x="366" y="4740"/>
                  </a:cubicBezTo>
                  <a:lnTo>
                    <a:pt x="2321" y="2098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3" name="Shape 1434"/>
            <p:cNvSpPr/>
            <p:nvPr/>
          </p:nvSpPr>
          <p:spPr>
            <a:xfrm>
              <a:off x="1158191" y="1350197"/>
              <a:ext cx="105562" cy="2719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951" h="19936" extrusionOk="0">
                  <a:moveTo>
                    <a:pt x="19369" y="563"/>
                  </a:moveTo>
                  <a:cubicBezTo>
                    <a:pt x="21125" y="2604"/>
                    <a:pt x="18579" y="4611"/>
                    <a:pt x="16120" y="5189"/>
                  </a:cubicBezTo>
                  <a:cubicBezTo>
                    <a:pt x="13662" y="5767"/>
                    <a:pt x="8920" y="9407"/>
                    <a:pt x="8920" y="9407"/>
                  </a:cubicBezTo>
                  <a:cubicBezTo>
                    <a:pt x="9974" y="11414"/>
                    <a:pt x="7954" y="16210"/>
                    <a:pt x="6988" y="17469"/>
                  </a:cubicBezTo>
                  <a:cubicBezTo>
                    <a:pt x="6023" y="18795"/>
                    <a:pt x="6725" y="19782"/>
                    <a:pt x="6725" y="19782"/>
                  </a:cubicBezTo>
                  <a:cubicBezTo>
                    <a:pt x="4003" y="20258"/>
                    <a:pt x="52" y="19476"/>
                    <a:pt x="52" y="19476"/>
                  </a:cubicBezTo>
                  <a:cubicBezTo>
                    <a:pt x="52" y="19476"/>
                    <a:pt x="315" y="16108"/>
                    <a:pt x="315" y="13931"/>
                  </a:cubicBezTo>
                  <a:cubicBezTo>
                    <a:pt x="491" y="11618"/>
                    <a:pt x="-475" y="9611"/>
                    <a:pt x="315" y="8046"/>
                  </a:cubicBezTo>
                  <a:cubicBezTo>
                    <a:pt x="1018" y="6618"/>
                    <a:pt x="6198" y="2196"/>
                    <a:pt x="6198" y="2196"/>
                  </a:cubicBezTo>
                  <a:cubicBezTo>
                    <a:pt x="6198" y="2196"/>
                    <a:pt x="17613" y="-1342"/>
                    <a:pt x="19369" y="563"/>
                  </a:cubicBezTo>
                </a:path>
              </a:pathLst>
            </a:custGeom>
            <a:solidFill>
              <a:srgbClr val="52858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4" name="Shape 1435"/>
            <p:cNvSpPr/>
            <p:nvPr/>
          </p:nvSpPr>
          <p:spPr>
            <a:xfrm>
              <a:off x="1233543" y="1180267"/>
              <a:ext cx="26172" cy="220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6300"/>
                  </a:moveTo>
                  <a:lnTo>
                    <a:pt x="18514" y="0"/>
                  </a:lnTo>
                  <a:lnTo>
                    <a:pt x="21600" y="16650"/>
                  </a:lnTo>
                  <a:lnTo>
                    <a:pt x="1157" y="21600"/>
                  </a:lnTo>
                  <a:lnTo>
                    <a:pt x="0" y="6300"/>
                  </a:lnTo>
                </a:path>
              </a:pathLst>
            </a:custGeom>
            <a:solidFill>
              <a:srgbClr val="FFFF7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5" name="Shape 1436"/>
            <p:cNvSpPr/>
            <p:nvPr/>
          </p:nvSpPr>
          <p:spPr>
            <a:xfrm>
              <a:off x="1192848" y="1194611"/>
              <a:ext cx="114000" cy="1942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46" h="19922" extrusionOk="0">
                  <a:moveTo>
                    <a:pt x="17871" y="10800"/>
                  </a:moveTo>
                  <a:cubicBezTo>
                    <a:pt x="17871" y="12425"/>
                    <a:pt x="20446" y="16726"/>
                    <a:pt x="20446" y="16726"/>
                  </a:cubicBezTo>
                  <a:cubicBezTo>
                    <a:pt x="15295" y="21600"/>
                    <a:pt x="923" y="19450"/>
                    <a:pt x="923" y="19450"/>
                  </a:cubicBezTo>
                  <a:cubicBezTo>
                    <a:pt x="923" y="19450"/>
                    <a:pt x="-1154" y="19688"/>
                    <a:pt x="923" y="17825"/>
                  </a:cubicBezTo>
                  <a:cubicBezTo>
                    <a:pt x="3083" y="16057"/>
                    <a:pt x="4911" y="11612"/>
                    <a:pt x="2834" y="7168"/>
                  </a:cubicBezTo>
                  <a:cubicBezTo>
                    <a:pt x="923" y="2724"/>
                    <a:pt x="923" y="4444"/>
                    <a:pt x="2335" y="2963"/>
                  </a:cubicBezTo>
                  <a:cubicBezTo>
                    <a:pt x="3581" y="1768"/>
                    <a:pt x="7569" y="0"/>
                    <a:pt x="11474" y="0"/>
                  </a:cubicBezTo>
                  <a:cubicBezTo>
                    <a:pt x="15711" y="0"/>
                    <a:pt x="18120" y="1912"/>
                    <a:pt x="18120" y="1912"/>
                  </a:cubicBezTo>
                  <a:cubicBezTo>
                    <a:pt x="18286" y="3393"/>
                    <a:pt x="17871" y="9175"/>
                    <a:pt x="17871" y="10800"/>
                  </a:cubicBezTo>
                </a:path>
              </a:pathLst>
            </a:custGeom>
            <a:solidFill>
              <a:srgbClr val="699A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6" name="Shape 1437"/>
            <p:cNvSpPr/>
            <p:nvPr/>
          </p:nvSpPr>
          <p:spPr>
            <a:xfrm>
              <a:off x="1115176" y="1212667"/>
              <a:ext cx="124217" cy="1147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15" h="19577" extrusionOk="0">
                  <a:moveTo>
                    <a:pt x="20021" y="5570"/>
                  </a:moveTo>
                  <a:cubicBezTo>
                    <a:pt x="18960" y="10034"/>
                    <a:pt x="17217" y="10512"/>
                    <a:pt x="16383" y="12026"/>
                  </a:cubicBezTo>
                  <a:cubicBezTo>
                    <a:pt x="13428" y="16968"/>
                    <a:pt x="11457" y="18562"/>
                    <a:pt x="5091" y="19518"/>
                  </a:cubicBezTo>
                  <a:cubicBezTo>
                    <a:pt x="2287" y="19917"/>
                    <a:pt x="-745" y="18163"/>
                    <a:pt x="164" y="17924"/>
                  </a:cubicBezTo>
                  <a:cubicBezTo>
                    <a:pt x="4863" y="16569"/>
                    <a:pt x="9790" y="13142"/>
                    <a:pt x="10396" y="10910"/>
                  </a:cubicBezTo>
                  <a:cubicBezTo>
                    <a:pt x="10623" y="10512"/>
                    <a:pt x="11912" y="8041"/>
                    <a:pt x="12367" y="7085"/>
                  </a:cubicBezTo>
                  <a:cubicBezTo>
                    <a:pt x="13200" y="5092"/>
                    <a:pt x="14489" y="-1683"/>
                    <a:pt x="18733" y="389"/>
                  </a:cubicBezTo>
                  <a:cubicBezTo>
                    <a:pt x="18733" y="389"/>
                    <a:pt x="20855" y="1505"/>
                    <a:pt x="20021" y="557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7" name="Shape 1438"/>
            <p:cNvSpPr/>
            <p:nvPr/>
          </p:nvSpPr>
          <p:spPr>
            <a:xfrm>
              <a:off x="1213717" y="1141334"/>
              <a:ext cx="45366" cy="552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860" h="19572" extrusionOk="0">
                  <a:moveTo>
                    <a:pt x="12202" y="0"/>
                  </a:moveTo>
                  <a:lnTo>
                    <a:pt x="17829" y="8182"/>
                  </a:lnTo>
                  <a:cubicBezTo>
                    <a:pt x="17829" y="8182"/>
                    <a:pt x="18918" y="21600"/>
                    <a:pt x="8209" y="19309"/>
                  </a:cubicBezTo>
                  <a:cubicBezTo>
                    <a:pt x="-2682" y="17018"/>
                    <a:pt x="404" y="2291"/>
                    <a:pt x="404" y="2291"/>
                  </a:cubicBezTo>
                  <a:lnTo>
                    <a:pt x="12202" y="0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8" name="Shape 1439"/>
            <p:cNvSpPr/>
            <p:nvPr/>
          </p:nvSpPr>
          <p:spPr>
            <a:xfrm>
              <a:off x="1213052" y="1105460"/>
              <a:ext cx="84202" cy="1541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48" h="19400" extrusionOk="0">
                  <a:moveTo>
                    <a:pt x="0" y="4869"/>
                  </a:moveTo>
                  <a:cubicBezTo>
                    <a:pt x="0" y="4694"/>
                    <a:pt x="0" y="432"/>
                    <a:pt x="7630" y="82"/>
                  </a:cubicBezTo>
                  <a:cubicBezTo>
                    <a:pt x="14322" y="-385"/>
                    <a:pt x="20896" y="1074"/>
                    <a:pt x="21248" y="6037"/>
                  </a:cubicBezTo>
                  <a:lnTo>
                    <a:pt x="21248" y="6854"/>
                  </a:lnTo>
                  <a:cubicBezTo>
                    <a:pt x="21248" y="7379"/>
                    <a:pt x="20896" y="7846"/>
                    <a:pt x="20543" y="8372"/>
                  </a:cubicBezTo>
                  <a:cubicBezTo>
                    <a:pt x="19252" y="11291"/>
                    <a:pt x="21600" y="17070"/>
                    <a:pt x="20896" y="17245"/>
                  </a:cubicBezTo>
                  <a:cubicBezTo>
                    <a:pt x="14909" y="17887"/>
                    <a:pt x="11270" y="21215"/>
                    <a:pt x="5635" y="18063"/>
                  </a:cubicBezTo>
                  <a:cubicBezTo>
                    <a:pt x="5400" y="17887"/>
                    <a:pt x="5635" y="16895"/>
                    <a:pt x="4696" y="13918"/>
                  </a:cubicBezTo>
                  <a:cubicBezTo>
                    <a:pt x="4696" y="13918"/>
                    <a:pt x="5400" y="12458"/>
                    <a:pt x="5635" y="11466"/>
                  </a:cubicBezTo>
                  <a:cubicBezTo>
                    <a:pt x="5400" y="11466"/>
                    <a:pt x="5400" y="11466"/>
                    <a:pt x="5400" y="11466"/>
                  </a:cubicBezTo>
                  <a:cubicBezTo>
                    <a:pt x="5400" y="11466"/>
                    <a:pt x="6691" y="9539"/>
                    <a:pt x="6691" y="8021"/>
                  </a:cubicBezTo>
                  <a:cubicBezTo>
                    <a:pt x="6691" y="6562"/>
                    <a:pt x="5400" y="5570"/>
                    <a:pt x="4343" y="7671"/>
                  </a:cubicBezTo>
                  <a:cubicBezTo>
                    <a:pt x="4343" y="7671"/>
                    <a:pt x="1057" y="6212"/>
                    <a:pt x="0" y="4869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9" name="Shape 1440"/>
            <p:cNvSpPr/>
            <p:nvPr/>
          </p:nvSpPr>
          <p:spPr>
            <a:xfrm>
              <a:off x="802996" y="1233322"/>
              <a:ext cx="16393" cy="163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900" y="2400"/>
                  </a:moveTo>
                  <a:cubicBezTo>
                    <a:pt x="18900" y="1200"/>
                    <a:pt x="20250" y="600"/>
                    <a:pt x="21600" y="0"/>
                  </a:cubicBezTo>
                  <a:cubicBezTo>
                    <a:pt x="21600" y="600"/>
                    <a:pt x="20250" y="1200"/>
                    <a:pt x="18900" y="2400"/>
                  </a:cubicBezTo>
                  <a:close/>
                  <a:moveTo>
                    <a:pt x="10800" y="10800"/>
                  </a:moveTo>
                  <a:lnTo>
                    <a:pt x="10800" y="9000"/>
                  </a:lnTo>
                  <a:cubicBezTo>
                    <a:pt x="14850" y="10800"/>
                    <a:pt x="10800" y="10800"/>
                    <a:pt x="10800" y="10800"/>
                  </a:cubicBezTo>
                  <a:close/>
                  <a:moveTo>
                    <a:pt x="2700" y="21000"/>
                  </a:moveTo>
                  <a:cubicBezTo>
                    <a:pt x="2700" y="21000"/>
                    <a:pt x="1350" y="21000"/>
                    <a:pt x="0" y="21600"/>
                  </a:cubicBezTo>
                  <a:cubicBezTo>
                    <a:pt x="1350" y="21000"/>
                    <a:pt x="1350" y="21000"/>
                    <a:pt x="2700" y="21000"/>
                  </a:cubicBezTo>
                  <a:close/>
                </a:path>
              </a:pathLst>
            </a:custGeom>
            <a:solidFill>
              <a:srgbClr val="C7FFD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0" name="Shape 1441"/>
            <p:cNvSpPr/>
            <p:nvPr/>
          </p:nvSpPr>
          <p:spPr>
            <a:xfrm>
              <a:off x="1550922" y="131140"/>
              <a:ext cx="16394" cy="2001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788" y="2571"/>
                  </a:moveTo>
                  <a:cubicBezTo>
                    <a:pt x="17788" y="1543"/>
                    <a:pt x="21600" y="1543"/>
                    <a:pt x="21600" y="0"/>
                  </a:cubicBezTo>
                  <a:cubicBezTo>
                    <a:pt x="21600" y="2057"/>
                    <a:pt x="20329" y="2571"/>
                    <a:pt x="17788" y="2571"/>
                  </a:cubicBezTo>
                  <a:close/>
                  <a:moveTo>
                    <a:pt x="10165" y="11314"/>
                  </a:moveTo>
                  <a:lnTo>
                    <a:pt x="10165" y="10286"/>
                  </a:lnTo>
                  <a:cubicBezTo>
                    <a:pt x="13976" y="10286"/>
                    <a:pt x="10165" y="11314"/>
                    <a:pt x="10165" y="11314"/>
                  </a:cubicBezTo>
                  <a:close/>
                  <a:moveTo>
                    <a:pt x="0" y="21600"/>
                  </a:moveTo>
                  <a:cubicBezTo>
                    <a:pt x="0" y="20057"/>
                    <a:pt x="0" y="20057"/>
                    <a:pt x="3812" y="20057"/>
                  </a:cubicBezTo>
                  <a:cubicBezTo>
                    <a:pt x="3812" y="20057"/>
                    <a:pt x="0" y="20057"/>
                    <a:pt x="0" y="21600"/>
                  </a:cubicBezTo>
                  <a:close/>
                </a:path>
              </a:pathLst>
            </a:custGeom>
            <a:solidFill>
              <a:srgbClr val="C7FFD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1" name="Shape 1442"/>
            <p:cNvSpPr/>
            <p:nvPr/>
          </p:nvSpPr>
          <p:spPr>
            <a:xfrm>
              <a:off x="1885510" y="247593"/>
              <a:ext cx="346809" cy="2011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5" extrusionOk="0">
                  <a:moveTo>
                    <a:pt x="2851" y="16804"/>
                  </a:moveTo>
                  <a:cubicBezTo>
                    <a:pt x="-951" y="12931"/>
                    <a:pt x="-951" y="6779"/>
                    <a:pt x="2851" y="2905"/>
                  </a:cubicBezTo>
                  <a:cubicBezTo>
                    <a:pt x="6707" y="-968"/>
                    <a:pt x="12912" y="-968"/>
                    <a:pt x="16767" y="2905"/>
                  </a:cubicBezTo>
                  <a:cubicBezTo>
                    <a:pt x="20649" y="6779"/>
                    <a:pt x="20649" y="12931"/>
                    <a:pt x="16767" y="16804"/>
                  </a:cubicBezTo>
                  <a:cubicBezTo>
                    <a:pt x="12912" y="20632"/>
                    <a:pt x="6707" y="20632"/>
                    <a:pt x="2851" y="16804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2" name="Shape 1443"/>
            <p:cNvSpPr/>
            <p:nvPr/>
          </p:nvSpPr>
          <p:spPr>
            <a:xfrm>
              <a:off x="909789" y="174171"/>
              <a:ext cx="1251522" cy="7249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1368"/>
                  </a:moveTo>
                  <a:lnTo>
                    <a:pt x="17705" y="15272"/>
                  </a:lnTo>
                  <a:lnTo>
                    <a:pt x="17032" y="14608"/>
                  </a:lnTo>
                  <a:cubicBezTo>
                    <a:pt x="17256" y="13915"/>
                    <a:pt x="17160" y="13251"/>
                    <a:pt x="16759" y="12849"/>
                  </a:cubicBezTo>
                  <a:cubicBezTo>
                    <a:pt x="16030" y="12157"/>
                    <a:pt x="14587" y="12420"/>
                    <a:pt x="13521" y="13514"/>
                  </a:cubicBezTo>
                  <a:cubicBezTo>
                    <a:pt x="12455" y="14608"/>
                    <a:pt x="12167" y="16062"/>
                    <a:pt x="12888" y="16768"/>
                  </a:cubicBezTo>
                  <a:cubicBezTo>
                    <a:pt x="13297" y="17197"/>
                    <a:pt x="13978" y="17266"/>
                    <a:pt x="14651" y="17031"/>
                  </a:cubicBezTo>
                  <a:lnTo>
                    <a:pt x="15332" y="17695"/>
                  </a:lnTo>
                  <a:lnTo>
                    <a:pt x="11437" y="21600"/>
                  </a:lnTo>
                  <a:lnTo>
                    <a:pt x="6925" y="17114"/>
                  </a:lnTo>
                  <a:lnTo>
                    <a:pt x="6268" y="17778"/>
                  </a:lnTo>
                  <a:cubicBezTo>
                    <a:pt x="6492" y="18485"/>
                    <a:pt x="6428" y="19149"/>
                    <a:pt x="5995" y="19537"/>
                  </a:cubicBezTo>
                  <a:cubicBezTo>
                    <a:pt x="5274" y="20229"/>
                    <a:pt x="3823" y="19952"/>
                    <a:pt x="2765" y="18872"/>
                  </a:cubicBezTo>
                  <a:cubicBezTo>
                    <a:pt x="1675" y="17778"/>
                    <a:pt x="1387" y="16338"/>
                    <a:pt x="2108" y="15632"/>
                  </a:cubicBezTo>
                  <a:cubicBezTo>
                    <a:pt x="2517" y="15203"/>
                    <a:pt x="3190" y="15120"/>
                    <a:pt x="3871" y="15355"/>
                  </a:cubicBezTo>
                  <a:lnTo>
                    <a:pt x="4528" y="14691"/>
                  </a:lnTo>
                  <a:lnTo>
                    <a:pt x="0" y="10191"/>
                  </a:lnTo>
                  <a:lnTo>
                    <a:pt x="3895" y="6328"/>
                  </a:lnTo>
                  <a:lnTo>
                    <a:pt x="4576" y="6992"/>
                  </a:lnTo>
                  <a:cubicBezTo>
                    <a:pt x="4368" y="7698"/>
                    <a:pt x="4440" y="8363"/>
                    <a:pt x="4841" y="8751"/>
                  </a:cubicBezTo>
                  <a:cubicBezTo>
                    <a:pt x="5570" y="9457"/>
                    <a:pt x="7013" y="9180"/>
                    <a:pt x="8071" y="8086"/>
                  </a:cubicBezTo>
                  <a:cubicBezTo>
                    <a:pt x="9137" y="6992"/>
                    <a:pt x="9425" y="5552"/>
                    <a:pt x="8704" y="4846"/>
                  </a:cubicBezTo>
                  <a:cubicBezTo>
                    <a:pt x="8295" y="4417"/>
                    <a:pt x="7614" y="4334"/>
                    <a:pt x="6949" y="4569"/>
                  </a:cubicBezTo>
                  <a:lnTo>
                    <a:pt x="6268" y="3905"/>
                  </a:lnTo>
                  <a:lnTo>
                    <a:pt x="10155" y="0"/>
                  </a:lnTo>
                  <a:lnTo>
                    <a:pt x="14675" y="4486"/>
                  </a:lnTo>
                  <a:lnTo>
                    <a:pt x="15332" y="3822"/>
                  </a:lnTo>
                  <a:cubicBezTo>
                    <a:pt x="15108" y="3129"/>
                    <a:pt x="15172" y="2465"/>
                    <a:pt x="15605" y="2063"/>
                  </a:cubicBezTo>
                  <a:cubicBezTo>
                    <a:pt x="16326" y="1371"/>
                    <a:pt x="17777" y="1634"/>
                    <a:pt x="18835" y="2728"/>
                  </a:cubicBezTo>
                  <a:cubicBezTo>
                    <a:pt x="19925" y="3822"/>
                    <a:pt x="20213" y="5275"/>
                    <a:pt x="19492" y="5982"/>
                  </a:cubicBezTo>
                  <a:cubicBezTo>
                    <a:pt x="19083" y="6411"/>
                    <a:pt x="18426" y="6480"/>
                    <a:pt x="17729" y="6245"/>
                  </a:cubicBezTo>
                  <a:lnTo>
                    <a:pt x="17072" y="6909"/>
                  </a:lnTo>
                  <a:lnTo>
                    <a:pt x="21600" y="11368"/>
                  </a:ln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3" name="Shape 1444"/>
            <p:cNvSpPr/>
            <p:nvPr/>
          </p:nvSpPr>
          <p:spPr>
            <a:xfrm>
              <a:off x="917985" y="648355"/>
              <a:ext cx="91744" cy="4294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792" extrusionOk="0">
                  <a:moveTo>
                    <a:pt x="11403" y="1615"/>
                  </a:moveTo>
                  <a:cubicBezTo>
                    <a:pt x="14144" y="6115"/>
                    <a:pt x="16995" y="6115"/>
                    <a:pt x="19736" y="11065"/>
                  </a:cubicBezTo>
                  <a:cubicBezTo>
                    <a:pt x="20065" y="11740"/>
                    <a:pt x="21600" y="13765"/>
                    <a:pt x="21600" y="14890"/>
                  </a:cubicBezTo>
                  <a:cubicBezTo>
                    <a:pt x="20942" y="18715"/>
                    <a:pt x="17543" y="21190"/>
                    <a:pt x="16008" y="20740"/>
                  </a:cubicBezTo>
                  <a:cubicBezTo>
                    <a:pt x="13596" y="20065"/>
                    <a:pt x="11403" y="18715"/>
                    <a:pt x="8662" y="18040"/>
                  </a:cubicBezTo>
                  <a:cubicBezTo>
                    <a:pt x="6798" y="17590"/>
                    <a:pt x="2741" y="17590"/>
                    <a:pt x="877" y="16240"/>
                  </a:cubicBezTo>
                  <a:cubicBezTo>
                    <a:pt x="0" y="14890"/>
                    <a:pt x="0" y="10390"/>
                    <a:pt x="0" y="7915"/>
                  </a:cubicBezTo>
                  <a:cubicBezTo>
                    <a:pt x="0" y="6790"/>
                    <a:pt x="1206" y="4090"/>
                    <a:pt x="1206" y="4090"/>
                  </a:cubicBezTo>
                  <a:cubicBezTo>
                    <a:pt x="2741" y="5440"/>
                    <a:pt x="3399" y="6790"/>
                    <a:pt x="5482" y="6115"/>
                  </a:cubicBezTo>
                  <a:cubicBezTo>
                    <a:pt x="5811" y="5440"/>
                    <a:pt x="6469" y="5440"/>
                    <a:pt x="7017" y="5440"/>
                  </a:cubicBezTo>
                  <a:cubicBezTo>
                    <a:pt x="8881" y="940"/>
                    <a:pt x="10197" y="-410"/>
                    <a:pt x="10745" y="265"/>
                  </a:cubicBezTo>
                  <a:cubicBezTo>
                    <a:pt x="10745" y="-410"/>
                    <a:pt x="11074" y="265"/>
                    <a:pt x="11403" y="1615"/>
                  </a:cubicBezTo>
                </a:path>
              </a:pathLst>
            </a:custGeom>
            <a:solidFill>
              <a:srgbClr val="47766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4" name="Shape 1445"/>
            <p:cNvSpPr/>
            <p:nvPr/>
          </p:nvSpPr>
          <p:spPr>
            <a:xfrm>
              <a:off x="827826" y="584820"/>
              <a:ext cx="88885" cy="417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04" h="21177" extrusionOk="0">
                  <a:moveTo>
                    <a:pt x="11579" y="1667"/>
                  </a:moveTo>
                  <a:cubicBezTo>
                    <a:pt x="14363" y="6080"/>
                    <a:pt x="17258" y="6080"/>
                    <a:pt x="20041" y="11422"/>
                  </a:cubicBezTo>
                  <a:cubicBezTo>
                    <a:pt x="20375" y="12119"/>
                    <a:pt x="21600" y="16067"/>
                    <a:pt x="21377" y="17229"/>
                  </a:cubicBezTo>
                  <a:cubicBezTo>
                    <a:pt x="21043" y="21177"/>
                    <a:pt x="17592" y="21177"/>
                    <a:pt x="16256" y="21177"/>
                  </a:cubicBezTo>
                  <a:cubicBezTo>
                    <a:pt x="13806" y="20712"/>
                    <a:pt x="11579" y="19319"/>
                    <a:pt x="8796" y="18622"/>
                  </a:cubicBezTo>
                  <a:cubicBezTo>
                    <a:pt x="6903" y="17925"/>
                    <a:pt x="2784" y="17925"/>
                    <a:pt x="891" y="16764"/>
                  </a:cubicBezTo>
                  <a:cubicBezTo>
                    <a:pt x="0" y="15371"/>
                    <a:pt x="0" y="10725"/>
                    <a:pt x="0" y="8171"/>
                  </a:cubicBezTo>
                  <a:cubicBezTo>
                    <a:pt x="0" y="6777"/>
                    <a:pt x="1225" y="4222"/>
                    <a:pt x="1225" y="4222"/>
                  </a:cubicBezTo>
                  <a:cubicBezTo>
                    <a:pt x="2784" y="5616"/>
                    <a:pt x="3452" y="6777"/>
                    <a:pt x="5567" y="6080"/>
                  </a:cubicBezTo>
                  <a:cubicBezTo>
                    <a:pt x="5901" y="5616"/>
                    <a:pt x="6569" y="5616"/>
                    <a:pt x="7237" y="5616"/>
                  </a:cubicBezTo>
                  <a:cubicBezTo>
                    <a:pt x="9019" y="971"/>
                    <a:pt x="10355" y="-423"/>
                    <a:pt x="10911" y="274"/>
                  </a:cubicBezTo>
                  <a:cubicBezTo>
                    <a:pt x="10689" y="-423"/>
                    <a:pt x="10911" y="274"/>
                    <a:pt x="11579" y="1667"/>
                  </a:cubicBezTo>
                </a:path>
              </a:pathLst>
            </a:custGeom>
            <a:solidFill>
              <a:srgbClr val="47766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5" name="Shape 1446"/>
            <p:cNvSpPr/>
            <p:nvPr/>
          </p:nvSpPr>
          <p:spPr>
            <a:xfrm>
              <a:off x="946672" y="284821"/>
              <a:ext cx="137531" cy="1037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1" h="20336" extrusionOk="0">
                  <a:moveTo>
                    <a:pt x="0" y="2278"/>
                  </a:moveTo>
                  <a:lnTo>
                    <a:pt x="6336" y="0"/>
                  </a:lnTo>
                  <a:lnTo>
                    <a:pt x="7128" y="4101"/>
                  </a:lnTo>
                  <a:cubicBezTo>
                    <a:pt x="7128" y="4101"/>
                    <a:pt x="14040" y="11028"/>
                    <a:pt x="16704" y="13397"/>
                  </a:cubicBezTo>
                  <a:cubicBezTo>
                    <a:pt x="16704" y="13397"/>
                    <a:pt x="21600" y="14400"/>
                    <a:pt x="21384" y="17772"/>
                  </a:cubicBezTo>
                  <a:cubicBezTo>
                    <a:pt x="21384" y="21053"/>
                    <a:pt x="17280" y="21600"/>
                    <a:pt x="14472" y="16952"/>
                  </a:cubicBezTo>
                  <a:cubicBezTo>
                    <a:pt x="14472" y="16952"/>
                    <a:pt x="6120" y="12577"/>
                    <a:pt x="4320" y="10299"/>
                  </a:cubicBezTo>
                  <a:cubicBezTo>
                    <a:pt x="2664" y="7929"/>
                    <a:pt x="0" y="2278"/>
                    <a:pt x="0" y="2278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6" name="Shape 1447"/>
            <p:cNvSpPr/>
            <p:nvPr/>
          </p:nvSpPr>
          <p:spPr>
            <a:xfrm>
              <a:off x="928694" y="221530"/>
              <a:ext cx="68739" cy="853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54" h="19239" extrusionOk="0">
                  <a:moveTo>
                    <a:pt x="3504" y="260"/>
                  </a:moveTo>
                  <a:cubicBezTo>
                    <a:pt x="11829" y="-2361"/>
                    <a:pt x="16554" y="15674"/>
                    <a:pt x="16554" y="15674"/>
                  </a:cubicBezTo>
                  <a:cubicBezTo>
                    <a:pt x="16554" y="15674"/>
                    <a:pt x="15316" y="16827"/>
                    <a:pt x="11829" y="17981"/>
                  </a:cubicBezTo>
                  <a:cubicBezTo>
                    <a:pt x="8004" y="19239"/>
                    <a:pt x="4742" y="19239"/>
                    <a:pt x="4742" y="19239"/>
                  </a:cubicBezTo>
                  <a:cubicBezTo>
                    <a:pt x="4742" y="19239"/>
                    <a:pt x="-5046" y="2987"/>
                    <a:pt x="3504" y="260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7" name="Shape 1448"/>
            <p:cNvSpPr/>
            <p:nvPr/>
          </p:nvSpPr>
          <p:spPr>
            <a:xfrm>
              <a:off x="831924" y="417266"/>
              <a:ext cx="114289" cy="1867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138" extrusionOk="0">
                  <a:moveTo>
                    <a:pt x="9842" y="123"/>
                  </a:moveTo>
                  <a:cubicBezTo>
                    <a:pt x="12019" y="-582"/>
                    <a:pt x="21600" y="1986"/>
                    <a:pt x="21600" y="1986"/>
                  </a:cubicBezTo>
                  <a:cubicBezTo>
                    <a:pt x="21600" y="1986"/>
                    <a:pt x="15765" y="11754"/>
                    <a:pt x="14023" y="13315"/>
                  </a:cubicBezTo>
                  <a:cubicBezTo>
                    <a:pt x="12019" y="14875"/>
                    <a:pt x="7403" y="19558"/>
                    <a:pt x="7403" y="19558"/>
                  </a:cubicBezTo>
                  <a:cubicBezTo>
                    <a:pt x="7403" y="19558"/>
                    <a:pt x="1481" y="21018"/>
                    <a:pt x="0" y="19306"/>
                  </a:cubicBezTo>
                  <a:cubicBezTo>
                    <a:pt x="0" y="19306"/>
                    <a:pt x="1481" y="13466"/>
                    <a:pt x="4965" y="11049"/>
                  </a:cubicBezTo>
                  <a:cubicBezTo>
                    <a:pt x="4965" y="11049"/>
                    <a:pt x="7839" y="828"/>
                    <a:pt x="9842" y="123"/>
                  </a:cubicBezTo>
                </a:path>
              </a:pathLst>
            </a:custGeom>
            <a:solidFill>
              <a:srgbClr val="4773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8" name="Shape 1449"/>
            <p:cNvSpPr/>
            <p:nvPr/>
          </p:nvSpPr>
          <p:spPr>
            <a:xfrm>
              <a:off x="858970" y="430305"/>
              <a:ext cx="109776" cy="2345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27" h="21172" extrusionOk="0">
                  <a:moveTo>
                    <a:pt x="13477" y="710"/>
                  </a:moveTo>
                  <a:cubicBezTo>
                    <a:pt x="13477" y="710"/>
                    <a:pt x="17977" y="8941"/>
                    <a:pt x="18787" y="10612"/>
                  </a:cubicBezTo>
                  <a:cubicBezTo>
                    <a:pt x="19507" y="12241"/>
                    <a:pt x="21127" y="20514"/>
                    <a:pt x="21127" y="20514"/>
                  </a:cubicBezTo>
                  <a:cubicBezTo>
                    <a:pt x="17257" y="21600"/>
                    <a:pt x="12757" y="21015"/>
                    <a:pt x="12757" y="21015"/>
                  </a:cubicBezTo>
                  <a:lnTo>
                    <a:pt x="8437" y="10487"/>
                  </a:lnTo>
                  <a:cubicBezTo>
                    <a:pt x="8437" y="10487"/>
                    <a:pt x="3577" y="5682"/>
                    <a:pt x="1507" y="3885"/>
                  </a:cubicBezTo>
                  <a:cubicBezTo>
                    <a:pt x="-473" y="2005"/>
                    <a:pt x="67" y="0"/>
                    <a:pt x="67" y="0"/>
                  </a:cubicBezTo>
                  <a:lnTo>
                    <a:pt x="13477" y="71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9" name="Shape 1450"/>
            <p:cNvSpPr/>
            <p:nvPr/>
          </p:nvSpPr>
          <p:spPr>
            <a:xfrm>
              <a:off x="852415" y="215186"/>
              <a:ext cx="114285" cy="2296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9403" extrusionOk="0">
                  <a:moveTo>
                    <a:pt x="21600" y="2555"/>
                  </a:moveTo>
                  <a:lnTo>
                    <a:pt x="19580" y="18618"/>
                  </a:lnTo>
                  <a:cubicBezTo>
                    <a:pt x="10712" y="20385"/>
                    <a:pt x="0" y="18618"/>
                    <a:pt x="0" y="18618"/>
                  </a:cubicBezTo>
                  <a:lnTo>
                    <a:pt x="0" y="2241"/>
                  </a:lnTo>
                  <a:cubicBezTo>
                    <a:pt x="8166" y="-1215"/>
                    <a:pt x="18351" y="356"/>
                    <a:pt x="18351" y="356"/>
                  </a:cubicBezTo>
                  <a:cubicBezTo>
                    <a:pt x="20810" y="1024"/>
                    <a:pt x="21600" y="2673"/>
                    <a:pt x="21600" y="2555"/>
                  </a:cubicBezTo>
                </a:path>
              </a:pathLst>
            </a:custGeom>
            <a:solidFill>
              <a:srgbClr val="52838D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0" name="Shape 1451"/>
            <p:cNvSpPr/>
            <p:nvPr/>
          </p:nvSpPr>
          <p:spPr>
            <a:xfrm>
              <a:off x="858562" y="305312"/>
              <a:ext cx="137525" cy="1039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0" h="20371" extrusionOk="0">
                  <a:moveTo>
                    <a:pt x="0" y="2370"/>
                  </a:moveTo>
                  <a:lnTo>
                    <a:pt x="6285" y="0"/>
                  </a:lnTo>
                  <a:lnTo>
                    <a:pt x="7080" y="4101"/>
                  </a:lnTo>
                  <a:cubicBezTo>
                    <a:pt x="7080" y="4101"/>
                    <a:pt x="14015" y="11028"/>
                    <a:pt x="16688" y="13397"/>
                  </a:cubicBezTo>
                  <a:cubicBezTo>
                    <a:pt x="16688" y="13397"/>
                    <a:pt x="21600" y="14400"/>
                    <a:pt x="21383" y="17772"/>
                  </a:cubicBezTo>
                  <a:cubicBezTo>
                    <a:pt x="21383" y="21144"/>
                    <a:pt x="17266" y="21600"/>
                    <a:pt x="14448" y="16952"/>
                  </a:cubicBezTo>
                  <a:cubicBezTo>
                    <a:pt x="14448" y="16952"/>
                    <a:pt x="6068" y="12577"/>
                    <a:pt x="4262" y="10299"/>
                  </a:cubicBezTo>
                  <a:cubicBezTo>
                    <a:pt x="2601" y="8020"/>
                    <a:pt x="0" y="2370"/>
                    <a:pt x="0" y="237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1" name="Shape 1452"/>
            <p:cNvSpPr/>
            <p:nvPr/>
          </p:nvSpPr>
          <p:spPr>
            <a:xfrm>
              <a:off x="838637" y="240347"/>
              <a:ext cx="68636" cy="8499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29" h="19154" extrusionOk="0">
                  <a:moveTo>
                    <a:pt x="3479" y="280"/>
                  </a:moveTo>
                  <a:cubicBezTo>
                    <a:pt x="11804" y="-2446"/>
                    <a:pt x="16529" y="15589"/>
                    <a:pt x="16529" y="15589"/>
                  </a:cubicBezTo>
                  <a:cubicBezTo>
                    <a:pt x="16529" y="15589"/>
                    <a:pt x="15291" y="16847"/>
                    <a:pt x="11804" y="18001"/>
                  </a:cubicBezTo>
                  <a:cubicBezTo>
                    <a:pt x="7979" y="19154"/>
                    <a:pt x="4829" y="19154"/>
                    <a:pt x="4829" y="19154"/>
                  </a:cubicBezTo>
                  <a:cubicBezTo>
                    <a:pt x="4829" y="19154"/>
                    <a:pt x="-5071" y="2902"/>
                    <a:pt x="3479" y="280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2" name="Shape 1453"/>
            <p:cNvSpPr/>
            <p:nvPr/>
          </p:nvSpPr>
          <p:spPr>
            <a:xfrm>
              <a:off x="887249" y="188514"/>
              <a:ext cx="38255" cy="537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517" h="19015" extrusionOk="0">
                  <a:moveTo>
                    <a:pt x="16090" y="0"/>
                  </a:moveTo>
                  <a:lnTo>
                    <a:pt x="17412" y="8770"/>
                  </a:lnTo>
                  <a:cubicBezTo>
                    <a:pt x="17412" y="8770"/>
                    <a:pt x="21600" y="16078"/>
                    <a:pt x="13665" y="18352"/>
                  </a:cubicBezTo>
                  <a:cubicBezTo>
                    <a:pt x="1102" y="21600"/>
                    <a:pt x="0" y="11856"/>
                    <a:pt x="0" y="11856"/>
                  </a:cubicBezTo>
                  <a:lnTo>
                    <a:pt x="3747" y="2761"/>
                  </a:lnTo>
                  <a:lnTo>
                    <a:pt x="16090" y="0"/>
                  </a:lnTo>
                </a:path>
              </a:pathLst>
            </a:custGeom>
            <a:solidFill>
              <a:srgbClr val="FFE98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3" name="Shape 1454"/>
            <p:cNvSpPr/>
            <p:nvPr/>
          </p:nvSpPr>
          <p:spPr>
            <a:xfrm>
              <a:off x="860449" y="101691"/>
              <a:ext cx="94927" cy="1220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1" h="18710" extrusionOk="0">
                  <a:moveTo>
                    <a:pt x="5546" y="18465"/>
                  </a:moveTo>
                  <a:cubicBezTo>
                    <a:pt x="5546" y="20461"/>
                    <a:pt x="-2293" y="9768"/>
                    <a:pt x="668" y="5134"/>
                  </a:cubicBezTo>
                  <a:cubicBezTo>
                    <a:pt x="3368" y="714"/>
                    <a:pt x="9988" y="-1139"/>
                    <a:pt x="14691" y="714"/>
                  </a:cubicBezTo>
                  <a:cubicBezTo>
                    <a:pt x="19307" y="2497"/>
                    <a:pt x="17652" y="5990"/>
                    <a:pt x="17652" y="5990"/>
                  </a:cubicBezTo>
                  <a:cubicBezTo>
                    <a:pt x="17652" y="5990"/>
                    <a:pt x="7549" y="9198"/>
                    <a:pt x="5546" y="18465"/>
                  </a:cubicBezTo>
                </a:path>
              </a:pathLst>
            </a:custGeom>
            <a:solidFill>
              <a:srgbClr val="DFD85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4" name="Shape 1455"/>
            <p:cNvSpPr/>
            <p:nvPr/>
          </p:nvSpPr>
          <p:spPr>
            <a:xfrm>
              <a:off x="875141" y="124993"/>
              <a:ext cx="74100" cy="904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39" h="20836" extrusionOk="0">
                  <a:moveTo>
                    <a:pt x="3678" y="15797"/>
                  </a:moveTo>
                  <a:cubicBezTo>
                    <a:pt x="3307" y="15260"/>
                    <a:pt x="3307" y="14615"/>
                    <a:pt x="2690" y="13970"/>
                  </a:cubicBezTo>
                  <a:cubicBezTo>
                    <a:pt x="1333" y="12466"/>
                    <a:pt x="-1136" y="8275"/>
                    <a:pt x="592" y="6985"/>
                  </a:cubicBezTo>
                  <a:cubicBezTo>
                    <a:pt x="3678" y="4943"/>
                    <a:pt x="4418" y="9779"/>
                    <a:pt x="4418" y="9779"/>
                  </a:cubicBezTo>
                  <a:cubicBezTo>
                    <a:pt x="4789" y="6985"/>
                    <a:pt x="10713" y="5803"/>
                    <a:pt x="14539" y="4943"/>
                  </a:cubicBezTo>
                  <a:cubicBezTo>
                    <a:pt x="18366" y="3976"/>
                    <a:pt x="18736" y="0"/>
                    <a:pt x="18736" y="0"/>
                  </a:cubicBezTo>
                  <a:cubicBezTo>
                    <a:pt x="20464" y="2794"/>
                    <a:pt x="19353" y="8275"/>
                    <a:pt x="18366" y="13970"/>
                  </a:cubicBezTo>
                  <a:cubicBezTo>
                    <a:pt x="17995" y="17301"/>
                    <a:pt x="16638" y="18806"/>
                    <a:pt x="15527" y="20096"/>
                  </a:cubicBezTo>
                  <a:cubicBezTo>
                    <a:pt x="14539" y="20633"/>
                    <a:pt x="12071" y="21600"/>
                    <a:pt x="8985" y="19773"/>
                  </a:cubicBezTo>
                  <a:cubicBezTo>
                    <a:pt x="6887" y="18591"/>
                    <a:pt x="5159" y="17087"/>
                    <a:pt x="3678" y="15797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5" name="Shape 1456"/>
            <p:cNvSpPr/>
            <p:nvPr/>
          </p:nvSpPr>
          <p:spPr>
            <a:xfrm>
              <a:off x="1808103" y="73766"/>
              <a:ext cx="16394" cy="999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276"/>
                  </a:moveTo>
                  <a:lnTo>
                    <a:pt x="21600" y="21600"/>
                  </a:lnTo>
                  <a:cubicBezTo>
                    <a:pt x="4629" y="19908"/>
                    <a:pt x="0" y="17917"/>
                    <a:pt x="0" y="16225"/>
                  </a:cubicBezTo>
                  <a:lnTo>
                    <a:pt x="0" y="0"/>
                  </a:lnTo>
                  <a:cubicBezTo>
                    <a:pt x="0" y="1692"/>
                    <a:pt x="9257" y="3285"/>
                    <a:pt x="21600" y="5276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6" name="Shape 1457"/>
            <p:cNvSpPr/>
            <p:nvPr/>
          </p:nvSpPr>
          <p:spPr>
            <a:xfrm>
              <a:off x="1307310" y="157778"/>
              <a:ext cx="38470" cy="93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256"/>
                  </a:moveTo>
                  <a:lnTo>
                    <a:pt x="21600" y="21600"/>
                  </a:lnTo>
                  <a:lnTo>
                    <a:pt x="0" y="17450"/>
                  </a:lnTo>
                  <a:lnTo>
                    <a:pt x="0" y="0"/>
                  </a:lnTo>
                  <a:lnTo>
                    <a:pt x="21600" y="4256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7" name="Shape 1458"/>
            <p:cNvSpPr/>
            <p:nvPr/>
          </p:nvSpPr>
          <p:spPr>
            <a:xfrm>
              <a:off x="1344193" y="163926"/>
              <a:ext cx="122483" cy="12042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7816"/>
                  </a:moveTo>
                  <a:lnTo>
                    <a:pt x="21600" y="21600"/>
                  </a:lnTo>
                  <a:cubicBezTo>
                    <a:pt x="21600" y="18995"/>
                    <a:pt x="20214" y="16893"/>
                    <a:pt x="17688" y="15633"/>
                  </a:cubicBezTo>
                  <a:cubicBezTo>
                    <a:pt x="17198" y="15465"/>
                    <a:pt x="16546" y="15212"/>
                    <a:pt x="16057" y="14960"/>
                  </a:cubicBezTo>
                  <a:cubicBezTo>
                    <a:pt x="15568" y="14708"/>
                    <a:pt x="14916" y="14708"/>
                    <a:pt x="14427" y="14456"/>
                  </a:cubicBezTo>
                  <a:lnTo>
                    <a:pt x="14020" y="14456"/>
                  </a:lnTo>
                  <a:cubicBezTo>
                    <a:pt x="13531" y="14456"/>
                    <a:pt x="13042" y="14204"/>
                    <a:pt x="12389" y="14204"/>
                  </a:cubicBezTo>
                  <a:lnTo>
                    <a:pt x="9863" y="14204"/>
                  </a:lnTo>
                  <a:cubicBezTo>
                    <a:pt x="9129" y="14204"/>
                    <a:pt x="8477" y="14204"/>
                    <a:pt x="7988" y="14456"/>
                  </a:cubicBezTo>
                  <a:cubicBezTo>
                    <a:pt x="7825" y="14456"/>
                    <a:pt x="7580" y="14456"/>
                    <a:pt x="7091" y="14708"/>
                  </a:cubicBezTo>
                  <a:cubicBezTo>
                    <a:pt x="6602" y="14708"/>
                    <a:pt x="6195" y="14960"/>
                    <a:pt x="5706" y="14960"/>
                  </a:cubicBezTo>
                  <a:cubicBezTo>
                    <a:pt x="5217" y="14960"/>
                    <a:pt x="4809" y="15212"/>
                    <a:pt x="4320" y="15212"/>
                  </a:cubicBezTo>
                  <a:cubicBezTo>
                    <a:pt x="3912" y="15212"/>
                    <a:pt x="3668" y="15465"/>
                    <a:pt x="3179" y="15465"/>
                  </a:cubicBezTo>
                  <a:cubicBezTo>
                    <a:pt x="2282" y="15633"/>
                    <a:pt x="1304" y="15885"/>
                    <a:pt x="408" y="16137"/>
                  </a:cubicBezTo>
                  <a:cubicBezTo>
                    <a:pt x="163" y="16137"/>
                    <a:pt x="0" y="16389"/>
                    <a:pt x="0" y="16389"/>
                  </a:cubicBezTo>
                  <a:lnTo>
                    <a:pt x="0" y="2605"/>
                  </a:lnTo>
                  <a:lnTo>
                    <a:pt x="163" y="2605"/>
                  </a:lnTo>
                  <a:cubicBezTo>
                    <a:pt x="408" y="2605"/>
                    <a:pt x="408" y="2605"/>
                    <a:pt x="652" y="2353"/>
                  </a:cubicBezTo>
                  <a:cubicBezTo>
                    <a:pt x="1549" y="2185"/>
                    <a:pt x="2527" y="1933"/>
                    <a:pt x="3423" y="1681"/>
                  </a:cubicBezTo>
                  <a:cubicBezTo>
                    <a:pt x="3668" y="1681"/>
                    <a:pt x="3668" y="1429"/>
                    <a:pt x="3912" y="1429"/>
                  </a:cubicBezTo>
                  <a:cubicBezTo>
                    <a:pt x="4075" y="1429"/>
                    <a:pt x="4320" y="1429"/>
                    <a:pt x="4565" y="1177"/>
                  </a:cubicBezTo>
                  <a:cubicBezTo>
                    <a:pt x="5054" y="1177"/>
                    <a:pt x="5461" y="925"/>
                    <a:pt x="5950" y="925"/>
                  </a:cubicBezTo>
                  <a:cubicBezTo>
                    <a:pt x="6195" y="925"/>
                    <a:pt x="6439" y="756"/>
                    <a:pt x="6439" y="756"/>
                  </a:cubicBezTo>
                  <a:cubicBezTo>
                    <a:pt x="6602" y="756"/>
                    <a:pt x="6847" y="756"/>
                    <a:pt x="7336" y="504"/>
                  </a:cubicBezTo>
                  <a:cubicBezTo>
                    <a:pt x="7580" y="504"/>
                    <a:pt x="7825" y="252"/>
                    <a:pt x="8232" y="252"/>
                  </a:cubicBezTo>
                  <a:lnTo>
                    <a:pt x="8722" y="252"/>
                  </a:lnTo>
                  <a:cubicBezTo>
                    <a:pt x="9129" y="252"/>
                    <a:pt x="9863" y="0"/>
                    <a:pt x="10352" y="0"/>
                  </a:cubicBezTo>
                  <a:cubicBezTo>
                    <a:pt x="10352" y="0"/>
                    <a:pt x="10352" y="0"/>
                    <a:pt x="10515" y="0"/>
                  </a:cubicBezTo>
                  <a:lnTo>
                    <a:pt x="13775" y="0"/>
                  </a:lnTo>
                  <a:cubicBezTo>
                    <a:pt x="14264" y="0"/>
                    <a:pt x="14427" y="0"/>
                    <a:pt x="14672" y="252"/>
                  </a:cubicBezTo>
                  <a:lnTo>
                    <a:pt x="15405" y="252"/>
                  </a:lnTo>
                  <a:cubicBezTo>
                    <a:pt x="15813" y="252"/>
                    <a:pt x="16546" y="504"/>
                    <a:pt x="16954" y="756"/>
                  </a:cubicBezTo>
                  <a:cubicBezTo>
                    <a:pt x="17688" y="925"/>
                    <a:pt x="18177" y="1177"/>
                    <a:pt x="18584" y="1429"/>
                  </a:cubicBezTo>
                  <a:cubicBezTo>
                    <a:pt x="20214" y="3110"/>
                    <a:pt x="21600" y="5211"/>
                    <a:pt x="21600" y="7816"/>
                  </a:cubicBez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8" name="Shape 1459"/>
            <p:cNvSpPr/>
            <p:nvPr/>
          </p:nvSpPr>
          <p:spPr>
            <a:xfrm>
              <a:off x="1952768" y="104502"/>
              <a:ext cx="124530" cy="1388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2145"/>
                  </a:lnTo>
                  <a:cubicBezTo>
                    <a:pt x="21600" y="12509"/>
                    <a:pt x="21600" y="12727"/>
                    <a:pt x="21358" y="13164"/>
                  </a:cubicBezTo>
                  <a:cubicBezTo>
                    <a:pt x="21358" y="13382"/>
                    <a:pt x="21358" y="13382"/>
                    <a:pt x="21197" y="13600"/>
                  </a:cubicBezTo>
                  <a:lnTo>
                    <a:pt x="21197" y="14182"/>
                  </a:lnTo>
                  <a:cubicBezTo>
                    <a:pt x="20955" y="14618"/>
                    <a:pt x="20955" y="14836"/>
                    <a:pt x="20713" y="14982"/>
                  </a:cubicBezTo>
                  <a:cubicBezTo>
                    <a:pt x="20713" y="15200"/>
                    <a:pt x="20713" y="15200"/>
                    <a:pt x="20472" y="15200"/>
                  </a:cubicBezTo>
                  <a:cubicBezTo>
                    <a:pt x="20472" y="15200"/>
                    <a:pt x="20472" y="15418"/>
                    <a:pt x="20230" y="15418"/>
                  </a:cubicBezTo>
                  <a:cubicBezTo>
                    <a:pt x="19988" y="15636"/>
                    <a:pt x="19988" y="15636"/>
                    <a:pt x="19988" y="15855"/>
                  </a:cubicBezTo>
                  <a:cubicBezTo>
                    <a:pt x="19827" y="16218"/>
                    <a:pt x="19585" y="16436"/>
                    <a:pt x="19101" y="16655"/>
                  </a:cubicBezTo>
                  <a:lnTo>
                    <a:pt x="17731" y="17891"/>
                  </a:lnTo>
                  <a:cubicBezTo>
                    <a:pt x="17731" y="17891"/>
                    <a:pt x="17731" y="17891"/>
                    <a:pt x="17490" y="18109"/>
                  </a:cubicBezTo>
                  <a:cubicBezTo>
                    <a:pt x="17087" y="18473"/>
                    <a:pt x="16603" y="18691"/>
                    <a:pt x="15958" y="18909"/>
                  </a:cubicBezTo>
                  <a:cubicBezTo>
                    <a:pt x="15716" y="18909"/>
                    <a:pt x="15475" y="19127"/>
                    <a:pt x="15475" y="19127"/>
                  </a:cubicBezTo>
                  <a:cubicBezTo>
                    <a:pt x="15233" y="19345"/>
                    <a:pt x="14991" y="19345"/>
                    <a:pt x="14749" y="19491"/>
                  </a:cubicBezTo>
                  <a:cubicBezTo>
                    <a:pt x="14749" y="19491"/>
                    <a:pt x="14588" y="19491"/>
                    <a:pt x="14588" y="19709"/>
                  </a:cubicBezTo>
                  <a:cubicBezTo>
                    <a:pt x="14104" y="19927"/>
                    <a:pt x="13460" y="20145"/>
                    <a:pt x="12734" y="20364"/>
                  </a:cubicBezTo>
                  <a:cubicBezTo>
                    <a:pt x="12493" y="20364"/>
                    <a:pt x="12493" y="20582"/>
                    <a:pt x="12251" y="20582"/>
                  </a:cubicBezTo>
                  <a:lnTo>
                    <a:pt x="12090" y="20582"/>
                  </a:lnTo>
                  <a:cubicBezTo>
                    <a:pt x="11928" y="20582"/>
                    <a:pt x="11606" y="20727"/>
                    <a:pt x="11364" y="20727"/>
                  </a:cubicBezTo>
                  <a:cubicBezTo>
                    <a:pt x="10961" y="20945"/>
                    <a:pt x="10719" y="20945"/>
                    <a:pt x="10236" y="20945"/>
                  </a:cubicBezTo>
                  <a:lnTo>
                    <a:pt x="9994" y="20945"/>
                  </a:lnTo>
                  <a:cubicBezTo>
                    <a:pt x="9752" y="20945"/>
                    <a:pt x="9591" y="20945"/>
                    <a:pt x="9349" y="21164"/>
                  </a:cubicBezTo>
                  <a:cubicBezTo>
                    <a:pt x="9107" y="21164"/>
                    <a:pt x="8624" y="21382"/>
                    <a:pt x="8382" y="21382"/>
                  </a:cubicBezTo>
                  <a:lnTo>
                    <a:pt x="7979" y="21382"/>
                  </a:lnTo>
                  <a:cubicBezTo>
                    <a:pt x="7737" y="21382"/>
                    <a:pt x="7496" y="21382"/>
                    <a:pt x="7093" y="21600"/>
                  </a:cubicBezTo>
                  <a:lnTo>
                    <a:pt x="1854" y="21600"/>
                  </a:lnTo>
                  <a:cubicBezTo>
                    <a:pt x="1128" y="21600"/>
                    <a:pt x="725" y="21600"/>
                    <a:pt x="0" y="21382"/>
                  </a:cubicBezTo>
                  <a:lnTo>
                    <a:pt x="0" y="9455"/>
                  </a:lnTo>
                  <a:cubicBezTo>
                    <a:pt x="725" y="9455"/>
                    <a:pt x="1370" y="9673"/>
                    <a:pt x="2015" y="9673"/>
                  </a:cubicBezTo>
                  <a:lnTo>
                    <a:pt x="5481" y="9673"/>
                  </a:lnTo>
                  <a:cubicBezTo>
                    <a:pt x="5884" y="9673"/>
                    <a:pt x="6367" y="9673"/>
                    <a:pt x="6851" y="9455"/>
                  </a:cubicBezTo>
                  <a:cubicBezTo>
                    <a:pt x="7093" y="9455"/>
                    <a:pt x="7254" y="9455"/>
                    <a:pt x="7737" y="9236"/>
                  </a:cubicBezTo>
                  <a:cubicBezTo>
                    <a:pt x="8221" y="9236"/>
                    <a:pt x="8624" y="9091"/>
                    <a:pt x="9107" y="9091"/>
                  </a:cubicBezTo>
                  <a:cubicBezTo>
                    <a:pt x="9349" y="9091"/>
                    <a:pt x="9591" y="9091"/>
                    <a:pt x="9752" y="8873"/>
                  </a:cubicBezTo>
                  <a:cubicBezTo>
                    <a:pt x="10236" y="8655"/>
                    <a:pt x="10719" y="8655"/>
                    <a:pt x="11122" y="8436"/>
                  </a:cubicBezTo>
                  <a:cubicBezTo>
                    <a:pt x="11364" y="8436"/>
                    <a:pt x="11606" y="8218"/>
                    <a:pt x="11848" y="8218"/>
                  </a:cubicBezTo>
                  <a:cubicBezTo>
                    <a:pt x="12090" y="8218"/>
                    <a:pt x="12251" y="8000"/>
                    <a:pt x="12251" y="8000"/>
                  </a:cubicBezTo>
                  <a:cubicBezTo>
                    <a:pt x="12976" y="7855"/>
                    <a:pt x="13460" y="7636"/>
                    <a:pt x="14104" y="7418"/>
                  </a:cubicBezTo>
                  <a:cubicBezTo>
                    <a:pt x="14588" y="7200"/>
                    <a:pt x="14749" y="7200"/>
                    <a:pt x="15233" y="6982"/>
                  </a:cubicBezTo>
                  <a:cubicBezTo>
                    <a:pt x="15475" y="6982"/>
                    <a:pt x="15716" y="6764"/>
                    <a:pt x="15716" y="6764"/>
                  </a:cubicBezTo>
                  <a:cubicBezTo>
                    <a:pt x="16119" y="6618"/>
                    <a:pt x="16845" y="6182"/>
                    <a:pt x="17328" y="5964"/>
                  </a:cubicBezTo>
                  <a:cubicBezTo>
                    <a:pt x="17973" y="5600"/>
                    <a:pt x="18457" y="5164"/>
                    <a:pt x="18860" y="4727"/>
                  </a:cubicBezTo>
                  <a:cubicBezTo>
                    <a:pt x="19343" y="4364"/>
                    <a:pt x="19585" y="3927"/>
                    <a:pt x="19988" y="3491"/>
                  </a:cubicBezTo>
                  <a:cubicBezTo>
                    <a:pt x="19988" y="3491"/>
                    <a:pt x="19988" y="3273"/>
                    <a:pt x="20230" y="3273"/>
                  </a:cubicBezTo>
                  <a:cubicBezTo>
                    <a:pt x="20472" y="2909"/>
                    <a:pt x="20713" y="2473"/>
                    <a:pt x="20955" y="2109"/>
                  </a:cubicBezTo>
                  <a:lnTo>
                    <a:pt x="20955" y="1891"/>
                  </a:lnTo>
                  <a:cubicBezTo>
                    <a:pt x="21600" y="1236"/>
                    <a:pt x="21600" y="655"/>
                    <a:pt x="21600" y="0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9" name="Shape 1460"/>
            <p:cNvSpPr/>
            <p:nvPr/>
          </p:nvSpPr>
          <p:spPr>
            <a:xfrm>
              <a:off x="1917934" y="163926"/>
              <a:ext cx="38464" cy="1040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810" y="0"/>
                  </a:moveTo>
                  <a:lnTo>
                    <a:pt x="21600" y="16176"/>
                  </a:lnTo>
                  <a:lnTo>
                    <a:pt x="0" y="21600"/>
                  </a:lnTo>
                  <a:lnTo>
                    <a:pt x="0" y="5812"/>
                  </a:lnTo>
                  <a:lnTo>
                    <a:pt x="2081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0" name="Shape 1461"/>
            <p:cNvSpPr/>
            <p:nvPr/>
          </p:nvSpPr>
          <p:spPr>
            <a:xfrm>
              <a:off x="1199528" y="274575"/>
              <a:ext cx="16394" cy="93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086" y="21600"/>
                  </a:moveTo>
                  <a:cubicBezTo>
                    <a:pt x="3086" y="21387"/>
                    <a:pt x="3086" y="21068"/>
                    <a:pt x="0" y="21068"/>
                  </a:cubicBezTo>
                  <a:cubicBezTo>
                    <a:pt x="0" y="20749"/>
                    <a:pt x="3086" y="20110"/>
                    <a:pt x="3086" y="19791"/>
                  </a:cubicBezTo>
                  <a:lnTo>
                    <a:pt x="3086" y="21600"/>
                  </a:lnTo>
                  <a:close/>
                  <a:moveTo>
                    <a:pt x="3086" y="6065"/>
                  </a:moveTo>
                  <a:lnTo>
                    <a:pt x="3086" y="3618"/>
                  </a:lnTo>
                  <a:cubicBezTo>
                    <a:pt x="3086" y="3299"/>
                    <a:pt x="7714" y="2767"/>
                    <a:pt x="7714" y="2447"/>
                  </a:cubicBezTo>
                  <a:lnTo>
                    <a:pt x="7714" y="1809"/>
                  </a:lnTo>
                  <a:lnTo>
                    <a:pt x="21600" y="0"/>
                  </a:lnTo>
                  <a:lnTo>
                    <a:pt x="21600" y="17450"/>
                  </a:lnTo>
                  <a:lnTo>
                    <a:pt x="7714" y="19259"/>
                  </a:lnTo>
                  <a:cubicBezTo>
                    <a:pt x="7714" y="19578"/>
                    <a:pt x="7714" y="19578"/>
                    <a:pt x="3086" y="19791"/>
                  </a:cubicBezTo>
                  <a:lnTo>
                    <a:pt x="3086" y="6065"/>
                  </a:lnTo>
                  <a:close/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1" name="Shape 1462"/>
            <p:cNvSpPr/>
            <p:nvPr/>
          </p:nvSpPr>
          <p:spPr>
            <a:xfrm>
              <a:off x="954869" y="413913"/>
              <a:ext cx="257718" cy="2023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3457"/>
                  </a:moveTo>
                  <a:lnTo>
                    <a:pt x="21600" y="21600"/>
                  </a:lnTo>
                  <a:lnTo>
                    <a:pt x="0" y="8143"/>
                  </a:lnTo>
                  <a:lnTo>
                    <a:pt x="0" y="0"/>
                  </a:lnTo>
                  <a:lnTo>
                    <a:pt x="21600" y="13457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2" name="Shape 1463"/>
            <p:cNvSpPr/>
            <p:nvPr/>
          </p:nvSpPr>
          <p:spPr>
            <a:xfrm>
              <a:off x="1655652" y="391373"/>
              <a:ext cx="270013" cy="2064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117"/>
                  </a:moveTo>
                  <a:lnTo>
                    <a:pt x="21600" y="12059"/>
                  </a:lnTo>
                  <a:cubicBezTo>
                    <a:pt x="21600" y="10558"/>
                    <a:pt x="20966" y="9299"/>
                    <a:pt x="19809" y="8621"/>
                  </a:cubicBezTo>
                  <a:cubicBezTo>
                    <a:pt x="19585" y="8475"/>
                    <a:pt x="19399" y="8378"/>
                    <a:pt x="19063" y="8233"/>
                  </a:cubicBezTo>
                  <a:cubicBezTo>
                    <a:pt x="18951" y="8088"/>
                    <a:pt x="18877" y="8088"/>
                    <a:pt x="18653" y="8088"/>
                  </a:cubicBezTo>
                  <a:cubicBezTo>
                    <a:pt x="18466" y="8088"/>
                    <a:pt x="18429" y="7943"/>
                    <a:pt x="18317" y="7943"/>
                  </a:cubicBezTo>
                  <a:cubicBezTo>
                    <a:pt x="18131" y="7797"/>
                    <a:pt x="17907" y="7797"/>
                    <a:pt x="17683" y="7797"/>
                  </a:cubicBezTo>
                  <a:lnTo>
                    <a:pt x="17608" y="7797"/>
                  </a:lnTo>
                  <a:cubicBezTo>
                    <a:pt x="17384" y="7797"/>
                    <a:pt x="17049" y="7652"/>
                    <a:pt x="16862" y="7652"/>
                  </a:cubicBezTo>
                  <a:lnTo>
                    <a:pt x="15818" y="7652"/>
                  </a:lnTo>
                  <a:cubicBezTo>
                    <a:pt x="15594" y="7652"/>
                    <a:pt x="15482" y="7652"/>
                    <a:pt x="15258" y="7797"/>
                  </a:cubicBezTo>
                  <a:cubicBezTo>
                    <a:pt x="15072" y="7797"/>
                    <a:pt x="14960" y="7797"/>
                    <a:pt x="14848" y="7943"/>
                  </a:cubicBezTo>
                  <a:cubicBezTo>
                    <a:pt x="14736" y="7943"/>
                    <a:pt x="14549" y="7943"/>
                    <a:pt x="14437" y="8088"/>
                  </a:cubicBezTo>
                  <a:cubicBezTo>
                    <a:pt x="14213" y="8233"/>
                    <a:pt x="14027" y="8233"/>
                    <a:pt x="13691" y="8233"/>
                  </a:cubicBezTo>
                  <a:cubicBezTo>
                    <a:pt x="13579" y="8233"/>
                    <a:pt x="13467" y="8378"/>
                    <a:pt x="13281" y="8378"/>
                  </a:cubicBezTo>
                  <a:cubicBezTo>
                    <a:pt x="12870" y="8475"/>
                    <a:pt x="12423" y="8621"/>
                    <a:pt x="11901" y="8766"/>
                  </a:cubicBezTo>
                  <a:cubicBezTo>
                    <a:pt x="11789" y="8911"/>
                    <a:pt x="11714" y="8911"/>
                    <a:pt x="11602" y="8911"/>
                  </a:cubicBezTo>
                  <a:cubicBezTo>
                    <a:pt x="11266" y="9057"/>
                    <a:pt x="10968" y="9153"/>
                    <a:pt x="10632" y="9299"/>
                  </a:cubicBezTo>
                  <a:cubicBezTo>
                    <a:pt x="10520" y="9299"/>
                    <a:pt x="10446" y="9444"/>
                    <a:pt x="10222" y="9444"/>
                  </a:cubicBezTo>
                  <a:cubicBezTo>
                    <a:pt x="9923" y="9589"/>
                    <a:pt x="9588" y="9880"/>
                    <a:pt x="9177" y="9977"/>
                  </a:cubicBezTo>
                  <a:cubicBezTo>
                    <a:pt x="9065" y="9977"/>
                    <a:pt x="9065" y="10122"/>
                    <a:pt x="8953" y="10122"/>
                  </a:cubicBezTo>
                  <a:cubicBezTo>
                    <a:pt x="8319" y="10558"/>
                    <a:pt x="7573" y="10945"/>
                    <a:pt x="6976" y="11478"/>
                  </a:cubicBezTo>
                  <a:lnTo>
                    <a:pt x="6864" y="11478"/>
                  </a:lnTo>
                  <a:cubicBezTo>
                    <a:pt x="6230" y="12059"/>
                    <a:pt x="5596" y="12447"/>
                    <a:pt x="4962" y="13125"/>
                  </a:cubicBezTo>
                  <a:cubicBezTo>
                    <a:pt x="4738" y="13270"/>
                    <a:pt x="4626" y="13561"/>
                    <a:pt x="4439" y="13706"/>
                  </a:cubicBezTo>
                  <a:cubicBezTo>
                    <a:pt x="4104" y="13948"/>
                    <a:pt x="3917" y="14239"/>
                    <a:pt x="3693" y="14529"/>
                  </a:cubicBezTo>
                  <a:cubicBezTo>
                    <a:pt x="3581" y="14626"/>
                    <a:pt x="3469" y="14771"/>
                    <a:pt x="3283" y="14917"/>
                  </a:cubicBezTo>
                  <a:cubicBezTo>
                    <a:pt x="3059" y="15207"/>
                    <a:pt x="2873" y="15449"/>
                    <a:pt x="2649" y="15740"/>
                  </a:cubicBezTo>
                  <a:cubicBezTo>
                    <a:pt x="2574" y="15885"/>
                    <a:pt x="2425" y="16127"/>
                    <a:pt x="2238" y="16273"/>
                  </a:cubicBezTo>
                  <a:cubicBezTo>
                    <a:pt x="2126" y="16418"/>
                    <a:pt x="2164" y="16418"/>
                    <a:pt x="2015" y="16563"/>
                  </a:cubicBezTo>
                  <a:cubicBezTo>
                    <a:pt x="1828" y="16805"/>
                    <a:pt x="1679" y="17096"/>
                    <a:pt x="1492" y="17387"/>
                  </a:cubicBezTo>
                  <a:lnTo>
                    <a:pt x="1380" y="17532"/>
                  </a:lnTo>
                  <a:cubicBezTo>
                    <a:pt x="1268" y="17629"/>
                    <a:pt x="1268" y="17774"/>
                    <a:pt x="1268" y="17774"/>
                  </a:cubicBezTo>
                  <a:cubicBezTo>
                    <a:pt x="1045" y="18065"/>
                    <a:pt x="970" y="18355"/>
                    <a:pt x="858" y="18597"/>
                  </a:cubicBezTo>
                  <a:cubicBezTo>
                    <a:pt x="746" y="18743"/>
                    <a:pt x="746" y="18985"/>
                    <a:pt x="634" y="19130"/>
                  </a:cubicBezTo>
                  <a:cubicBezTo>
                    <a:pt x="522" y="19227"/>
                    <a:pt x="522" y="19421"/>
                    <a:pt x="448" y="19711"/>
                  </a:cubicBezTo>
                  <a:cubicBezTo>
                    <a:pt x="336" y="19953"/>
                    <a:pt x="336" y="20244"/>
                    <a:pt x="224" y="20389"/>
                  </a:cubicBezTo>
                  <a:cubicBezTo>
                    <a:pt x="224" y="20535"/>
                    <a:pt x="112" y="20535"/>
                    <a:pt x="112" y="20680"/>
                  </a:cubicBezTo>
                  <a:cubicBezTo>
                    <a:pt x="0" y="21067"/>
                    <a:pt x="0" y="21358"/>
                    <a:pt x="0" y="21600"/>
                  </a:cubicBezTo>
                  <a:lnTo>
                    <a:pt x="0" y="13561"/>
                  </a:lnTo>
                  <a:cubicBezTo>
                    <a:pt x="0" y="13270"/>
                    <a:pt x="0" y="12979"/>
                    <a:pt x="112" y="12737"/>
                  </a:cubicBezTo>
                  <a:cubicBezTo>
                    <a:pt x="112" y="12592"/>
                    <a:pt x="112" y="12592"/>
                    <a:pt x="224" y="12447"/>
                  </a:cubicBezTo>
                  <a:cubicBezTo>
                    <a:pt x="224" y="12301"/>
                    <a:pt x="336" y="12059"/>
                    <a:pt x="336" y="11914"/>
                  </a:cubicBezTo>
                  <a:lnTo>
                    <a:pt x="336" y="11769"/>
                  </a:lnTo>
                  <a:cubicBezTo>
                    <a:pt x="448" y="11623"/>
                    <a:pt x="448" y="11478"/>
                    <a:pt x="522" y="11236"/>
                  </a:cubicBezTo>
                  <a:cubicBezTo>
                    <a:pt x="634" y="11091"/>
                    <a:pt x="634" y="10945"/>
                    <a:pt x="634" y="10800"/>
                  </a:cubicBezTo>
                  <a:cubicBezTo>
                    <a:pt x="634" y="10800"/>
                    <a:pt x="634" y="10655"/>
                    <a:pt x="746" y="10655"/>
                  </a:cubicBezTo>
                  <a:cubicBezTo>
                    <a:pt x="858" y="10413"/>
                    <a:pt x="1045" y="10122"/>
                    <a:pt x="1156" y="9880"/>
                  </a:cubicBezTo>
                  <a:cubicBezTo>
                    <a:pt x="1156" y="9735"/>
                    <a:pt x="1268" y="9735"/>
                    <a:pt x="1268" y="9589"/>
                  </a:cubicBezTo>
                  <a:cubicBezTo>
                    <a:pt x="1268" y="9444"/>
                    <a:pt x="1380" y="9444"/>
                    <a:pt x="1380" y="9444"/>
                  </a:cubicBezTo>
                  <a:cubicBezTo>
                    <a:pt x="1492" y="9153"/>
                    <a:pt x="1679" y="8911"/>
                    <a:pt x="1903" y="8621"/>
                  </a:cubicBezTo>
                  <a:cubicBezTo>
                    <a:pt x="2015" y="8475"/>
                    <a:pt x="2052" y="8475"/>
                    <a:pt x="2126" y="8378"/>
                  </a:cubicBezTo>
                  <a:cubicBezTo>
                    <a:pt x="2276" y="8233"/>
                    <a:pt x="2238" y="8185"/>
                    <a:pt x="2313" y="8088"/>
                  </a:cubicBezTo>
                  <a:cubicBezTo>
                    <a:pt x="2425" y="7894"/>
                    <a:pt x="2537" y="7943"/>
                    <a:pt x="2537" y="7797"/>
                  </a:cubicBezTo>
                  <a:cubicBezTo>
                    <a:pt x="2761" y="7555"/>
                    <a:pt x="2947" y="7265"/>
                    <a:pt x="3171" y="6974"/>
                  </a:cubicBezTo>
                  <a:cubicBezTo>
                    <a:pt x="3283" y="6829"/>
                    <a:pt x="3395" y="6732"/>
                    <a:pt x="3581" y="6587"/>
                  </a:cubicBezTo>
                  <a:cubicBezTo>
                    <a:pt x="3805" y="6296"/>
                    <a:pt x="4104" y="6054"/>
                    <a:pt x="4327" y="5763"/>
                  </a:cubicBezTo>
                  <a:cubicBezTo>
                    <a:pt x="4439" y="5618"/>
                    <a:pt x="4551" y="5473"/>
                    <a:pt x="4626" y="5473"/>
                  </a:cubicBezTo>
                  <a:cubicBezTo>
                    <a:pt x="4738" y="5327"/>
                    <a:pt x="4850" y="5327"/>
                    <a:pt x="4850" y="5230"/>
                  </a:cubicBezTo>
                  <a:cubicBezTo>
                    <a:pt x="5484" y="4649"/>
                    <a:pt x="6118" y="4117"/>
                    <a:pt x="6752" y="3584"/>
                  </a:cubicBezTo>
                  <a:lnTo>
                    <a:pt x="6864" y="3584"/>
                  </a:lnTo>
                  <a:cubicBezTo>
                    <a:pt x="7498" y="3003"/>
                    <a:pt x="8133" y="2615"/>
                    <a:pt x="8841" y="2228"/>
                  </a:cubicBezTo>
                  <a:cubicBezTo>
                    <a:pt x="8953" y="2228"/>
                    <a:pt x="8953" y="2228"/>
                    <a:pt x="9065" y="2083"/>
                  </a:cubicBezTo>
                  <a:cubicBezTo>
                    <a:pt x="9364" y="1792"/>
                    <a:pt x="9811" y="1647"/>
                    <a:pt x="10110" y="1501"/>
                  </a:cubicBezTo>
                  <a:cubicBezTo>
                    <a:pt x="10222" y="1404"/>
                    <a:pt x="10334" y="1404"/>
                    <a:pt x="10520" y="1404"/>
                  </a:cubicBezTo>
                  <a:cubicBezTo>
                    <a:pt x="10856" y="1259"/>
                    <a:pt x="11154" y="1114"/>
                    <a:pt x="11490" y="969"/>
                  </a:cubicBezTo>
                  <a:cubicBezTo>
                    <a:pt x="11602" y="969"/>
                    <a:pt x="11602" y="823"/>
                    <a:pt x="11714" y="823"/>
                  </a:cubicBezTo>
                  <a:lnTo>
                    <a:pt x="11789" y="823"/>
                  </a:lnTo>
                  <a:cubicBezTo>
                    <a:pt x="12236" y="678"/>
                    <a:pt x="12647" y="581"/>
                    <a:pt x="13169" y="436"/>
                  </a:cubicBezTo>
                  <a:lnTo>
                    <a:pt x="13281" y="436"/>
                  </a:lnTo>
                  <a:cubicBezTo>
                    <a:pt x="13393" y="436"/>
                    <a:pt x="13467" y="436"/>
                    <a:pt x="13467" y="291"/>
                  </a:cubicBezTo>
                  <a:cubicBezTo>
                    <a:pt x="13691" y="145"/>
                    <a:pt x="14027" y="145"/>
                    <a:pt x="14213" y="145"/>
                  </a:cubicBezTo>
                  <a:lnTo>
                    <a:pt x="14661" y="145"/>
                  </a:lnTo>
                  <a:cubicBezTo>
                    <a:pt x="14848" y="145"/>
                    <a:pt x="14960" y="145"/>
                    <a:pt x="15072" y="0"/>
                  </a:cubicBezTo>
                  <a:lnTo>
                    <a:pt x="16862" y="0"/>
                  </a:lnTo>
                  <a:cubicBezTo>
                    <a:pt x="17049" y="0"/>
                    <a:pt x="17273" y="0"/>
                    <a:pt x="17496" y="145"/>
                  </a:cubicBezTo>
                  <a:lnTo>
                    <a:pt x="17608" y="145"/>
                  </a:lnTo>
                  <a:cubicBezTo>
                    <a:pt x="17795" y="145"/>
                    <a:pt x="18019" y="291"/>
                    <a:pt x="18131" y="291"/>
                  </a:cubicBezTo>
                  <a:lnTo>
                    <a:pt x="18205" y="291"/>
                  </a:lnTo>
                  <a:cubicBezTo>
                    <a:pt x="18317" y="291"/>
                    <a:pt x="18429" y="436"/>
                    <a:pt x="18541" y="436"/>
                  </a:cubicBezTo>
                  <a:cubicBezTo>
                    <a:pt x="18653" y="436"/>
                    <a:pt x="18765" y="581"/>
                    <a:pt x="18839" y="581"/>
                  </a:cubicBezTo>
                  <a:cubicBezTo>
                    <a:pt x="18839" y="581"/>
                    <a:pt x="18839" y="581"/>
                    <a:pt x="18951" y="581"/>
                  </a:cubicBezTo>
                  <a:cubicBezTo>
                    <a:pt x="19175" y="678"/>
                    <a:pt x="19474" y="823"/>
                    <a:pt x="19697" y="969"/>
                  </a:cubicBezTo>
                  <a:cubicBezTo>
                    <a:pt x="20966" y="1501"/>
                    <a:pt x="21488" y="2761"/>
                    <a:pt x="21600" y="4117"/>
                  </a:cubicBez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3" name="Shape 1464"/>
            <p:cNvSpPr/>
            <p:nvPr/>
          </p:nvSpPr>
          <p:spPr>
            <a:xfrm>
              <a:off x="1917934" y="456943"/>
              <a:ext cx="38464" cy="958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194"/>
                  </a:moveTo>
                  <a:lnTo>
                    <a:pt x="21600" y="21600"/>
                  </a:lnTo>
                  <a:lnTo>
                    <a:pt x="0" y="17196"/>
                  </a:lnTo>
                  <a:lnTo>
                    <a:pt x="0" y="0"/>
                  </a:lnTo>
                  <a:lnTo>
                    <a:pt x="21600" y="4194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4" name="Shape 1465"/>
            <p:cNvSpPr/>
            <p:nvPr/>
          </p:nvSpPr>
          <p:spPr>
            <a:xfrm>
              <a:off x="1956866" y="317606"/>
              <a:ext cx="216740" cy="2351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6944"/>
                  </a:lnTo>
                  <a:lnTo>
                    <a:pt x="0" y="21600"/>
                  </a:lnTo>
                  <a:lnTo>
                    <a:pt x="0" y="14528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5" name="Shape 1466"/>
            <p:cNvSpPr/>
            <p:nvPr/>
          </p:nvSpPr>
          <p:spPr>
            <a:xfrm>
              <a:off x="1309359" y="606526"/>
              <a:ext cx="38458" cy="1040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5885"/>
                  </a:lnTo>
                  <a:lnTo>
                    <a:pt x="0" y="21600"/>
                  </a:lnTo>
                  <a:lnTo>
                    <a:pt x="0" y="5715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6" name="Shape 1467"/>
            <p:cNvSpPr/>
            <p:nvPr/>
          </p:nvSpPr>
          <p:spPr>
            <a:xfrm>
              <a:off x="1045028" y="629066"/>
              <a:ext cx="272065" cy="1675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3889"/>
                  </a:moveTo>
                  <a:lnTo>
                    <a:pt x="21600" y="13881"/>
                  </a:lnTo>
                  <a:cubicBezTo>
                    <a:pt x="21600" y="14181"/>
                    <a:pt x="21600" y="14360"/>
                    <a:pt x="21490" y="14719"/>
                  </a:cubicBezTo>
                  <a:cubicBezTo>
                    <a:pt x="21490" y="14899"/>
                    <a:pt x="21490" y="14899"/>
                    <a:pt x="21416" y="15018"/>
                  </a:cubicBezTo>
                  <a:lnTo>
                    <a:pt x="21416" y="15557"/>
                  </a:lnTo>
                  <a:cubicBezTo>
                    <a:pt x="21306" y="15856"/>
                    <a:pt x="21306" y="16035"/>
                    <a:pt x="21195" y="16215"/>
                  </a:cubicBezTo>
                  <a:cubicBezTo>
                    <a:pt x="21195" y="16394"/>
                    <a:pt x="21195" y="16394"/>
                    <a:pt x="21085" y="16394"/>
                  </a:cubicBezTo>
                  <a:cubicBezTo>
                    <a:pt x="21085" y="16394"/>
                    <a:pt x="21085" y="16574"/>
                    <a:pt x="20974" y="16574"/>
                  </a:cubicBezTo>
                  <a:cubicBezTo>
                    <a:pt x="20901" y="16753"/>
                    <a:pt x="20901" y="16753"/>
                    <a:pt x="20901" y="16873"/>
                  </a:cubicBezTo>
                  <a:cubicBezTo>
                    <a:pt x="20790" y="17232"/>
                    <a:pt x="20680" y="17412"/>
                    <a:pt x="20570" y="17591"/>
                  </a:cubicBezTo>
                  <a:lnTo>
                    <a:pt x="20459" y="17711"/>
                  </a:lnTo>
                  <a:cubicBezTo>
                    <a:pt x="20275" y="18070"/>
                    <a:pt x="20055" y="18429"/>
                    <a:pt x="19834" y="18608"/>
                  </a:cubicBezTo>
                  <a:cubicBezTo>
                    <a:pt x="19834" y="18608"/>
                    <a:pt x="19760" y="18608"/>
                    <a:pt x="19760" y="18728"/>
                  </a:cubicBezTo>
                  <a:cubicBezTo>
                    <a:pt x="19539" y="19087"/>
                    <a:pt x="19319" y="19266"/>
                    <a:pt x="19135" y="19446"/>
                  </a:cubicBezTo>
                  <a:cubicBezTo>
                    <a:pt x="19024" y="19446"/>
                    <a:pt x="19024" y="19625"/>
                    <a:pt x="18914" y="19625"/>
                  </a:cubicBezTo>
                  <a:cubicBezTo>
                    <a:pt x="18803" y="19745"/>
                    <a:pt x="18693" y="19745"/>
                    <a:pt x="18509" y="19925"/>
                  </a:cubicBezTo>
                  <a:cubicBezTo>
                    <a:pt x="18509" y="19925"/>
                    <a:pt x="18509" y="19925"/>
                    <a:pt x="18399" y="19925"/>
                  </a:cubicBezTo>
                  <a:cubicBezTo>
                    <a:pt x="18067" y="20284"/>
                    <a:pt x="17663" y="20463"/>
                    <a:pt x="17368" y="20583"/>
                  </a:cubicBezTo>
                  <a:lnTo>
                    <a:pt x="17258" y="20583"/>
                  </a:lnTo>
                  <a:cubicBezTo>
                    <a:pt x="17148" y="20583"/>
                    <a:pt x="17037" y="20762"/>
                    <a:pt x="16927" y="20762"/>
                  </a:cubicBezTo>
                  <a:cubicBezTo>
                    <a:pt x="16743" y="20942"/>
                    <a:pt x="16632" y="20942"/>
                    <a:pt x="16412" y="20942"/>
                  </a:cubicBezTo>
                  <a:cubicBezTo>
                    <a:pt x="16301" y="20942"/>
                    <a:pt x="16301" y="21121"/>
                    <a:pt x="16228" y="21121"/>
                  </a:cubicBezTo>
                  <a:cubicBezTo>
                    <a:pt x="16117" y="21121"/>
                    <a:pt x="16007" y="21121"/>
                    <a:pt x="15896" y="21301"/>
                  </a:cubicBezTo>
                  <a:cubicBezTo>
                    <a:pt x="15786" y="21301"/>
                    <a:pt x="15602" y="21480"/>
                    <a:pt x="15492" y="21480"/>
                  </a:cubicBezTo>
                  <a:lnTo>
                    <a:pt x="14976" y="21480"/>
                  </a:lnTo>
                  <a:cubicBezTo>
                    <a:pt x="14866" y="21480"/>
                    <a:pt x="14645" y="21480"/>
                    <a:pt x="14535" y="21600"/>
                  </a:cubicBezTo>
                  <a:lnTo>
                    <a:pt x="11959" y="21600"/>
                  </a:lnTo>
                  <a:cubicBezTo>
                    <a:pt x="11628" y="21600"/>
                    <a:pt x="11444" y="21600"/>
                    <a:pt x="11113" y="21480"/>
                  </a:cubicBezTo>
                  <a:lnTo>
                    <a:pt x="10818" y="21480"/>
                  </a:lnTo>
                  <a:cubicBezTo>
                    <a:pt x="10414" y="21301"/>
                    <a:pt x="9972" y="21301"/>
                    <a:pt x="9457" y="21121"/>
                  </a:cubicBezTo>
                  <a:lnTo>
                    <a:pt x="9236" y="21121"/>
                  </a:lnTo>
                  <a:cubicBezTo>
                    <a:pt x="8647" y="20942"/>
                    <a:pt x="8022" y="20762"/>
                    <a:pt x="7470" y="20463"/>
                  </a:cubicBezTo>
                  <a:lnTo>
                    <a:pt x="7396" y="20463"/>
                  </a:lnTo>
                  <a:cubicBezTo>
                    <a:pt x="7286" y="20463"/>
                    <a:pt x="7286" y="20284"/>
                    <a:pt x="7175" y="20284"/>
                  </a:cubicBezTo>
                  <a:cubicBezTo>
                    <a:pt x="6881" y="20104"/>
                    <a:pt x="6550" y="19925"/>
                    <a:pt x="6256" y="19745"/>
                  </a:cubicBezTo>
                  <a:cubicBezTo>
                    <a:pt x="6145" y="19625"/>
                    <a:pt x="6035" y="19625"/>
                    <a:pt x="5924" y="19625"/>
                  </a:cubicBezTo>
                  <a:cubicBezTo>
                    <a:pt x="5520" y="19266"/>
                    <a:pt x="5188" y="19087"/>
                    <a:pt x="4784" y="18728"/>
                  </a:cubicBezTo>
                  <a:cubicBezTo>
                    <a:pt x="1766" y="16215"/>
                    <a:pt x="0" y="12984"/>
                    <a:pt x="0" y="9813"/>
                  </a:cubicBezTo>
                  <a:lnTo>
                    <a:pt x="0" y="0"/>
                  </a:lnTo>
                  <a:cubicBezTo>
                    <a:pt x="0" y="3052"/>
                    <a:pt x="1619" y="6402"/>
                    <a:pt x="4784" y="8975"/>
                  </a:cubicBezTo>
                  <a:cubicBezTo>
                    <a:pt x="5152" y="9274"/>
                    <a:pt x="5520" y="9454"/>
                    <a:pt x="5924" y="9813"/>
                  </a:cubicBezTo>
                  <a:cubicBezTo>
                    <a:pt x="6035" y="9992"/>
                    <a:pt x="6145" y="9992"/>
                    <a:pt x="6256" y="9992"/>
                  </a:cubicBezTo>
                  <a:cubicBezTo>
                    <a:pt x="6550" y="10112"/>
                    <a:pt x="6881" y="10291"/>
                    <a:pt x="7175" y="10471"/>
                  </a:cubicBezTo>
                  <a:cubicBezTo>
                    <a:pt x="7286" y="10471"/>
                    <a:pt x="7396" y="10650"/>
                    <a:pt x="7470" y="10650"/>
                  </a:cubicBezTo>
                  <a:cubicBezTo>
                    <a:pt x="8095" y="11009"/>
                    <a:pt x="8721" y="11129"/>
                    <a:pt x="9236" y="11309"/>
                  </a:cubicBezTo>
                  <a:cubicBezTo>
                    <a:pt x="9347" y="11309"/>
                    <a:pt x="9347" y="11488"/>
                    <a:pt x="9457" y="11488"/>
                  </a:cubicBezTo>
                  <a:cubicBezTo>
                    <a:pt x="9862" y="11668"/>
                    <a:pt x="10303" y="11668"/>
                    <a:pt x="10818" y="11847"/>
                  </a:cubicBezTo>
                  <a:lnTo>
                    <a:pt x="11113" y="11847"/>
                  </a:lnTo>
                  <a:cubicBezTo>
                    <a:pt x="11444" y="11847"/>
                    <a:pt x="11628" y="12027"/>
                    <a:pt x="11959" y="12027"/>
                  </a:cubicBezTo>
                  <a:lnTo>
                    <a:pt x="14461" y="12027"/>
                  </a:lnTo>
                  <a:cubicBezTo>
                    <a:pt x="14535" y="12027"/>
                    <a:pt x="14756" y="12027"/>
                    <a:pt x="14866" y="11847"/>
                  </a:cubicBezTo>
                  <a:cubicBezTo>
                    <a:pt x="15087" y="11847"/>
                    <a:pt x="15160" y="11668"/>
                    <a:pt x="15381" y="11668"/>
                  </a:cubicBezTo>
                  <a:cubicBezTo>
                    <a:pt x="15602" y="11668"/>
                    <a:pt x="15676" y="11488"/>
                    <a:pt x="15786" y="11488"/>
                  </a:cubicBezTo>
                  <a:cubicBezTo>
                    <a:pt x="15896" y="11488"/>
                    <a:pt x="16117" y="11309"/>
                    <a:pt x="16228" y="11309"/>
                  </a:cubicBezTo>
                  <a:cubicBezTo>
                    <a:pt x="16412" y="11129"/>
                    <a:pt x="16522" y="11129"/>
                    <a:pt x="16743" y="11129"/>
                  </a:cubicBezTo>
                  <a:cubicBezTo>
                    <a:pt x="16816" y="11129"/>
                    <a:pt x="16927" y="11009"/>
                    <a:pt x="17037" y="11009"/>
                  </a:cubicBezTo>
                  <a:cubicBezTo>
                    <a:pt x="17442" y="10830"/>
                    <a:pt x="17773" y="10650"/>
                    <a:pt x="18067" y="10291"/>
                  </a:cubicBezTo>
                  <a:cubicBezTo>
                    <a:pt x="18178" y="10112"/>
                    <a:pt x="18399" y="10112"/>
                    <a:pt x="18509" y="9992"/>
                  </a:cubicBezTo>
                  <a:cubicBezTo>
                    <a:pt x="18583" y="9992"/>
                    <a:pt x="18583" y="9813"/>
                    <a:pt x="18693" y="9813"/>
                  </a:cubicBezTo>
                  <a:cubicBezTo>
                    <a:pt x="18914" y="9633"/>
                    <a:pt x="19135" y="9274"/>
                    <a:pt x="19319" y="9155"/>
                  </a:cubicBezTo>
                  <a:cubicBezTo>
                    <a:pt x="19650" y="8796"/>
                    <a:pt x="19834" y="8437"/>
                    <a:pt x="20055" y="8137"/>
                  </a:cubicBezTo>
                  <a:lnTo>
                    <a:pt x="20165" y="7958"/>
                  </a:lnTo>
                  <a:cubicBezTo>
                    <a:pt x="20349" y="7599"/>
                    <a:pt x="20459" y="7300"/>
                    <a:pt x="20680" y="6941"/>
                  </a:cubicBezTo>
                  <a:cubicBezTo>
                    <a:pt x="20680" y="6941"/>
                    <a:pt x="20680" y="6761"/>
                    <a:pt x="20790" y="6761"/>
                  </a:cubicBezTo>
                  <a:cubicBezTo>
                    <a:pt x="20901" y="6402"/>
                    <a:pt x="20974" y="6103"/>
                    <a:pt x="21085" y="5744"/>
                  </a:cubicBezTo>
                  <a:lnTo>
                    <a:pt x="21085" y="5565"/>
                  </a:lnTo>
                  <a:cubicBezTo>
                    <a:pt x="21490" y="4727"/>
                    <a:pt x="21490" y="4248"/>
                    <a:pt x="21600" y="3889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7" name="Shape 1468"/>
            <p:cNvSpPr/>
            <p:nvPr/>
          </p:nvSpPr>
          <p:spPr>
            <a:xfrm>
              <a:off x="1346243" y="606526"/>
              <a:ext cx="255671" cy="2023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3457"/>
                  </a:moveTo>
                  <a:lnTo>
                    <a:pt x="21600" y="21600"/>
                  </a:lnTo>
                  <a:lnTo>
                    <a:pt x="0" y="8143"/>
                  </a:lnTo>
                  <a:lnTo>
                    <a:pt x="0" y="0"/>
                  </a:lnTo>
                  <a:lnTo>
                    <a:pt x="21600" y="13457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8" name="Shape 1469"/>
            <p:cNvSpPr/>
            <p:nvPr/>
          </p:nvSpPr>
          <p:spPr>
            <a:xfrm>
              <a:off x="1602376" y="573740"/>
              <a:ext cx="218788" cy="2351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6972"/>
                  </a:lnTo>
                  <a:lnTo>
                    <a:pt x="0" y="21600"/>
                  </a:lnTo>
                  <a:lnTo>
                    <a:pt x="0" y="14585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9" name="Shape 1470"/>
            <p:cNvSpPr/>
            <p:nvPr/>
          </p:nvSpPr>
          <p:spPr>
            <a:xfrm>
              <a:off x="952820" y="0"/>
              <a:ext cx="1220785" cy="7331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9355"/>
                  </a:moveTo>
                  <a:lnTo>
                    <a:pt x="17730" y="14026"/>
                  </a:lnTo>
                  <a:lnTo>
                    <a:pt x="17057" y="13478"/>
                  </a:lnTo>
                  <a:cubicBezTo>
                    <a:pt x="17262" y="12752"/>
                    <a:pt x="17196" y="12094"/>
                    <a:pt x="16777" y="11738"/>
                  </a:cubicBezTo>
                  <a:cubicBezTo>
                    <a:pt x="16054" y="11163"/>
                    <a:pt x="14625" y="11738"/>
                    <a:pt x="13556" y="13026"/>
                  </a:cubicBezTo>
                  <a:cubicBezTo>
                    <a:pt x="12488" y="14341"/>
                    <a:pt x="12209" y="15847"/>
                    <a:pt x="12932" y="16423"/>
                  </a:cubicBezTo>
                  <a:cubicBezTo>
                    <a:pt x="13343" y="16765"/>
                    <a:pt x="14017" y="16697"/>
                    <a:pt x="14690" y="16340"/>
                  </a:cubicBezTo>
                  <a:lnTo>
                    <a:pt x="15364" y="16888"/>
                  </a:lnTo>
                  <a:lnTo>
                    <a:pt x="11494" y="21600"/>
                  </a:lnTo>
                  <a:lnTo>
                    <a:pt x="6943" y="17888"/>
                  </a:lnTo>
                  <a:lnTo>
                    <a:pt x="6285" y="18696"/>
                  </a:lnTo>
                  <a:cubicBezTo>
                    <a:pt x="6515" y="19354"/>
                    <a:pt x="6441" y="20052"/>
                    <a:pt x="6031" y="20559"/>
                  </a:cubicBezTo>
                  <a:cubicBezTo>
                    <a:pt x="5308" y="21408"/>
                    <a:pt x="3862" y="21408"/>
                    <a:pt x="2777" y="20518"/>
                  </a:cubicBezTo>
                  <a:cubicBezTo>
                    <a:pt x="1684" y="19628"/>
                    <a:pt x="1389" y="18244"/>
                    <a:pt x="2112" y="17354"/>
                  </a:cubicBezTo>
                  <a:cubicBezTo>
                    <a:pt x="2522" y="16847"/>
                    <a:pt x="3171" y="16655"/>
                    <a:pt x="3870" y="16738"/>
                  </a:cubicBezTo>
                  <a:lnTo>
                    <a:pt x="4543" y="15916"/>
                  </a:lnTo>
                  <a:lnTo>
                    <a:pt x="0" y="12204"/>
                  </a:lnTo>
                  <a:lnTo>
                    <a:pt x="3870" y="7533"/>
                  </a:lnTo>
                  <a:lnTo>
                    <a:pt x="4543" y="8067"/>
                  </a:lnTo>
                  <a:cubicBezTo>
                    <a:pt x="4330" y="8807"/>
                    <a:pt x="4404" y="9465"/>
                    <a:pt x="4823" y="9807"/>
                  </a:cubicBezTo>
                  <a:cubicBezTo>
                    <a:pt x="5538" y="10396"/>
                    <a:pt x="6967" y="9848"/>
                    <a:pt x="8035" y="8533"/>
                  </a:cubicBezTo>
                  <a:cubicBezTo>
                    <a:pt x="9103" y="7218"/>
                    <a:pt x="9383" y="5712"/>
                    <a:pt x="8660" y="5136"/>
                  </a:cubicBezTo>
                  <a:cubicBezTo>
                    <a:pt x="8241" y="4794"/>
                    <a:pt x="7575" y="4862"/>
                    <a:pt x="6901" y="5219"/>
                  </a:cubicBezTo>
                  <a:lnTo>
                    <a:pt x="6236" y="4671"/>
                  </a:lnTo>
                  <a:lnTo>
                    <a:pt x="10098" y="0"/>
                  </a:lnTo>
                  <a:lnTo>
                    <a:pt x="14641" y="3698"/>
                  </a:lnTo>
                  <a:lnTo>
                    <a:pt x="15315" y="2890"/>
                  </a:lnTo>
                  <a:cubicBezTo>
                    <a:pt x="15085" y="2233"/>
                    <a:pt x="15150" y="1534"/>
                    <a:pt x="15569" y="1041"/>
                  </a:cubicBezTo>
                  <a:cubicBezTo>
                    <a:pt x="16292" y="192"/>
                    <a:pt x="17730" y="192"/>
                    <a:pt x="18815" y="1082"/>
                  </a:cubicBezTo>
                  <a:cubicBezTo>
                    <a:pt x="19907" y="1972"/>
                    <a:pt x="20211" y="3356"/>
                    <a:pt x="19488" y="4246"/>
                  </a:cubicBezTo>
                  <a:cubicBezTo>
                    <a:pt x="19069" y="4753"/>
                    <a:pt x="18420" y="4945"/>
                    <a:pt x="17730" y="4862"/>
                  </a:cubicBezTo>
                  <a:lnTo>
                    <a:pt x="17057" y="5671"/>
                  </a:lnTo>
                  <a:lnTo>
                    <a:pt x="21600" y="9355"/>
                  </a:lnTo>
                </a:path>
              </a:pathLst>
            </a:custGeom>
            <a:solidFill>
              <a:srgbClr val="EAFFE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0" name="Shape 1471"/>
            <p:cNvSpPr/>
            <p:nvPr/>
          </p:nvSpPr>
          <p:spPr>
            <a:xfrm>
              <a:off x="1791232" y="778303"/>
              <a:ext cx="346850" cy="2008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81" h="19646" extrusionOk="0">
                  <a:moveTo>
                    <a:pt x="2849" y="16759"/>
                  </a:moveTo>
                  <a:cubicBezTo>
                    <a:pt x="-949" y="12885"/>
                    <a:pt x="-949" y="6688"/>
                    <a:pt x="2849" y="2905"/>
                  </a:cubicBezTo>
                  <a:cubicBezTo>
                    <a:pt x="6726" y="-968"/>
                    <a:pt x="12897" y="-968"/>
                    <a:pt x="16774" y="2905"/>
                  </a:cubicBezTo>
                  <a:cubicBezTo>
                    <a:pt x="20651" y="6733"/>
                    <a:pt x="20651" y="12931"/>
                    <a:pt x="16774" y="16759"/>
                  </a:cubicBezTo>
                  <a:cubicBezTo>
                    <a:pt x="12897" y="20632"/>
                    <a:pt x="6726" y="20586"/>
                    <a:pt x="2849" y="16759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1" name="Shape 1472"/>
            <p:cNvSpPr/>
            <p:nvPr/>
          </p:nvSpPr>
          <p:spPr>
            <a:xfrm>
              <a:off x="1844191" y="820483"/>
              <a:ext cx="99532" cy="446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882" h="17564" extrusionOk="0">
                  <a:moveTo>
                    <a:pt x="6902" y="1562"/>
                  </a:moveTo>
                  <a:cubicBezTo>
                    <a:pt x="9520" y="2661"/>
                    <a:pt x="14850" y="-3563"/>
                    <a:pt x="19058" y="3210"/>
                  </a:cubicBezTo>
                  <a:cubicBezTo>
                    <a:pt x="20367" y="6139"/>
                    <a:pt x="20367" y="16939"/>
                    <a:pt x="17188" y="17488"/>
                  </a:cubicBezTo>
                  <a:cubicBezTo>
                    <a:pt x="14009" y="18037"/>
                    <a:pt x="13728" y="15474"/>
                    <a:pt x="11390" y="13827"/>
                  </a:cubicBezTo>
                  <a:cubicBezTo>
                    <a:pt x="9053" y="12912"/>
                    <a:pt x="1853" y="11813"/>
                    <a:pt x="263" y="8701"/>
                  </a:cubicBezTo>
                  <a:cubicBezTo>
                    <a:pt x="-1233" y="5590"/>
                    <a:pt x="4003" y="647"/>
                    <a:pt x="6902" y="1562"/>
                  </a:cubicBezTo>
                </a:path>
              </a:pathLst>
            </a:custGeom>
            <a:solidFill>
              <a:srgbClr val="47716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2" name="Shape 1473"/>
            <p:cNvSpPr/>
            <p:nvPr/>
          </p:nvSpPr>
          <p:spPr>
            <a:xfrm>
              <a:off x="1836955" y="647507"/>
              <a:ext cx="136138" cy="1886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193" h="20545" extrusionOk="0">
                  <a:moveTo>
                    <a:pt x="16801" y="7368"/>
                  </a:moveTo>
                  <a:cubicBezTo>
                    <a:pt x="12718" y="7267"/>
                    <a:pt x="9557" y="7671"/>
                    <a:pt x="10282" y="9538"/>
                  </a:cubicBezTo>
                  <a:cubicBezTo>
                    <a:pt x="11006" y="11355"/>
                    <a:pt x="14167" y="19935"/>
                    <a:pt x="14167" y="19935"/>
                  </a:cubicBezTo>
                  <a:cubicBezTo>
                    <a:pt x="11928" y="21600"/>
                    <a:pt x="7121" y="19329"/>
                    <a:pt x="7121" y="19329"/>
                  </a:cubicBezTo>
                  <a:cubicBezTo>
                    <a:pt x="7121" y="19329"/>
                    <a:pt x="2313" y="10800"/>
                    <a:pt x="799" y="8226"/>
                  </a:cubicBezTo>
                  <a:cubicBezTo>
                    <a:pt x="-716" y="5703"/>
                    <a:pt x="74" y="3684"/>
                    <a:pt x="1918" y="2826"/>
                  </a:cubicBezTo>
                  <a:cubicBezTo>
                    <a:pt x="3762" y="1968"/>
                    <a:pt x="14167" y="0"/>
                    <a:pt x="14167" y="0"/>
                  </a:cubicBezTo>
                  <a:cubicBezTo>
                    <a:pt x="19567" y="0"/>
                    <a:pt x="20884" y="7520"/>
                    <a:pt x="16801" y="7368"/>
                  </a:cubicBezTo>
                </a:path>
              </a:pathLst>
            </a:custGeom>
            <a:solidFill>
              <a:srgbClr val="4773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3" name="Shape 1474"/>
            <p:cNvSpPr/>
            <p:nvPr/>
          </p:nvSpPr>
          <p:spPr>
            <a:xfrm>
              <a:off x="2020518" y="870856"/>
              <a:ext cx="78982" cy="949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595" h="20530" extrusionOk="0">
                  <a:moveTo>
                    <a:pt x="4004" y="6229"/>
                  </a:moveTo>
                  <a:cubicBezTo>
                    <a:pt x="5868" y="2813"/>
                    <a:pt x="13653" y="0"/>
                    <a:pt x="13653" y="0"/>
                  </a:cubicBezTo>
                  <a:cubicBezTo>
                    <a:pt x="13653" y="0"/>
                    <a:pt x="20122" y="2813"/>
                    <a:pt x="18258" y="6028"/>
                  </a:cubicBezTo>
                  <a:cubicBezTo>
                    <a:pt x="16394" y="9343"/>
                    <a:pt x="14311" y="8841"/>
                    <a:pt x="13653" y="11654"/>
                  </a:cubicBezTo>
                  <a:cubicBezTo>
                    <a:pt x="12995" y="14467"/>
                    <a:pt x="9048" y="21600"/>
                    <a:pt x="3785" y="20394"/>
                  </a:cubicBezTo>
                  <a:cubicBezTo>
                    <a:pt x="-1478" y="19289"/>
                    <a:pt x="-601" y="15572"/>
                    <a:pt x="2469" y="15371"/>
                  </a:cubicBezTo>
                  <a:cubicBezTo>
                    <a:pt x="5649" y="14768"/>
                    <a:pt x="2250" y="9946"/>
                    <a:pt x="4004" y="6229"/>
                  </a:cubicBezTo>
                </a:path>
              </a:pathLst>
            </a:custGeom>
            <a:solidFill>
              <a:srgbClr val="47716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4" name="Shape 1475"/>
            <p:cNvSpPr/>
            <p:nvPr/>
          </p:nvSpPr>
          <p:spPr>
            <a:xfrm>
              <a:off x="1887198" y="452025"/>
              <a:ext cx="48723" cy="433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005" extrusionOk="0">
                  <a:moveTo>
                    <a:pt x="7873" y="80"/>
                  </a:moveTo>
                  <a:cubicBezTo>
                    <a:pt x="8479" y="-595"/>
                    <a:pt x="19379" y="3230"/>
                    <a:pt x="19379" y="3230"/>
                  </a:cubicBezTo>
                  <a:lnTo>
                    <a:pt x="21600" y="16505"/>
                  </a:lnTo>
                  <a:lnTo>
                    <a:pt x="3432" y="21005"/>
                  </a:lnTo>
                  <a:lnTo>
                    <a:pt x="0" y="7730"/>
                  </a:lnTo>
                  <a:cubicBezTo>
                    <a:pt x="606" y="7055"/>
                    <a:pt x="7873" y="80"/>
                    <a:pt x="7873" y="80"/>
                  </a:cubicBezTo>
                </a:path>
              </a:pathLst>
            </a:custGeom>
            <a:solidFill>
              <a:srgbClr val="FFE98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5" name="Shape 1476"/>
            <p:cNvSpPr/>
            <p:nvPr/>
          </p:nvSpPr>
          <p:spPr>
            <a:xfrm>
              <a:off x="1872855" y="374965"/>
              <a:ext cx="82977" cy="1020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54" h="21178" extrusionOk="0">
                  <a:moveTo>
                    <a:pt x="4126" y="7128"/>
                  </a:moveTo>
                  <a:cubicBezTo>
                    <a:pt x="4490" y="6555"/>
                    <a:pt x="3762" y="6268"/>
                    <a:pt x="2427" y="6555"/>
                  </a:cubicBezTo>
                  <a:cubicBezTo>
                    <a:pt x="1335" y="6268"/>
                    <a:pt x="728" y="5790"/>
                    <a:pt x="0" y="4643"/>
                  </a:cubicBezTo>
                  <a:cubicBezTo>
                    <a:pt x="971" y="3114"/>
                    <a:pt x="2063" y="1967"/>
                    <a:pt x="3034" y="1490"/>
                  </a:cubicBezTo>
                  <a:cubicBezTo>
                    <a:pt x="6189" y="151"/>
                    <a:pt x="9222" y="-422"/>
                    <a:pt x="12620" y="343"/>
                  </a:cubicBezTo>
                  <a:cubicBezTo>
                    <a:pt x="16139" y="916"/>
                    <a:pt x="18445" y="2254"/>
                    <a:pt x="19901" y="4452"/>
                  </a:cubicBezTo>
                  <a:cubicBezTo>
                    <a:pt x="20144" y="4930"/>
                    <a:pt x="20144" y="5504"/>
                    <a:pt x="20508" y="6077"/>
                  </a:cubicBezTo>
                  <a:cubicBezTo>
                    <a:pt x="21600" y="7702"/>
                    <a:pt x="21600" y="9518"/>
                    <a:pt x="21236" y="11429"/>
                  </a:cubicBezTo>
                  <a:cubicBezTo>
                    <a:pt x="20872" y="13819"/>
                    <a:pt x="20265" y="15443"/>
                    <a:pt x="19537" y="16590"/>
                  </a:cubicBezTo>
                  <a:cubicBezTo>
                    <a:pt x="18930" y="17642"/>
                    <a:pt x="18445" y="18215"/>
                    <a:pt x="18081" y="18406"/>
                  </a:cubicBezTo>
                  <a:cubicBezTo>
                    <a:pt x="17474" y="19266"/>
                    <a:pt x="17110" y="19840"/>
                    <a:pt x="16746" y="20031"/>
                  </a:cubicBezTo>
                  <a:cubicBezTo>
                    <a:pt x="16382" y="20031"/>
                    <a:pt x="15411" y="20318"/>
                    <a:pt x="14076" y="20605"/>
                  </a:cubicBezTo>
                  <a:cubicBezTo>
                    <a:pt x="12620" y="20891"/>
                    <a:pt x="11649" y="21178"/>
                    <a:pt x="10921" y="21178"/>
                  </a:cubicBezTo>
                  <a:cubicBezTo>
                    <a:pt x="10921" y="21178"/>
                    <a:pt x="10557" y="20891"/>
                    <a:pt x="9222" y="20891"/>
                  </a:cubicBezTo>
                  <a:cubicBezTo>
                    <a:pt x="7888" y="20891"/>
                    <a:pt x="6796" y="20031"/>
                    <a:pt x="6553" y="18406"/>
                  </a:cubicBezTo>
                  <a:lnTo>
                    <a:pt x="5461" y="16017"/>
                  </a:lnTo>
                  <a:cubicBezTo>
                    <a:pt x="5825" y="15443"/>
                    <a:pt x="6310" y="14583"/>
                    <a:pt x="6553" y="13819"/>
                  </a:cubicBezTo>
                  <a:cubicBezTo>
                    <a:pt x="6917" y="12959"/>
                    <a:pt x="6796" y="12481"/>
                    <a:pt x="6796" y="12003"/>
                  </a:cubicBezTo>
                  <a:cubicBezTo>
                    <a:pt x="6796" y="11429"/>
                    <a:pt x="6553" y="10856"/>
                    <a:pt x="5461" y="10378"/>
                  </a:cubicBezTo>
                  <a:cubicBezTo>
                    <a:pt x="4733" y="9805"/>
                    <a:pt x="4126" y="10091"/>
                    <a:pt x="3398" y="11143"/>
                  </a:cubicBezTo>
                  <a:cubicBezTo>
                    <a:pt x="3398" y="12290"/>
                    <a:pt x="3034" y="13054"/>
                    <a:pt x="3034" y="13628"/>
                  </a:cubicBezTo>
                  <a:lnTo>
                    <a:pt x="1699" y="13628"/>
                  </a:lnTo>
                  <a:cubicBezTo>
                    <a:pt x="1699" y="11716"/>
                    <a:pt x="1335" y="10665"/>
                    <a:pt x="1335" y="10091"/>
                  </a:cubicBezTo>
                  <a:cubicBezTo>
                    <a:pt x="3034" y="8466"/>
                    <a:pt x="3762" y="7702"/>
                    <a:pt x="4126" y="7128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6" name="Shape 1477"/>
            <p:cNvSpPr/>
            <p:nvPr/>
          </p:nvSpPr>
          <p:spPr>
            <a:xfrm>
              <a:off x="1869340" y="397520"/>
              <a:ext cx="29702" cy="855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84" h="21600" extrusionOk="0">
                  <a:moveTo>
                    <a:pt x="3130" y="15580"/>
                  </a:moveTo>
                  <a:cubicBezTo>
                    <a:pt x="229" y="13928"/>
                    <a:pt x="229" y="12275"/>
                    <a:pt x="229" y="9679"/>
                  </a:cubicBezTo>
                  <a:cubicBezTo>
                    <a:pt x="1196" y="7318"/>
                    <a:pt x="1196" y="5902"/>
                    <a:pt x="229" y="5311"/>
                  </a:cubicBezTo>
                  <a:cubicBezTo>
                    <a:pt x="-416" y="4013"/>
                    <a:pt x="229" y="2007"/>
                    <a:pt x="3130" y="0"/>
                  </a:cubicBezTo>
                  <a:cubicBezTo>
                    <a:pt x="4097" y="1298"/>
                    <a:pt x="6677" y="2243"/>
                    <a:pt x="9578" y="2243"/>
                  </a:cubicBezTo>
                  <a:cubicBezTo>
                    <a:pt x="13124" y="2243"/>
                    <a:pt x="14091" y="2597"/>
                    <a:pt x="14091" y="3305"/>
                  </a:cubicBezTo>
                  <a:cubicBezTo>
                    <a:pt x="13124" y="4013"/>
                    <a:pt x="11190" y="5311"/>
                    <a:pt x="6677" y="6964"/>
                  </a:cubicBezTo>
                  <a:cubicBezTo>
                    <a:pt x="6677" y="7672"/>
                    <a:pt x="6677" y="8970"/>
                    <a:pt x="7644" y="11331"/>
                  </a:cubicBezTo>
                  <a:lnTo>
                    <a:pt x="11190" y="11331"/>
                  </a:lnTo>
                  <a:cubicBezTo>
                    <a:pt x="11190" y="10623"/>
                    <a:pt x="12157" y="9679"/>
                    <a:pt x="12157" y="8262"/>
                  </a:cubicBezTo>
                  <a:cubicBezTo>
                    <a:pt x="13124" y="6964"/>
                    <a:pt x="15703" y="6610"/>
                    <a:pt x="17638" y="7318"/>
                  </a:cubicBezTo>
                  <a:cubicBezTo>
                    <a:pt x="19572" y="7908"/>
                    <a:pt x="21184" y="8616"/>
                    <a:pt x="21184" y="9325"/>
                  </a:cubicBezTo>
                  <a:cubicBezTo>
                    <a:pt x="21184" y="9679"/>
                    <a:pt x="21184" y="10623"/>
                    <a:pt x="20539" y="11567"/>
                  </a:cubicBezTo>
                  <a:cubicBezTo>
                    <a:pt x="20539" y="12630"/>
                    <a:pt x="19572" y="13574"/>
                    <a:pt x="17638" y="14282"/>
                  </a:cubicBezTo>
                  <a:lnTo>
                    <a:pt x="20539" y="17233"/>
                  </a:lnTo>
                  <a:cubicBezTo>
                    <a:pt x="19572" y="17587"/>
                    <a:pt x="18605" y="18295"/>
                    <a:pt x="17638" y="19593"/>
                  </a:cubicBezTo>
                  <a:cubicBezTo>
                    <a:pt x="17638" y="19948"/>
                    <a:pt x="16671" y="20302"/>
                    <a:pt x="15703" y="20892"/>
                  </a:cubicBezTo>
                  <a:lnTo>
                    <a:pt x="15059" y="21600"/>
                  </a:lnTo>
                  <a:lnTo>
                    <a:pt x="13124" y="21600"/>
                  </a:lnTo>
                  <a:cubicBezTo>
                    <a:pt x="11190" y="21600"/>
                    <a:pt x="9578" y="21600"/>
                    <a:pt x="7644" y="20892"/>
                  </a:cubicBezTo>
                  <a:cubicBezTo>
                    <a:pt x="5709" y="20302"/>
                    <a:pt x="4097" y="18649"/>
                    <a:pt x="3130" y="1558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7" name="Shape 1478"/>
            <p:cNvSpPr/>
            <p:nvPr/>
          </p:nvSpPr>
          <p:spPr>
            <a:xfrm>
              <a:off x="1934327" y="651605"/>
              <a:ext cx="147069" cy="2495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2919" y="1252"/>
                  </a:lnTo>
                  <a:cubicBezTo>
                    <a:pt x="12919" y="1252"/>
                    <a:pt x="12714" y="9326"/>
                    <a:pt x="12919" y="11830"/>
                  </a:cubicBezTo>
                  <a:lnTo>
                    <a:pt x="21600" y="19460"/>
                  </a:lnTo>
                  <a:cubicBezTo>
                    <a:pt x="21600" y="19460"/>
                    <a:pt x="18114" y="21600"/>
                    <a:pt x="15380" y="21600"/>
                  </a:cubicBezTo>
                  <a:cubicBezTo>
                    <a:pt x="15380" y="21600"/>
                    <a:pt x="7109" y="16351"/>
                    <a:pt x="5947" y="14131"/>
                  </a:cubicBezTo>
                  <a:cubicBezTo>
                    <a:pt x="4580" y="11951"/>
                    <a:pt x="0" y="0"/>
                    <a:pt x="0" y="0"/>
                  </a:cubicBezTo>
                </a:path>
              </a:pathLst>
            </a:custGeom>
            <a:solidFill>
              <a:srgbClr val="52858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8" name="Shape 1479"/>
            <p:cNvSpPr/>
            <p:nvPr/>
          </p:nvSpPr>
          <p:spPr>
            <a:xfrm>
              <a:off x="1788767" y="400912"/>
              <a:ext cx="106166" cy="1334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32" h="21385" extrusionOk="0">
                  <a:moveTo>
                    <a:pt x="18921" y="21385"/>
                  </a:moveTo>
                  <a:cubicBezTo>
                    <a:pt x="18921" y="21385"/>
                    <a:pt x="13410" y="18861"/>
                    <a:pt x="10832" y="17228"/>
                  </a:cubicBezTo>
                  <a:cubicBezTo>
                    <a:pt x="8343" y="15521"/>
                    <a:pt x="3632" y="7133"/>
                    <a:pt x="3632" y="7133"/>
                  </a:cubicBezTo>
                  <a:cubicBezTo>
                    <a:pt x="-1168" y="4387"/>
                    <a:pt x="-812" y="230"/>
                    <a:pt x="2388" y="8"/>
                  </a:cubicBezTo>
                  <a:cubicBezTo>
                    <a:pt x="5676" y="-215"/>
                    <a:pt x="6832" y="4610"/>
                    <a:pt x="6832" y="4610"/>
                  </a:cubicBezTo>
                  <a:cubicBezTo>
                    <a:pt x="9410" y="7133"/>
                    <a:pt x="16432" y="14037"/>
                    <a:pt x="16432" y="14037"/>
                  </a:cubicBezTo>
                  <a:lnTo>
                    <a:pt x="20432" y="14705"/>
                  </a:lnTo>
                  <a:lnTo>
                    <a:pt x="18921" y="21385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9" name="Shape 1480"/>
            <p:cNvSpPr/>
            <p:nvPr/>
          </p:nvSpPr>
          <p:spPr>
            <a:xfrm>
              <a:off x="1872737" y="487679"/>
              <a:ext cx="90592" cy="656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809" h="16554" extrusionOk="0">
                  <a:moveTo>
                    <a:pt x="18643" y="12678"/>
                  </a:moveTo>
                  <a:cubicBezTo>
                    <a:pt x="16415" y="21600"/>
                    <a:pt x="1402" y="12326"/>
                    <a:pt x="1402" y="12326"/>
                  </a:cubicBezTo>
                  <a:cubicBezTo>
                    <a:pt x="1402" y="12326"/>
                    <a:pt x="-826" y="8687"/>
                    <a:pt x="336" y="4696"/>
                  </a:cubicBezTo>
                  <a:cubicBezTo>
                    <a:pt x="1111" y="1057"/>
                    <a:pt x="1692" y="0"/>
                    <a:pt x="1692" y="0"/>
                  </a:cubicBezTo>
                  <a:cubicBezTo>
                    <a:pt x="1692" y="0"/>
                    <a:pt x="20774" y="3639"/>
                    <a:pt x="18643" y="12678"/>
                  </a:cubicBezTo>
                </a:path>
              </a:pathLst>
            </a:custGeom>
            <a:solidFill>
              <a:srgbClr val="47686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0" name="Shape 1481"/>
            <p:cNvSpPr/>
            <p:nvPr/>
          </p:nvSpPr>
          <p:spPr>
            <a:xfrm>
              <a:off x="1874904" y="482162"/>
              <a:ext cx="151166" cy="1932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7909" extrusionOk="0">
                  <a:moveTo>
                    <a:pt x="15600" y="2804"/>
                  </a:moveTo>
                  <a:cubicBezTo>
                    <a:pt x="18800" y="5741"/>
                    <a:pt x="21600" y="17189"/>
                    <a:pt x="21600" y="17189"/>
                  </a:cubicBezTo>
                  <a:cubicBezTo>
                    <a:pt x="14467" y="19263"/>
                    <a:pt x="3933" y="16196"/>
                    <a:pt x="3933" y="16196"/>
                  </a:cubicBezTo>
                  <a:lnTo>
                    <a:pt x="0" y="3279"/>
                  </a:lnTo>
                  <a:cubicBezTo>
                    <a:pt x="3733" y="-2337"/>
                    <a:pt x="13133" y="471"/>
                    <a:pt x="15600" y="2804"/>
                  </a:cubicBezTo>
                </a:path>
              </a:pathLst>
            </a:custGeom>
            <a:solidFill>
              <a:srgbClr val="477A7D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1" name="Shape 1482"/>
            <p:cNvSpPr/>
            <p:nvPr/>
          </p:nvSpPr>
          <p:spPr>
            <a:xfrm>
              <a:off x="1711533" y="468366"/>
              <a:ext cx="154713" cy="926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44" h="20017" extrusionOk="0">
                  <a:moveTo>
                    <a:pt x="20444" y="20017"/>
                  </a:moveTo>
                  <a:cubicBezTo>
                    <a:pt x="20444" y="20017"/>
                    <a:pt x="15794" y="19815"/>
                    <a:pt x="13346" y="18907"/>
                  </a:cubicBezTo>
                  <a:cubicBezTo>
                    <a:pt x="11082" y="17796"/>
                    <a:pt x="4535" y="9217"/>
                    <a:pt x="4535" y="9217"/>
                  </a:cubicBezTo>
                  <a:cubicBezTo>
                    <a:pt x="374" y="8107"/>
                    <a:pt x="-1156" y="2353"/>
                    <a:pt x="924" y="436"/>
                  </a:cubicBezTo>
                  <a:cubicBezTo>
                    <a:pt x="3005" y="-1583"/>
                    <a:pt x="5758" y="4069"/>
                    <a:pt x="5758" y="4069"/>
                  </a:cubicBezTo>
                  <a:cubicBezTo>
                    <a:pt x="8328" y="6088"/>
                    <a:pt x="15794" y="11841"/>
                    <a:pt x="15794" y="11841"/>
                  </a:cubicBezTo>
                  <a:lnTo>
                    <a:pt x="18731" y="10327"/>
                  </a:lnTo>
                  <a:lnTo>
                    <a:pt x="20444" y="20017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2" name="Shape 1483"/>
            <p:cNvSpPr/>
            <p:nvPr/>
          </p:nvSpPr>
          <p:spPr>
            <a:xfrm>
              <a:off x="1847496" y="505717"/>
              <a:ext cx="92559" cy="600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004" h="16752" extrusionOk="0">
                  <a:moveTo>
                    <a:pt x="19930" y="6532"/>
                  </a:moveTo>
                  <a:cubicBezTo>
                    <a:pt x="21324" y="17138"/>
                    <a:pt x="2511" y="16750"/>
                    <a:pt x="2511" y="16750"/>
                  </a:cubicBezTo>
                  <a:cubicBezTo>
                    <a:pt x="2511" y="16750"/>
                    <a:pt x="819" y="12999"/>
                    <a:pt x="222" y="8343"/>
                  </a:cubicBezTo>
                  <a:cubicBezTo>
                    <a:pt x="-276" y="3945"/>
                    <a:pt x="222" y="1746"/>
                    <a:pt x="222" y="1746"/>
                  </a:cubicBezTo>
                  <a:cubicBezTo>
                    <a:pt x="222" y="1746"/>
                    <a:pt x="18537" y="-4462"/>
                    <a:pt x="19930" y="6532"/>
                  </a:cubicBezTo>
                </a:path>
              </a:pathLst>
            </a:custGeom>
            <a:solidFill>
              <a:srgbClr val="475F5A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sp>
        <p:nvSpPr>
          <p:cNvPr id="393" name="Shape 1488"/>
          <p:cNvSpPr/>
          <p:nvPr/>
        </p:nvSpPr>
        <p:spPr>
          <a:xfrm>
            <a:off x="5440796" y="2297783"/>
            <a:ext cx="2494766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400">
                <a:solidFill>
                  <a:srgbClr val="726658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1. Executive </a:t>
            </a:r>
            <a:r>
              <a:rPr lang="en-US" altLang="de-DE" dirty="0"/>
              <a:t>Summary</a:t>
            </a:r>
          </a:p>
        </p:txBody>
      </p:sp>
      <p:sp>
        <p:nvSpPr>
          <p:cNvPr id="395" name="Shape 1392"/>
          <p:cNvSpPr/>
          <p:nvPr/>
        </p:nvSpPr>
        <p:spPr>
          <a:xfrm>
            <a:off x="5877113" y="1779946"/>
            <a:ext cx="348337" cy="3497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19101"/>
                </a:lnTo>
                <a:cubicBezTo>
                  <a:pt x="21600" y="20532"/>
                  <a:pt x="20507" y="21600"/>
                  <a:pt x="19090" y="21600"/>
                </a:cubicBezTo>
                <a:lnTo>
                  <a:pt x="2510" y="21600"/>
                </a:lnTo>
                <a:cubicBezTo>
                  <a:pt x="1093" y="21600"/>
                  <a:pt x="0" y="20472"/>
                  <a:pt x="0" y="19101"/>
                </a:cubicBezTo>
                <a:lnTo>
                  <a:pt x="0" y="6146"/>
                </a:lnTo>
                <a:lnTo>
                  <a:pt x="3320" y="6146"/>
                </a:lnTo>
                <a:lnTo>
                  <a:pt x="3320" y="0"/>
                </a:lnTo>
                <a:lnTo>
                  <a:pt x="21600" y="0"/>
                </a:lnTo>
                <a:close/>
                <a:moveTo>
                  <a:pt x="4919" y="1592"/>
                </a:moveTo>
                <a:lnTo>
                  <a:pt x="4919" y="17691"/>
                </a:lnTo>
                <a:cubicBezTo>
                  <a:pt x="4919" y="18134"/>
                  <a:pt x="4555" y="18477"/>
                  <a:pt x="4109" y="18477"/>
                </a:cubicBezTo>
                <a:cubicBezTo>
                  <a:pt x="3644" y="18477"/>
                  <a:pt x="3320" y="18134"/>
                  <a:pt x="3320" y="17691"/>
                </a:cubicBezTo>
                <a:lnTo>
                  <a:pt x="3320" y="7737"/>
                </a:lnTo>
                <a:lnTo>
                  <a:pt x="1539" y="7737"/>
                </a:lnTo>
                <a:lnTo>
                  <a:pt x="1539" y="19101"/>
                </a:lnTo>
                <a:cubicBezTo>
                  <a:pt x="1539" y="19625"/>
                  <a:pt x="2004" y="20008"/>
                  <a:pt x="2510" y="20008"/>
                </a:cubicBezTo>
                <a:lnTo>
                  <a:pt x="19151" y="20008"/>
                </a:lnTo>
                <a:cubicBezTo>
                  <a:pt x="19657" y="20008"/>
                  <a:pt x="20061" y="19625"/>
                  <a:pt x="20061" y="19101"/>
                </a:cubicBezTo>
                <a:lnTo>
                  <a:pt x="20061" y="1592"/>
                </a:lnTo>
                <a:lnTo>
                  <a:pt x="4919" y="1592"/>
                </a:lnTo>
                <a:close/>
                <a:moveTo>
                  <a:pt x="18462" y="3123"/>
                </a:moveTo>
                <a:lnTo>
                  <a:pt x="6518" y="3123"/>
                </a:lnTo>
                <a:lnTo>
                  <a:pt x="6518" y="9269"/>
                </a:lnTo>
                <a:lnTo>
                  <a:pt x="18462" y="9269"/>
                </a:lnTo>
                <a:lnTo>
                  <a:pt x="18462" y="3123"/>
                </a:lnTo>
                <a:close/>
                <a:moveTo>
                  <a:pt x="11539" y="10981"/>
                </a:moveTo>
                <a:lnTo>
                  <a:pt x="6518" y="10981"/>
                </a:lnTo>
                <a:lnTo>
                  <a:pt x="6518" y="12513"/>
                </a:lnTo>
                <a:lnTo>
                  <a:pt x="11539" y="12513"/>
                </a:lnTo>
                <a:lnTo>
                  <a:pt x="11539" y="10981"/>
                </a:lnTo>
                <a:close/>
                <a:moveTo>
                  <a:pt x="13482" y="12513"/>
                </a:moveTo>
                <a:lnTo>
                  <a:pt x="18462" y="12513"/>
                </a:lnTo>
                <a:lnTo>
                  <a:pt x="18462" y="10981"/>
                </a:lnTo>
                <a:lnTo>
                  <a:pt x="13482" y="10981"/>
                </a:lnTo>
                <a:lnTo>
                  <a:pt x="13482" y="12513"/>
                </a:lnTo>
                <a:close/>
                <a:moveTo>
                  <a:pt x="11539" y="13923"/>
                </a:moveTo>
                <a:lnTo>
                  <a:pt x="6518" y="13923"/>
                </a:lnTo>
                <a:lnTo>
                  <a:pt x="6518" y="15475"/>
                </a:lnTo>
                <a:lnTo>
                  <a:pt x="11539" y="15475"/>
                </a:lnTo>
                <a:lnTo>
                  <a:pt x="11539" y="13923"/>
                </a:lnTo>
                <a:close/>
                <a:moveTo>
                  <a:pt x="13482" y="15475"/>
                </a:moveTo>
                <a:lnTo>
                  <a:pt x="18462" y="15475"/>
                </a:lnTo>
                <a:lnTo>
                  <a:pt x="18462" y="13923"/>
                </a:lnTo>
                <a:lnTo>
                  <a:pt x="13482" y="13923"/>
                </a:lnTo>
                <a:lnTo>
                  <a:pt x="13482" y="15475"/>
                </a:lnTo>
                <a:close/>
                <a:moveTo>
                  <a:pt x="13482" y="18537"/>
                </a:moveTo>
                <a:lnTo>
                  <a:pt x="18462" y="18537"/>
                </a:lnTo>
                <a:lnTo>
                  <a:pt x="18462" y="17006"/>
                </a:lnTo>
                <a:lnTo>
                  <a:pt x="13482" y="17006"/>
                </a:lnTo>
                <a:lnTo>
                  <a:pt x="13482" y="18537"/>
                </a:lnTo>
                <a:close/>
                <a:moveTo>
                  <a:pt x="11539" y="17006"/>
                </a:moveTo>
                <a:lnTo>
                  <a:pt x="6518" y="17006"/>
                </a:lnTo>
                <a:lnTo>
                  <a:pt x="6518" y="18537"/>
                </a:lnTo>
                <a:lnTo>
                  <a:pt x="11539" y="18537"/>
                </a:lnTo>
                <a:lnTo>
                  <a:pt x="11539" y="17006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96" name="Shape 2963"/>
          <p:cNvSpPr/>
          <p:nvPr/>
        </p:nvSpPr>
        <p:spPr>
          <a:xfrm>
            <a:off x="6298067" y="3151061"/>
            <a:ext cx="326048" cy="4102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881" y="14735"/>
                </a:moveTo>
                <a:cubicBezTo>
                  <a:pt x="13821" y="14394"/>
                  <a:pt x="13370" y="14214"/>
                  <a:pt x="13370" y="13819"/>
                </a:cubicBezTo>
                <a:cubicBezTo>
                  <a:pt x="13370" y="13478"/>
                  <a:pt x="13709" y="13190"/>
                  <a:pt x="14543" y="13190"/>
                </a:cubicBezTo>
                <a:cubicBezTo>
                  <a:pt x="15309" y="13190"/>
                  <a:pt x="15918" y="13370"/>
                  <a:pt x="16211" y="13478"/>
                </a:cubicBezTo>
                <a:lnTo>
                  <a:pt x="16617" y="12309"/>
                </a:lnTo>
                <a:cubicBezTo>
                  <a:pt x="16234" y="12184"/>
                  <a:pt x="15783" y="12076"/>
                  <a:pt x="15152" y="12040"/>
                </a:cubicBezTo>
                <a:lnTo>
                  <a:pt x="15152" y="11088"/>
                </a:lnTo>
                <a:lnTo>
                  <a:pt x="13077" y="11088"/>
                </a:lnTo>
                <a:lnTo>
                  <a:pt x="13077" y="12184"/>
                </a:lnTo>
                <a:cubicBezTo>
                  <a:pt x="12018" y="12471"/>
                  <a:pt x="11409" y="13136"/>
                  <a:pt x="11409" y="13963"/>
                </a:cubicBezTo>
                <a:cubicBezTo>
                  <a:pt x="11409" y="14879"/>
                  <a:pt x="12288" y="15490"/>
                  <a:pt x="13663" y="15886"/>
                </a:cubicBezTo>
                <a:cubicBezTo>
                  <a:pt x="14633" y="16155"/>
                  <a:pt x="15016" y="16389"/>
                  <a:pt x="15016" y="16784"/>
                </a:cubicBezTo>
                <a:cubicBezTo>
                  <a:pt x="15016" y="17215"/>
                  <a:pt x="14565" y="17485"/>
                  <a:pt x="13754" y="17485"/>
                </a:cubicBezTo>
                <a:cubicBezTo>
                  <a:pt x="12965" y="17485"/>
                  <a:pt x="12198" y="17269"/>
                  <a:pt x="11702" y="17090"/>
                </a:cubicBezTo>
                <a:lnTo>
                  <a:pt x="11364" y="18294"/>
                </a:lnTo>
                <a:cubicBezTo>
                  <a:pt x="11702" y="18473"/>
                  <a:pt x="12401" y="18599"/>
                  <a:pt x="13100" y="18671"/>
                </a:cubicBezTo>
                <a:lnTo>
                  <a:pt x="13100" y="19587"/>
                </a:lnTo>
                <a:lnTo>
                  <a:pt x="15174" y="19587"/>
                </a:lnTo>
                <a:lnTo>
                  <a:pt x="15174" y="18509"/>
                </a:lnTo>
                <a:cubicBezTo>
                  <a:pt x="16347" y="18168"/>
                  <a:pt x="16910" y="17503"/>
                  <a:pt x="16910" y="16676"/>
                </a:cubicBezTo>
                <a:cubicBezTo>
                  <a:pt x="16978" y="15706"/>
                  <a:pt x="16301" y="15149"/>
                  <a:pt x="14881" y="14735"/>
                </a:cubicBezTo>
                <a:close/>
                <a:moveTo>
                  <a:pt x="18646" y="5984"/>
                </a:moveTo>
                <a:lnTo>
                  <a:pt x="18646" y="7188"/>
                </a:lnTo>
                <a:lnTo>
                  <a:pt x="9605" y="7188"/>
                </a:lnTo>
                <a:lnTo>
                  <a:pt x="9605" y="5984"/>
                </a:lnTo>
                <a:lnTo>
                  <a:pt x="18646" y="5984"/>
                </a:lnTo>
                <a:close/>
                <a:moveTo>
                  <a:pt x="18646" y="3576"/>
                </a:moveTo>
                <a:lnTo>
                  <a:pt x="18646" y="4798"/>
                </a:lnTo>
                <a:lnTo>
                  <a:pt x="9605" y="4798"/>
                </a:lnTo>
                <a:lnTo>
                  <a:pt x="9605" y="3576"/>
                </a:lnTo>
                <a:lnTo>
                  <a:pt x="18646" y="3576"/>
                </a:lnTo>
                <a:close/>
                <a:moveTo>
                  <a:pt x="21600" y="3235"/>
                </a:moveTo>
                <a:cubicBezTo>
                  <a:pt x="21555" y="1509"/>
                  <a:pt x="19841" y="144"/>
                  <a:pt x="17767" y="36"/>
                </a:cubicBezTo>
                <a:cubicBezTo>
                  <a:pt x="17699" y="36"/>
                  <a:pt x="17587" y="18"/>
                  <a:pt x="17519" y="18"/>
                </a:cubicBezTo>
                <a:cubicBezTo>
                  <a:pt x="17519" y="18"/>
                  <a:pt x="4149" y="0"/>
                  <a:pt x="4104" y="0"/>
                </a:cubicBezTo>
                <a:cubicBezTo>
                  <a:pt x="3224" y="0"/>
                  <a:pt x="2435" y="180"/>
                  <a:pt x="1781" y="557"/>
                </a:cubicBezTo>
                <a:cubicBezTo>
                  <a:pt x="1240" y="863"/>
                  <a:pt x="767" y="1276"/>
                  <a:pt x="451" y="1761"/>
                </a:cubicBezTo>
                <a:cubicBezTo>
                  <a:pt x="158" y="2192"/>
                  <a:pt x="0" y="2713"/>
                  <a:pt x="0" y="3253"/>
                </a:cubicBezTo>
                <a:lnTo>
                  <a:pt x="0" y="3342"/>
                </a:lnTo>
                <a:cubicBezTo>
                  <a:pt x="0" y="5139"/>
                  <a:pt x="1804" y="6613"/>
                  <a:pt x="4104" y="6613"/>
                </a:cubicBezTo>
                <a:cubicBezTo>
                  <a:pt x="5073" y="6613"/>
                  <a:pt x="5975" y="6325"/>
                  <a:pt x="6674" y="5858"/>
                </a:cubicBezTo>
                <a:lnTo>
                  <a:pt x="6674" y="21600"/>
                </a:lnTo>
                <a:lnTo>
                  <a:pt x="21600" y="21600"/>
                </a:lnTo>
                <a:lnTo>
                  <a:pt x="21600" y="3235"/>
                </a:lnTo>
                <a:close/>
                <a:moveTo>
                  <a:pt x="20112" y="3576"/>
                </a:moveTo>
                <a:lnTo>
                  <a:pt x="20112" y="20378"/>
                </a:lnTo>
                <a:lnTo>
                  <a:pt x="8162" y="20378"/>
                </a:lnTo>
                <a:cubicBezTo>
                  <a:pt x="8162" y="20378"/>
                  <a:pt x="8185" y="3342"/>
                  <a:pt x="8185" y="3253"/>
                </a:cubicBezTo>
                <a:cubicBezTo>
                  <a:pt x="8185" y="2498"/>
                  <a:pt x="7824" y="1761"/>
                  <a:pt x="7238" y="1204"/>
                </a:cubicBezTo>
                <a:lnTo>
                  <a:pt x="17564" y="1204"/>
                </a:lnTo>
                <a:cubicBezTo>
                  <a:pt x="19007" y="1420"/>
                  <a:pt x="20089" y="2408"/>
                  <a:pt x="20112" y="3576"/>
                </a:cubicBezTo>
                <a:close/>
                <a:moveTo>
                  <a:pt x="18646" y="8374"/>
                </a:moveTo>
                <a:lnTo>
                  <a:pt x="18646" y="9596"/>
                </a:lnTo>
                <a:lnTo>
                  <a:pt x="9605" y="9596"/>
                </a:lnTo>
                <a:lnTo>
                  <a:pt x="9605" y="8374"/>
                </a:lnTo>
                <a:lnTo>
                  <a:pt x="18646" y="8374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pSp>
        <p:nvGrpSpPr>
          <p:cNvPr id="397" name="bcgIcons_BarChartAnalysis">
            <a:extLst>
              <a:ext uri="{FF2B5EF4-FFF2-40B4-BE49-F238E27FC236}">
                <a16:creationId xmlns:a16="http://schemas.microsoft.com/office/drawing/2014/main" id="{32B50B14-3FFD-46C4-A9BB-B1DAD5BF33D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99180" y="4252467"/>
            <a:ext cx="453154" cy="491372"/>
            <a:chOff x="1682" y="0"/>
            <a:chExt cx="4316" cy="4320"/>
          </a:xfrm>
        </p:grpSpPr>
        <p:sp>
          <p:nvSpPr>
            <p:cNvPr id="398" name="AutoShape 13">
              <a:extLst>
                <a:ext uri="{FF2B5EF4-FFF2-40B4-BE49-F238E27FC236}">
                  <a16:creationId xmlns:a16="http://schemas.microsoft.com/office/drawing/2014/main" id="{2EA7B8A2-9428-4CA9-8BF1-97C056515EC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9" name="Freeform 28">
              <a:extLst>
                <a:ext uri="{FF2B5EF4-FFF2-40B4-BE49-F238E27FC236}">
                  <a16:creationId xmlns:a16="http://schemas.microsoft.com/office/drawing/2014/main" id="{E4E9C908-2225-4935-BE9B-CED0E639FE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1" y="855"/>
              <a:ext cx="2739" cy="2209"/>
            </a:xfrm>
            <a:custGeom>
              <a:avLst/>
              <a:gdLst>
                <a:gd name="T0" fmla="*/ 312 w 1462"/>
                <a:gd name="T1" fmla="*/ 609 h 1178"/>
                <a:gd name="T2" fmla="*/ 312 w 1462"/>
                <a:gd name="T3" fmla="*/ 1020 h 1178"/>
                <a:gd name="T4" fmla="*/ 303 w 1462"/>
                <a:gd name="T5" fmla="*/ 1030 h 1178"/>
                <a:gd name="T6" fmla="*/ 9 w 1462"/>
                <a:gd name="T7" fmla="*/ 1030 h 1178"/>
                <a:gd name="T8" fmla="*/ 0 w 1462"/>
                <a:gd name="T9" fmla="*/ 1020 h 1178"/>
                <a:gd name="T10" fmla="*/ 0 w 1462"/>
                <a:gd name="T11" fmla="*/ 609 h 1178"/>
                <a:gd name="T12" fmla="*/ 9 w 1462"/>
                <a:gd name="T13" fmla="*/ 600 h 1178"/>
                <a:gd name="T14" fmla="*/ 303 w 1462"/>
                <a:gd name="T15" fmla="*/ 600 h 1178"/>
                <a:gd name="T16" fmla="*/ 312 w 1462"/>
                <a:gd name="T17" fmla="*/ 609 h 1178"/>
                <a:gd name="T18" fmla="*/ 1453 w 1462"/>
                <a:gd name="T19" fmla="*/ 0 h 1178"/>
                <a:gd name="T20" fmla="*/ 1160 w 1462"/>
                <a:gd name="T21" fmla="*/ 0 h 1178"/>
                <a:gd name="T22" fmla="*/ 1150 w 1462"/>
                <a:gd name="T23" fmla="*/ 10 h 1178"/>
                <a:gd name="T24" fmla="*/ 1150 w 1462"/>
                <a:gd name="T25" fmla="*/ 420 h 1178"/>
                <a:gd name="T26" fmla="*/ 1286 w 1462"/>
                <a:gd name="T27" fmla="*/ 519 h 1178"/>
                <a:gd name="T28" fmla="*/ 1382 w 1462"/>
                <a:gd name="T29" fmla="*/ 1030 h 1178"/>
                <a:gd name="T30" fmla="*/ 1453 w 1462"/>
                <a:gd name="T31" fmla="*/ 1030 h 1178"/>
                <a:gd name="T32" fmla="*/ 1462 w 1462"/>
                <a:gd name="T33" fmla="*/ 1020 h 1178"/>
                <a:gd name="T34" fmla="*/ 1462 w 1462"/>
                <a:gd name="T35" fmla="*/ 10 h 1178"/>
                <a:gd name="T36" fmla="*/ 1453 w 1462"/>
                <a:gd name="T37" fmla="*/ 0 h 1178"/>
                <a:gd name="T38" fmla="*/ 735 w 1462"/>
                <a:gd name="T39" fmla="*/ 593 h 1178"/>
                <a:gd name="T40" fmla="*/ 715 w 1462"/>
                <a:gd name="T41" fmla="*/ 611 h 1178"/>
                <a:gd name="T42" fmla="*/ 706 w 1462"/>
                <a:gd name="T43" fmla="*/ 1077 h 1178"/>
                <a:gd name="T44" fmla="*/ 735 w 1462"/>
                <a:gd name="T45" fmla="*/ 1104 h 1178"/>
                <a:gd name="T46" fmla="*/ 735 w 1462"/>
                <a:gd name="T47" fmla="*/ 593 h 1178"/>
                <a:gd name="T48" fmla="*/ 944 w 1462"/>
                <a:gd name="T49" fmla="*/ 519 h 1178"/>
                <a:gd name="T50" fmla="*/ 838 w 1462"/>
                <a:gd name="T51" fmla="*/ 536 h 1178"/>
                <a:gd name="T52" fmla="*/ 838 w 1462"/>
                <a:gd name="T53" fmla="*/ 1161 h 1178"/>
                <a:gd name="T54" fmla="*/ 944 w 1462"/>
                <a:gd name="T55" fmla="*/ 1178 h 1178"/>
                <a:gd name="T56" fmla="*/ 1144 w 1462"/>
                <a:gd name="T57" fmla="*/ 1110 h 1178"/>
                <a:gd name="T58" fmla="*/ 1146 w 1462"/>
                <a:gd name="T59" fmla="*/ 1109 h 1178"/>
                <a:gd name="T60" fmla="*/ 1172 w 1462"/>
                <a:gd name="T61" fmla="*/ 1086 h 1178"/>
                <a:gd name="T62" fmla="*/ 1200 w 1462"/>
                <a:gd name="T63" fmla="*/ 1056 h 1178"/>
                <a:gd name="T64" fmla="*/ 1181 w 1462"/>
                <a:gd name="T65" fmla="*/ 620 h 1178"/>
                <a:gd name="T66" fmla="*/ 944 w 1462"/>
                <a:gd name="T67" fmla="*/ 519 h 1178"/>
                <a:gd name="T68" fmla="*/ 944 w 1462"/>
                <a:gd name="T69" fmla="*/ 374 h 1178"/>
                <a:gd name="T70" fmla="*/ 1079 w 1462"/>
                <a:gd name="T71" fmla="*/ 393 h 1178"/>
                <a:gd name="T72" fmla="*/ 1079 w 1462"/>
                <a:gd name="T73" fmla="*/ 253 h 1178"/>
                <a:gd name="T74" fmla="*/ 1069 w 1462"/>
                <a:gd name="T75" fmla="*/ 243 h 1178"/>
                <a:gd name="T76" fmla="*/ 776 w 1462"/>
                <a:gd name="T77" fmla="*/ 243 h 1178"/>
                <a:gd name="T78" fmla="*/ 766 w 1462"/>
                <a:gd name="T79" fmla="*/ 253 h 1178"/>
                <a:gd name="T80" fmla="*/ 766 w 1462"/>
                <a:gd name="T81" fmla="*/ 408 h 1178"/>
                <a:gd name="T82" fmla="*/ 944 w 1462"/>
                <a:gd name="T83" fmla="*/ 374 h 1178"/>
                <a:gd name="T84" fmla="*/ 614 w 1462"/>
                <a:gd name="T85" fmla="*/ 506 h 1178"/>
                <a:gd name="T86" fmla="*/ 696 w 1462"/>
                <a:gd name="T87" fmla="*/ 443 h 1178"/>
                <a:gd name="T88" fmla="*/ 696 w 1462"/>
                <a:gd name="T89" fmla="*/ 89 h 1178"/>
                <a:gd name="T90" fmla="*/ 686 w 1462"/>
                <a:gd name="T91" fmla="*/ 73 h 1178"/>
                <a:gd name="T92" fmla="*/ 393 w 1462"/>
                <a:gd name="T93" fmla="*/ 73 h 1178"/>
                <a:gd name="T94" fmla="*/ 383 w 1462"/>
                <a:gd name="T95" fmla="*/ 89 h 1178"/>
                <a:gd name="T96" fmla="*/ 383 w 1462"/>
                <a:gd name="T97" fmla="*/ 1015 h 1178"/>
                <a:gd name="T98" fmla="*/ 393 w 1462"/>
                <a:gd name="T99" fmla="*/ 1030 h 1178"/>
                <a:gd name="T100" fmla="*/ 505 w 1462"/>
                <a:gd name="T101" fmla="*/ 1030 h 1178"/>
                <a:gd name="T102" fmla="*/ 614 w 1462"/>
                <a:gd name="T103" fmla="*/ 506 h 1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62" h="1178">
                  <a:moveTo>
                    <a:pt x="312" y="609"/>
                  </a:moveTo>
                  <a:cubicBezTo>
                    <a:pt x="312" y="1020"/>
                    <a:pt x="312" y="1020"/>
                    <a:pt x="312" y="1020"/>
                  </a:cubicBezTo>
                  <a:cubicBezTo>
                    <a:pt x="312" y="1026"/>
                    <a:pt x="308" y="1030"/>
                    <a:pt x="303" y="1030"/>
                  </a:cubicBezTo>
                  <a:cubicBezTo>
                    <a:pt x="9" y="1030"/>
                    <a:pt x="9" y="1030"/>
                    <a:pt x="9" y="1030"/>
                  </a:cubicBezTo>
                  <a:cubicBezTo>
                    <a:pt x="4" y="1030"/>
                    <a:pt x="0" y="1026"/>
                    <a:pt x="0" y="1020"/>
                  </a:cubicBezTo>
                  <a:cubicBezTo>
                    <a:pt x="0" y="609"/>
                    <a:pt x="0" y="609"/>
                    <a:pt x="0" y="609"/>
                  </a:cubicBezTo>
                  <a:cubicBezTo>
                    <a:pt x="0" y="604"/>
                    <a:pt x="4" y="600"/>
                    <a:pt x="9" y="600"/>
                  </a:cubicBezTo>
                  <a:cubicBezTo>
                    <a:pt x="303" y="600"/>
                    <a:pt x="303" y="600"/>
                    <a:pt x="303" y="600"/>
                  </a:cubicBezTo>
                  <a:cubicBezTo>
                    <a:pt x="308" y="600"/>
                    <a:pt x="312" y="604"/>
                    <a:pt x="312" y="609"/>
                  </a:cubicBezTo>
                  <a:close/>
                  <a:moveTo>
                    <a:pt x="1453" y="0"/>
                  </a:moveTo>
                  <a:cubicBezTo>
                    <a:pt x="1160" y="0"/>
                    <a:pt x="1160" y="0"/>
                    <a:pt x="1160" y="0"/>
                  </a:cubicBezTo>
                  <a:cubicBezTo>
                    <a:pt x="1154" y="0"/>
                    <a:pt x="1150" y="4"/>
                    <a:pt x="1150" y="10"/>
                  </a:cubicBezTo>
                  <a:cubicBezTo>
                    <a:pt x="1150" y="420"/>
                    <a:pt x="1150" y="420"/>
                    <a:pt x="1150" y="420"/>
                  </a:cubicBezTo>
                  <a:cubicBezTo>
                    <a:pt x="1200" y="444"/>
                    <a:pt x="1246" y="478"/>
                    <a:pt x="1286" y="519"/>
                  </a:cubicBezTo>
                  <a:cubicBezTo>
                    <a:pt x="1419" y="658"/>
                    <a:pt x="1453" y="859"/>
                    <a:pt x="1382" y="1030"/>
                  </a:cubicBezTo>
                  <a:cubicBezTo>
                    <a:pt x="1453" y="1030"/>
                    <a:pt x="1453" y="1030"/>
                    <a:pt x="1453" y="1030"/>
                  </a:cubicBezTo>
                  <a:cubicBezTo>
                    <a:pt x="1458" y="1030"/>
                    <a:pt x="1462" y="1026"/>
                    <a:pt x="1462" y="1020"/>
                  </a:cubicBezTo>
                  <a:cubicBezTo>
                    <a:pt x="1462" y="10"/>
                    <a:pt x="1462" y="10"/>
                    <a:pt x="1462" y="10"/>
                  </a:cubicBezTo>
                  <a:cubicBezTo>
                    <a:pt x="1462" y="4"/>
                    <a:pt x="1458" y="0"/>
                    <a:pt x="1453" y="0"/>
                  </a:cubicBezTo>
                  <a:close/>
                  <a:moveTo>
                    <a:pt x="735" y="593"/>
                  </a:moveTo>
                  <a:cubicBezTo>
                    <a:pt x="728" y="599"/>
                    <a:pt x="721" y="605"/>
                    <a:pt x="715" y="611"/>
                  </a:cubicBezTo>
                  <a:cubicBezTo>
                    <a:pt x="584" y="737"/>
                    <a:pt x="580" y="946"/>
                    <a:pt x="706" y="1077"/>
                  </a:cubicBezTo>
                  <a:cubicBezTo>
                    <a:pt x="715" y="1087"/>
                    <a:pt x="725" y="1095"/>
                    <a:pt x="735" y="1104"/>
                  </a:cubicBezTo>
                  <a:lnTo>
                    <a:pt x="735" y="593"/>
                  </a:lnTo>
                  <a:close/>
                  <a:moveTo>
                    <a:pt x="944" y="519"/>
                  </a:moveTo>
                  <a:cubicBezTo>
                    <a:pt x="907" y="519"/>
                    <a:pt x="872" y="525"/>
                    <a:pt x="838" y="536"/>
                  </a:cubicBezTo>
                  <a:cubicBezTo>
                    <a:pt x="838" y="1161"/>
                    <a:pt x="838" y="1161"/>
                    <a:pt x="838" y="1161"/>
                  </a:cubicBezTo>
                  <a:cubicBezTo>
                    <a:pt x="872" y="1172"/>
                    <a:pt x="907" y="1178"/>
                    <a:pt x="944" y="1178"/>
                  </a:cubicBezTo>
                  <a:cubicBezTo>
                    <a:pt x="1016" y="1178"/>
                    <a:pt x="1087" y="1154"/>
                    <a:pt x="1144" y="1110"/>
                  </a:cubicBezTo>
                  <a:cubicBezTo>
                    <a:pt x="1146" y="1109"/>
                    <a:pt x="1146" y="1109"/>
                    <a:pt x="1146" y="1109"/>
                  </a:cubicBezTo>
                  <a:cubicBezTo>
                    <a:pt x="1153" y="1103"/>
                    <a:pt x="1162" y="1096"/>
                    <a:pt x="1172" y="1086"/>
                  </a:cubicBezTo>
                  <a:cubicBezTo>
                    <a:pt x="1182" y="1077"/>
                    <a:pt x="1191" y="1067"/>
                    <a:pt x="1200" y="1056"/>
                  </a:cubicBezTo>
                  <a:cubicBezTo>
                    <a:pt x="1304" y="927"/>
                    <a:pt x="1296" y="740"/>
                    <a:pt x="1181" y="620"/>
                  </a:cubicBezTo>
                  <a:cubicBezTo>
                    <a:pt x="1119" y="555"/>
                    <a:pt x="1034" y="519"/>
                    <a:pt x="944" y="519"/>
                  </a:cubicBezTo>
                  <a:close/>
                  <a:moveTo>
                    <a:pt x="944" y="374"/>
                  </a:moveTo>
                  <a:cubicBezTo>
                    <a:pt x="990" y="374"/>
                    <a:pt x="1036" y="380"/>
                    <a:pt x="1079" y="393"/>
                  </a:cubicBezTo>
                  <a:cubicBezTo>
                    <a:pt x="1079" y="253"/>
                    <a:pt x="1079" y="253"/>
                    <a:pt x="1079" y="253"/>
                  </a:cubicBezTo>
                  <a:cubicBezTo>
                    <a:pt x="1079" y="247"/>
                    <a:pt x="1075" y="243"/>
                    <a:pt x="1069" y="243"/>
                  </a:cubicBezTo>
                  <a:cubicBezTo>
                    <a:pt x="776" y="243"/>
                    <a:pt x="776" y="243"/>
                    <a:pt x="776" y="243"/>
                  </a:cubicBezTo>
                  <a:cubicBezTo>
                    <a:pt x="771" y="243"/>
                    <a:pt x="766" y="247"/>
                    <a:pt x="766" y="253"/>
                  </a:cubicBezTo>
                  <a:cubicBezTo>
                    <a:pt x="766" y="408"/>
                    <a:pt x="766" y="408"/>
                    <a:pt x="766" y="408"/>
                  </a:cubicBezTo>
                  <a:cubicBezTo>
                    <a:pt x="822" y="385"/>
                    <a:pt x="882" y="374"/>
                    <a:pt x="944" y="374"/>
                  </a:cubicBezTo>
                  <a:close/>
                  <a:moveTo>
                    <a:pt x="614" y="506"/>
                  </a:moveTo>
                  <a:cubicBezTo>
                    <a:pt x="639" y="482"/>
                    <a:pt x="667" y="461"/>
                    <a:pt x="696" y="443"/>
                  </a:cubicBezTo>
                  <a:cubicBezTo>
                    <a:pt x="696" y="89"/>
                    <a:pt x="696" y="89"/>
                    <a:pt x="696" y="89"/>
                  </a:cubicBezTo>
                  <a:cubicBezTo>
                    <a:pt x="696" y="80"/>
                    <a:pt x="691" y="73"/>
                    <a:pt x="686" y="73"/>
                  </a:cubicBezTo>
                  <a:cubicBezTo>
                    <a:pt x="393" y="73"/>
                    <a:pt x="393" y="73"/>
                    <a:pt x="393" y="73"/>
                  </a:cubicBezTo>
                  <a:cubicBezTo>
                    <a:pt x="387" y="73"/>
                    <a:pt x="383" y="80"/>
                    <a:pt x="383" y="89"/>
                  </a:cubicBezTo>
                  <a:cubicBezTo>
                    <a:pt x="383" y="1015"/>
                    <a:pt x="383" y="1015"/>
                    <a:pt x="383" y="1015"/>
                  </a:cubicBezTo>
                  <a:cubicBezTo>
                    <a:pt x="383" y="1023"/>
                    <a:pt x="387" y="1030"/>
                    <a:pt x="393" y="1030"/>
                  </a:cubicBezTo>
                  <a:cubicBezTo>
                    <a:pt x="505" y="1030"/>
                    <a:pt x="505" y="1030"/>
                    <a:pt x="505" y="1030"/>
                  </a:cubicBezTo>
                  <a:cubicBezTo>
                    <a:pt x="433" y="855"/>
                    <a:pt x="470" y="645"/>
                    <a:pt x="614" y="50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0" name="Freeform 29">
              <a:extLst>
                <a:ext uri="{FF2B5EF4-FFF2-40B4-BE49-F238E27FC236}">
                  <a16:creationId xmlns:a16="http://schemas.microsoft.com/office/drawing/2014/main" id="{07385039-B208-433D-97C3-719751E80D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63" y="667"/>
              <a:ext cx="3560" cy="3417"/>
            </a:xfrm>
            <a:custGeom>
              <a:avLst/>
              <a:gdLst>
                <a:gd name="T0" fmla="*/ 734 w 1900"/>
                <a:gd name="T1" fmla="*/ 1246 h 1822"/>
                <a:gd name="T2" fmla="*/ 1284 w 1900"/>
                <a:gd name="T3" fmla="*/ 1303 h 1822"/>
                <a:gd name="T4" fmla="*/ 1385 w 1900"/>
                <a:gd name="T5" fmla="*/ 1407 h 1822"/>
                <a:gd name="T6" fmla="*/ 1401 w 1900"/>
                <a:gd name="T7" fmla="*/ 1407 h 1822"/>
                <a:gd name="T8" fmla="*/ 1493 w 1900"/>
                <a:gd name="T9" fmla="*/ 1320 h 1822"/>
                <a:gd name="T10" fmla="*/ 1493 w 1900"/>
                <a:gd name="T11" fmla="*/ 1303 h 1822"/>
                <a:gd name="T12" fmla="*/ 1392 w 1900"/>
                <a:gd name="T13" fmla="*/ 1198 h 1822"/>
                <a:gd name="T14" fmla="*/ 1353 w 1900"/>
                <a:gd name="T15" fmla="*/ 651 h 1822"/>
                <a:gd name="T16" fmla="*/ 746 w 1900"/>
                <a:gd name="T17" fmla="*/ 639 h 1822"/>
                <a:gd name="T18" fmla="*/ 734 w 1900"/>
                <a:gd name="T19" fmla="*/ 1246 h 1822"/>
                <a:gd name="T20" fmla="*/ 1272 w 1900"/>
                <a:gd name="T21" fmla="*/ 1246 h 1822"/>
                <a:gd name="T22" fmla="*/ 773 w 1900"/>
                <a:gd name="T23" fmla="*/ 1209 h 1822"/>
                <a:gd name="T24" fmla="*/ 783 w 1900"/>
                <a:gd name="T25" fmla="*/ 678 h 1822"/>
                <a:gd name="T26" fmla="*/ 1314 w 1900"/>
                <a:gd name="T27" fmla="*/ 688 h 1822"/>
                <a:gd name="T28" fmla="*/ 1336 w 1900"/>
                <a:gd name="T29" fmla="*/ 1185 h 1822"/>
                <a:gd name="T30" fmla="*/ 1304 w 1900"/>
                <a:gd name="T31" fmla="*/ 1219 h 1822"/>
                <a:gd name="T32" fmla="*/ 1272 w 1900"/>
                <a:gd name="T33" fmla="*/ 1246 h 1822"/>
                <a:gd name="T34" fmla="*/ 1765 w 1900"/>
                <a:gd name="T35" fmla="*/ 1822 h 1822"/>
                <a:gd name="T36" fmla="*/ 1727 w 1900"/>
                <a:gd name="T37" fmla="*/ 1807 h 1822"/>
                <a:gd name="T38" fmla="*/ 1417 w 1900"/>
                <a:gd name="T39" fmla="*/ 1484 h 1822"/>
                <a:gd name="T40" fmla="*/ 1418 w 1900"/>
                <a:gd name="T41" fmla="*/ 1453 h 1822"/>
                <a:gd name="T42" fmla="*/ 1541 w 1900"/>
                <a:gd name="T43" fmla="*/ 1334 h 1822"/>
                <a:gd name="T44" fmla="*/ 1557 w 1900"/>
                <a:gd name="T45" fmla="*/ 1327 h 1822"/>
                <a:gd name="T46" fmla="*/ 1572 w 1900"/>
                <a:gd name="T47" fmla="*/ 1334 h 1822"/>
                <a:gd name="T48" fmla="*/ 1882 w 1900"/>
                <a:gd name="T49" fmla="*/ 1659 h 1822"/>
                <a:gd name="T50" fmla="*/ 1891 w 1900"/>
                <a:gd name="T51" fmla="*/ 1721 h 1822"/>
                <a:gd name="T52" fmla="*/ 1851 w 1900"/>
                <a:gd name="T53" fmla="*/ 1781 h 1822"/>
                <a:gd name="T54" fmla="*/ 1789 w 1900"/>
                <a:gd name="T55" fmla="*/ 1819 h 1822"/>
                <a:gd name="T56" fmla="*/ 1765 w 1900"/>
                <a:gd name="T57" fmla="*/ 1822 h 1822"/>
                <a:gd name="T58" fmla="*/ 1464 w 1900"/>
                <a:gd name="T59" fmla="*/ 1469 h 1822"/>
                <a:gd name="T60" fmla="*/ 1759 w 1900"/>
                <a:gd name="T61" fmla="*/ 1777 h 1822"/>
                <a:gd name="T62" fmla="*/ 1777 w 1900"/>
                <a:gd name="T63" fmla="*/ 1777 h 1822"/>
                <a:gd name="T64" fmla="*/ 1820 w 1900"/>
                <a:gd name="T65" fmla="*/ 1749 h 1822"/>
                <a:gd name="T66" fmla="*/ 1849 w 1900"/>
                <a:gd name="T67" fmla="*/ 1707 h 1822"/>
                <a:gd name="T68" fmla="*/ 1851 w 1900"/>
                <a:gd name="T69" fmla="*/ 1689 h 1822"/>
                <a:gd name="T70" fmla="*/ 1556 w 1900"/>
                <a:gd name="T71" fmla="*/ 1381 h 1822"/>
                <a:gd name="T72" fmla="*/ 1464 w 1900"/>
                <a:gd name="T73" fmla="*/ 1469 h 1822"/>
                <a:gd name="T74" fmla="*/ 1640 w 1900"/>
                <a:gd name="T75" fmla="*/ 0 h 1822"/>
                <a:gd name="T76" fmla="*/ 22 w 1900"/>
                <a:gd name="T77" fmla="*/ 0 h 1822"/>
                <a:gd name="T78" fmla="*/ 0 w 1900"/>
                <a:gd name="T79" fmla="*/ 22 h 1822"/>
                <a:gd name="T80" fmla="*/ 0 w 1900"/>
                <a:gd name="T81" fmla="*/ 1208 h 1822"/>
                <a:gd name="T82" fmla="*/ 22 w 1900"/>
                <a:gd name="T83" fmla="*/ 1230 h 1822"/>
                <a:gd name="T84" fmla="*/ 661 w 1900"/>
                <a:gd name="T85" fmla="*/ 1230 h 1822"/>
                <a:gd name="T86" fmla="*/ 633 w 1900"/>
                <a:gd name="T87" fmla="*/ 1186 h 1822"/>
                <a:gd name="T88" fmla="*/ 44 w 1900"/>
                <a:gd name="T89" fmla="*/ 1186 h 1822"/>
                <a:gd name="T90" fmla="*/ 44 w 1900"/>
                <a:gd name="T91" fmla="*/ 44 h 1822"/>
                <a:gd name="T92" fmla="*/ 1618 w 1900"/>
                <a:gd name="T93" fmla="*/ 44 h 1822"/>
                <a:gd name="T94" fmla="*/ 1618 w 1900"/>
                <a:gd name="T95" fmla="*/ 1186 h 1822"/>
                <a:gd name="T96" fmla="*/ 1454 w 1900"/>
                <a:gd name="T97" fmla="*/ 1186 h 1822"/>
                <a:gd name="T98" fmla="*/ 1451 w 1900"/>
                <a:gd name="T99" fmla="*/ 1192 h 1822"/>
                <a:gd name="T100" fmla="*/ 1487 w 1900"/>
                <a:gd name="T101" fmla="*/ 1230 h 1822"/>
                <a:gd name="T102" fmla="*/ 1640 w 1900"/>
                <a:gd name="T103" fmla="*/ 1230 h 1822"/>
                <a:gd name="T104" fmla="*/ 1662 w 1900"/>
                <a:gd name="T105" fmla="*/ 1208 h 1822"/>
                <a:gd name="T106" fmla="*/ 1662 w 1900"/>
                <a:gd name="T107" fmla="*/ 22 h 1822"/>
                <a:gd name="T108" fmla="*/ 1640 w 1900"/>
                <a:gd name="T109" fmla="*/ 0 h 18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900" h="1822">
                  <a:moveTo>
                    <a:pt x="734" y="1246"/>
                  </a:moveTo>
                  <a:cubicBezTo>
                    <a:pt x="881" y="1399"/>
                    <a:pt x="1115" y="1418"/>
                    <a:pt x="1284" y="1303"/>
                  </a:cubicBezTo>
                  <a:cubicBezTo>
                    <a:pt x="1284" y="1303"/>
                    <a:pt x="1284" y="1303"/>
                    <a:pt x="1385" y="1407"/>
                  </a:cubicBezTo>
                  <a:cubicBezTo>
                    <a:pt x="1389" y="1412"/>
                    <a:pt x="1397" y="1412"/>
                    <a:pt x="1401" y="1407"/>
                  </a:cubicBezTo>
                  <a:cubicBezTo>
                    <a:pt x="1401" y="1407"/>
                    <a:pt x="1401" y="1407"/>
                    <a:pt x="1493" y="1320"/>
                  </a:cubicBezTo>
                  <a:cubicBezTo>
                    <a:pt x="1498" y="1315"/>
                    <a:pt x="1498" y="1308"/>
                    <a:pt x="1493" y="1303"/>
                  </a:cubicBezTo>
                  <a:cubicBezTo>
                    <a:pt x="1493" y="1303"/>
                    <a:pt x="1493" y="1303"/>
                    <a:pt x="1392" y="1198"/>
                  </a:cubicBezTo>
                  <a:cubicBezTo>
                    <a:pt x="1510" y="1033"/>
                    <a:pt x="1498" y="802"/>
                    <a:pt x="1353" y="651"/>
                  </a:cubicBezTo>
                  <a:cubicBezTo>
                    <a:pt x="1188" y="480"/>
                    <a:pt x="917" y="475"/>
                    <a:pt x="746" y="639"/>
                  </a:cubicBezTo>
                  <a:cubicBezTo>
                    <a:pt x="576" y="803"/>
                    <a:pt x="571" y="1075"/>
                    <a:pt x="734" y="1246"/>
                  </a:cubicBezTo>
                  <a:close/>
                  <a:moveTo>
                    <a:pt x="1272" y="1246"/>
                  </a:moveTo>
                  <a:cubicBezTo>
                    <a:pt x="1123" y="1361"/>
                    <a:pt x="907" y="1348"/>
                    <a:pt x="773" y="1209"/>
                  </a:cubicBezTo>
                  <a:cubicBezTo>
                    <a:pt x="630" y="1060"/>
                    <a:pt x="634" y="821"/>
                    <a:pt x="783" y="678"/>
                  </a:cubicBezTo>
                  <a:cubicBezTo>
                    <a:pt x="932" y="534"/>
                    <a:pt x="1171" y="539"/>
                    <a:pt x="1314" y="688"/>
                  </a:cubicBezTo>
                  <a:cubicBezTo>
                    <a:pt x="1447" y="826"/>
                    <a:pt x="1453" y="1040"/>
                    <a:pt x="1336" y="1185"/>
                  </a:cubicBezTo>
                  <a:cubicBezTo>
                    <a:pt x="1326" y="1197"/>
                    <a:pt x="1315" y="1208"/>
                    <a:pt x="1304" y="1219"/>
                  </a:cubicBezTo>
                  <a:cubicBezTo>
                    <a:pt x="1294" y="1229"/>
                    <a:pt x="1284" y="1238"/>
                    <a:pt x="1272" y="1246"/>
                  </a:cubicBezTo>
                  <a:close/>
                  <a:moveTo>
                    <a:pt x="1765" y="1822"/>
                  </a:moveTo>
                  <a:cubicBezTo>
                    <a:pt x="1750" y="1822"/>
                    <a:pt x="1736" y="1817"/>
                    <a:pt x="1727" y="1807"/>
                  </a:cubicBezTo>
                  <a:cubicBezTo>
                    <a:pt x="1417" y="1484"/>
                    <a:pt x="1417" y="1484"/>
                    <a:pt x="1417" y="1484"/>
                  </a:cubicBezTo>
                  <a:cubicBezTo>
                    <a:pt x="1409" y="1475"/>
                    <a:pt x="1409" y="1461"/>
                    <a:pt x="1418" y="1453"/>
                  </a:cubicBezTo>
                  <a:cubicBezTo>
                    <a:pt x="1541" y="1334"/>
                    <a:pt x="1541" y="1334"/>
                    <a:pt x="1541" y="1334"/>
                  </a:cubicBezTo>
                  <a:cubicBezTo>
                    <a:pt x="1545" y="1330"/>
                    <a:pt x="1551" y="1327"/>
                    <a:pt x="1557" y="1327"/>
                  </a:cubicBezTo>
                  <a:cubicBezTo>
                    <a:pt x="1563" y="1328"/>
                    <a:pt x="1568" y="1330"/>
                    <a:pt x="1572" y="1334"/>
                  </a:cubicBezTo>
                  <a:cubicBezTo>
                    <a:pt x="1882" y="1659"/>
                    <a:pt x="1882" y="1659"/>
                    <a:pt x="1882" y="1659"/>
                  </a:cubicBezTo>
                  <a:cubicBezTo>
                    <a:pt x="1896" y="1673"/>
                    <a:pt x="1900" y="1696"/>
                    <a:pt x="1891" y="1721"/>
                  </a:cubicBezTo>
                  <a:cubicBezTo>
                    <a:pt x="1884" y="1742"/>
                    <a:pt x="1870" y="1763"/>
                    <a:pt x="1851" y="1781"/>
                  </a:cubicBezTo>
                  <a:cubicBezTo>
                    <a:pt x="1832" y="1799"/>
                    <a:pt x="1810" y="1813"/>
                    <a:pt x="1789" y="1819"/>
                  </a:cubicBezTo>
                  <a:cubicBezTo>
                    <a:pt x="1781" y="1821"/>
                    <a:pt x="1773" y="1822"/>
                    <a:pt x="1765" y="1822"/>
                  </a:cubicBezTo>
                  <a:close/>
                  <a:moveTo>
                    <a:pt x="1464" y="1469"/>
                  </a:moveTo>
                  <a:cubicBezTo>
                    <a:pt x="1759" y="1777"/>
                    <a:pt x="1759" y="1777"/>
                    <a:pt x="1759" y="1777"/>
                  </a:cubicBezTo>
                  <a:cubicBezTo>
                    <a:pt x="1760" y="1778"/>
                    <a:pt x="1766" y="1780"/>
                    <a:pt x="1777" y="1777"/>
                  </a:cubicBezTo>
                  <a:cubicBezTo>
                    <a:pt x="1791" y="1773"/>
                    <a:pt x="1806" y="1763"/>
                    <a:pt x="1820" y="1749"/>
                  </a:cubicBezTo>
                  <a:cubicBezTo>
                    <a:pt x="1834" y="1736"/>
                    <a:pt x="1845" y="1721"/>
                    <a:pt x="1849" y="1707"/>
                  </a:cubicBezTo>
                  <a:cubicBezTo>
                    <a:pt x="1853" y="1696"/>
                    <a:pt x="1852" y="1690"/>
                    <a:pt x="1851" y="1689"/>
                  </a:cubicBezTo>
                  <a:cubicBezTo>
                    <a:pt x="1556" y="1381"/>
                    <a:pt x="1556" y="1381"/>
                    <a:pt x="1556" y="1381"/>
                  </a:cubicBezTo>
                  <a:lnTo>
                    <a:pt x="1464" y="1469"/>
                  </a:lnTo>
                  <a:close/>
                  <a:moveTo>
                    <a:pt x="1640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1208"/>
                    <a:pt x="0" y="1208"/>
                    <a:pt x="0" y="1208"/>
                  </a:cubicBezTo>
                  <a:cubicBezTo>
                    <a:pt x="0" y="1220"/>
                    <a:pt x="10" y="1230"/>
                    <a:pt x="22" y="1230"/>
                  </a:cubicBezTo>
                  <a:cubicBezTo>
                    <a:pt x="661" y="1230"/>
                    <a:pt x="661" y="1230"/>
                    <a:pt x="661" y="1230"/>
                  </a:cubicBezTo>
                  <a:cubicBezTo>
                    <a:pt x="651" y="1216"/>
                    <a:pt x="641" y="1201"/>
                    <a:pt x="633" y="1186"/>
                  </a:cubicBezTo>
                  <a:cubicBezTo>
                    <a:pt x="44" y="1186"/>
                    <a:pt x="44" y="1186"/>
                    <a:pt x="44" y="1186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1618" y="44"/>
                    <a:pt x="1618" y="44"/>
                    <a:pt x="1618" y="44"/>
                  </a:cubicBezTo>
                  <a:cubicBezTo>
                    <a:pt x="1618" y="1186"/>
                    <a:pt x="1618" y="1186"/>
                    <a:pt x="1618" y="1186"/>
                  </a:cubicBezTo>
                  <a:cubicBezTo>
                    <a:pt x="1454" y="1186"/>
                    <a:pt x="1454" y="1186"/>
                    <a:pt x="1454" y="1186"/>
                  </a:cubicBezTo>
                  <a:cubicBezTo>
                    <a:pt x="1453" y="1188"/>
                    <a:pt x="1452" y="1190"/>
                    <a:pt x="1451" y="1192"/>
                  </a:cubicBezTo>
                  <a:cubicBezTo>
                    <a:pt x="1487" y="1230"/>
                    <a:pt x="1487" y="1230"/>
                    <a:pt x="1487" y="1230"/>
                  </a:cubicBezTo>
                  <a:cubicBezTo>
                    <a:pt x="1640" y="1230"/>
                    <a:pt x="1640" y="1230"/>
                    <a:pt x="1640" y="1230"/>
                  </a:cubicBezTo>
                  <a:cubicBezTo>
                    <a:pt x="1652" y="1230"/>
                    <a:pt x="1662" y="1220"/>
                    <a:pt x="1662" y="1208"/>
                  </a:cubicBezTo>
                  <a:cubicBezTo>
                    <a:pt x="1662" y="22"/>
                    <a:pt x="1662" y="22"/>
                    <a:pt x="1662" y="22"/>
                  </a:cubicBezTo>
                  <a:cubicBezTo>
                    <a:pt x="1662" y="10"/>
                    <a:pt x="1652" y="0"/>
                    <a:pt x="164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401" name="Shape 2872"/>
          <p:cNvSpPr/>
          <p:nvPr/>
        </p:nvSpPr>
        <p:spPr>
          <a:xfrm>
            <a:off x="4579270" y="4909175"/>
            <a:ext cx="69757" cy="6975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744"/>
                  <a:pt x="21168" y="14472"/>
                  <a:pt x="20088" y="16200"/>
                </a:cubicBezTo>
                <a:cubicBezTo>
                  <a:pt x="19116" y="17928"/>
                  <a:pt x="17928" y="19008"/>
                  <a:pt x="16200" y="20088"/>
                </a:cubicBezTo>
                <a:cubicBezTo>
                  <a:pt x="14472" y="21060"/>
                  <a:pt x="12744" y="21600"/>
                  <a:pt x="10800" y="21600"/>
                </a:cubicBezTo>
                <a:cubicBezTo>
                  <a:pt x="8856" y="21600"/>
                  <a:pt x="7128" y="21060"/>
                  <a:pt x="5400" y="20088"/>
                </a:cubicBezTo>
                <a:cubicBezTo>
                  <a:pt x="3672" y="19008"/>
                  <a:pt x="2484" y="17928"/>
                  <a:pt x="1404" y="16200"/>
                </a:cubicBezTo>
                <a:cubicBezTo>
                  <a:pt x="432" y="14472"/>
                  <a:pt x="0" y="12744"/>
                  <a:pt x="0" y="10800"/>
                </a:cubicBezTo>
                <a:cubicBezTo>
                  <a:pt x="0" y="8856"/>
                  <a:pt x="432" y="7128"/>
                  <a:pt x="1404" y="5400"/>
                </a:cubicBezTo>
                <a:cubicBezTo>
                  <a:pt x="2484" y="3672"/>
                  <a:pt x="3672" y="2376"/>
                  <a:pt x="5400" y="1404"/>
                </a:cubicBezTo>
                <a:cubicBezTo>
                  <a:pt x="7128" y="324"/>
                  <a:pt x="8856" y="0"/>
                  <a:pt x="10800" y="0"/>
                </a:cubicBezTo>
                <a:cubicBezTo>
                  <a:pt x="12744" y="0"/>
                  <a:pt x="14472" y="324"/>
                  <a:pt x="16200" y="1404"/>
                </a:cubicBezTo>
                <a:cubicBezTo>
                  <a:pt x="17928" y="2376"/>
                  <a:pt x="19116" y="3672"/>
                  <a:pt x="20088" y="5400"/>
                </a:cubicBezTo>
                <a:cubicBezTo>
                  <a:pt x="21168" y="7128"/>
                  <a:pt x="21600" y="8856"/>
                  <a:pt x="21600" y="1080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2" name="Shape 2873"/>
          <p:cNvSpPr/>
          <p:nvPr/>
        </p:nvSpPr>
        <p:spPr>
          <a:xfrm>
            <a:off x="4528770" y="4986902"/>
            <a:ext cx="172076" cy="3379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36" h="21600" extrusionOk="0">
                <a:moveTo>
                  <a:pt x="5236" y="0"/>
                </a:moveTo>
                <a:lnTo>
                  <a:pt x="16036" y="0"/>
                </a:lnTo>
                <a:cubicBezTo>
                  <a:pt x="19060" y="0"/>
                  <a:pt x="21436" y="1236"/>
                  <a:pt x="21436" y="2758"/>
                </a:cubicBezTo>
                <a:lnTo>
                  <a:pt x="21436" y="9509"/>
                </a:lnTo>
                <a:cubicBezTo>
                  <a:pt x="21436" y="10039"/>
                  <a:pt x="20615" y="10480"/>
                  <a:pt x="19492" y="10480"/>
                </a:cubicBezTo>
                <a:cubicBezTo>
                  <a:pt x="18412" y="10480"/>
                  <a:pt x="17591" y="10061"/>
                  <a:pt x="17591" y="9509"/>
                </a:cubicBezTo>
                <a:lnTo>
                  <a:pt x="17591" y="3332"/>
                </a:lnTo>
                <a:cubicBezTo>
                  <a:pt x="17591" y="3199"/>
                  <a:pt x="17375" y="3067"/>
                  <a:pt x="17073" y="3067"/>
                </a:cubicBezTo>
                <a:cubicBezTo>
                  <a:pt x="16814" y="3067"/>
                  <a:pt x="16554" y="3155"/>
                  <a:pt x="16554" y="3332"/>
                </a:cubicBezTo>
                <a:lnTo>
                  <a:pt x="16554" y="20034"/>
                </a:lnTo>
                <a:cubicBezTo>
                  <a:pt x="16554" y="20872"/>
                  <a:pt x="15345" y="21556"/>
                  <a:pt x="13876" y="21556"/>
                </a:cubicBezTo>
                <a:cubicBezTo>
                  <a:pt x="12450" y="21556"/>
                  <a:pt x="11241" y="20894"/>
                  <a:pt x="11241" y="20034"/>
                </a:cubicBezTo>
                <a:lnTo>
                  <a:pt x="11241" y="10546"/>
                </a:lnTo>
                <a:cubicBezTo>
                  <a:pt x="11241" y="10414"/>
                  <a:pt x="11025" y="10282"/>
                  <a:pt x="10722" y="10282"/>
                </a:cubicBezTo>
                <a:cubicBezTo>
                  <a:pt x="10463" y="10282"/>
                  <a:pt x="10204" y="10370"/>
                  <a:pt x="10204" y="10546"/>
                </a:cubicBezTo>
                <a:lnTo>
                  <a:pt x="10204" y="20100"/>
                </a:lnTo>
                <a:cubicBezTo>
                  <a:pt x="10204" y="20916"/>
                  <a:pt x="9038" y="21600"/>
                  <a:pt x="7569" y="21600"/>
                </a:cubicBezTo>
                <a:cubicBezTo>
                  <a:pt x="6143" y="21600"/>
                  <a:pt x="4890" y="20938"/>
                  <a:pt x="4890" y="20100"/>
                </a:cubicBezTo>
                <a:lnTo>
                  <a:pt x="4890" y="3354"/>
                </a:lnTo>
                <a:cubicBezTo>
                  <a:pt x="4890" y="3221"/>
                  <a:pt x="4718" y="3089"/>
                  <a:pt x="4372" y="3089"/>
                </a:cubicBezTo>
                <a:cubicBezTo>
                  <a:pt x="4113" y="3089"/>
                  <a:pt x="3854" y="3199"/>
                  <a:pt x="3854" y="3354"/>
                </a:cubicBezTo>
                <a:lnTo>
                  <a:pt x="3854" y="9553"/>
                </a:lnTo>
                <a:cubicBezTo>
                  <a:pt x="3854" y="10083"/>
                  <a:pt x="3033" y="10546"/>
                  <a:pt x="1953" y="10546"/>
                </a:cubicBezTo>
                <a:cubicBezTo>
                  <a:pt x="873" y="10546"/>
                  <a:pt x="9" y="10105"/>
                  <a:pt x="9" y="9553"/>
                </a:cubicBezTo>
                <a:lnTo>
                  <a:pt x="9" y="2780"/>
                </a:lnTo>
                <a:cubicBezTo>
                  <a:pt x="-164" y="1236"/>
                  <a:pt x="2255" y="0"/>
                  <a:pt x="5236" y="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3" name="Shape 2874"/>
          <p:cNvSpPr/>
          <p:nvPr/>
        </p:nvSpPr>
        <p:spPr>
          <a:xfrm>
            <a:off x="4387241" y="4909175"/>
            <a:ext cx="69758" cy="6975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744"/>
                  <a:pt x="21168" y="14472"/>
                  <a:pt x="20088" y="16200"/>
                </a:cubicBezTo>
                <a:cubicBezTo>
                  <a:pt x="19116" y="17928"/>
                  <a:pt x="17928" y="19008"/>
                  <a:pt x="16200" y="20088"/>
                </a:cubicBezTo>
                <a:cubicBezTo>
                  <a:pt x="14472" y="21060"/>
                  <a:pt x="12744" y="21600"/>
                  <a:pt x="10800" y="21600"/>
                </a:cubicBezTo>
                <a:cubicBezTo>
                  <a:pt x="8856" y="21600"/>
                  <a:pt x="7128" y="21060"/>
                  <a:pt x="5400" y="20088"/>
                </a:cubicBezTo>
                <a:cubicBezTo>
                  <a:pt x="3672" y="19008"/>
                  <a:pt x="2592" y="17928"/>
                  <a:pt x="1512" y="16200"/>
                </a:cubicBezTo>
                <a:cubicBezTo>
                  <a:pt x="540" y="14472"/>
                  <a:pt x="0" y="12744"/>
                  <a:pt x="0" y="10800"/>
                </a:cubicBezTo>
                <a:cubicBezTo>
                  <a:pt x="0" y="8856"/>
                  <a:pt x="540" y="7128"/>
                  <a:pt x="1512" y="5400"/>
                </a:cubicBezTo>
                <a:cubicBezTo>
                  <a:pt x="2592" y="3672"/>
                  <a:pt x="3672" y="2376"/>
                  <a:pt x="5400" y="1404"/>
                </a:cubicBezTo>
                <a:cubicBezTo>
                  <a:pt x="7128" y="324"/>
                  <a:pt x="8856" y="0"/>
                  <a:pt x="10800" y="0"/>
                </a:cubicBezTo>
                <a:cubicBezTo>
                  <a:pt x="12744" y="0"/>
                  <a:pt x="14472" y="324"/>
                  <a:pt x="16200" y="1404"/>
                </a:cubicBezTo>
                <a:cubicBezTo>
                  <a:pt x="17928" y="2376"/>
                  <a:pt x="19116" y="3672"/>
                  <a:pt x="20088" y="5400"/>
                </a:cubicBezTo>
                <a:cubicBezTo>
                  <a:pt x="21168" y="7128"/>
                  <a:pt x="21600" y="8856"/>
                  <a:pt x="21600" y="1080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4" name="Shape 2875"/>
          <p:cNvSpPr/>
          <p:nvPr/>
        </p:nvSpPr>
        <p:spPr>
          <a:xfrm>
            <a:off x="4337051" y="4986902"/>
            <a:ext cx="171767" cy="3379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397" h="21600" extrusionOk="0">
                <a:moveTo>
                  <a:pt x="5197" y="0"/>
                </a:moveTo>
                <a:lnTo>
                  <a:pt x="15997" y="0"/>
                </a:lnTo>
                <a:cubicBezTo>
                  <a:pt x="19021" y="0"/>
                  <a:pt x="21397" y="1236"/>
                  <a:pt x="21397" y="2758"/>
                </a:cubicBezTo>
                <a:lnTo>
                  <a:pt x="21397" y="9509"/>
                </a:lnTo>
                <a:cubicBezTo>
                  <a:pt x="21397" y="10039"/>
                  <a:pt x="20619" y="10480"/>
                  <a:pt x="19496" y="10480"/>
                </a:cubicBezTo>
                <a:cubicBezTo>
                  <a:pt x="18416" y="10480"/>
                  <a:pt x="17552" y="10061"/>
                  <a:pt x="17552" y="9509"/>
                </a:cubicBezTo>
                <a:lnTo>
                  <a:pt x="17552" y="3332"/>
                </a:lnTo>
                <a:cubicBezTo>
                  <a:pt x="17552" y="3199"/>
                  <a:pt x="17336" y="3067"/>
                  <a:pt x="17034" y="3067"/>
                </a:cubicBezTo>
                <a:cubicBezTo>
                  <a:pt x="16775" y="3067"/>
                  <a:pt x="16515" y="3155"/>
                  <a:pt x="16515" y="3332"/>
                </a:cubicBezTo>
                <a:lnTo>
                  <a:pt x="16515" y="20034"/>
                </a:lnTo>
                <a:cubicBezTo>
                  <a:pt x="16515" y="20872"/>
                  <a:pt x="15349" y="21556"/>
                  <a:pt x="13880" y="21556"/>
                </a:cubicBezTo>
                <a:cubicBezTo>
                  <a:pt x="12455" y="21556"/>
                  <a:pt x="11202" y="20894"/>
                  <a:pt x="11202" y="20034"/>
                </a:cubicBezTo>
                <a:lnTo>
                  <a:pt x="11202" y="10546"/>
                </a:lnTo>
                <a:cubicBezTo>
                  <a:pt x="11202" y="10414"/>
                  <a:pt x="11029" y="10282"/>
                  <a:pt x="10683" y="10282"/>
                </a:cubicBezTo>
                <a:cubicBezTo>
                  <a:pt x="10424" y="10282"/>
                  <a:pt x="10165" y="10370"/>
                  <a:pt x="10165" y="10546"/>
                </a:cubicBezTo>
                <a:lnTo>
                  <a:pt x="10165" y="20100"/>
                </a:lnTo>
                <a:cubicBezTo>
                  <a:pt x="10165" y="20916"/>
                  <a:pt x="8999" y="21600"/>
                  <a:pt x="7530" y="21600"/>
                </a:cubicBezTo>
                <a:cubicBezTo>
                  <a:pt x="6061" y="21600"/>
                  <a:pt x="4895" y="20938"/>
                  <a:pt x="4895" y="20100"/>
                </a:cubicBezTo>
                <a:lnTo>
                  <a:pt x="4895" y="3354"/>
                </a:lnTo>
                <a:cubicBezTo>
                  <a:pt x="4895" y="3221"/>
                  <a:pt x="4679" y="3089"/>
                  <a:pt x="4376" y="3089"/>
                </a:cubicBezTo>
                <a:cubicBezTo>
                  <a:pt x="4117" y="3089"/>
                  <a:pt x="3858" y="3199"/>
                  <a:pt x="3858" y="3354"/>
                </a:cubicBezTo>
                <a:lnTo>
                  <a:pt x="3858" y="9553"/>
                </a:lnTo>
                <a:cubicBezTo>
                  <a:pt x="3858" y="10083"/>
                  <a:pt x="2994" y="10546"/>
                  <a:pt x="1914" y="10546"/>
                </a:cubicBezTo>
                <a:cubicBezTo>
                  <a:pt x="834" y="10546"/>
                  <a:pt x="13" y="10105"/>
                  <a:pt x="13" y="9553"/>
                </a:cubicBezTo>
                <a:lnTo>
                  <a:pt x="13" y="2780"/>
                </a:lnTo>
                <a:cubicBezTo>
                  <a:pt x="-203" y="1236"/>
                  <a:pt x="2216" y="0"/>
                  <a:pt x="5197" y="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5" name="Shape 2876"/>
          <p:cNvSpPr/>
          <p:nvPr/>
        </p:nvSpPr>
        <p:spPr>
          <a:xfrm>
            <a:off x="4771298" y="4909175"/>
            <a:ext cx="68239" cy="6975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744"/>
                  <a:pt x="21166" y="14472"/>
                  <a:pt x="20189" y="16200"/>
                </a:cubicBezTo>
                <a:cubicBezTo>
                  <a:pt x="19212" y="17928"/>
                  <a:pt x="17910" y="19008"/>
                  <a:pt x="16173" y="20088"/>
                </a:cubicBezTo>
                <a:cubicBezTo>
                  <a:pt x="14545" y="21060"/>
                  <a:pt x="12917" y="21600"/>
                  <a:pt x="10854" y="21600"/>
                </a:cubicBezTo>
                <a:cubicBezTo>
                  <a:pt x="8901" y="21600"/>
                  <a:pt x="7164" y="21060"/>
                  <a:pt x="5427" y="20088"/>
                </a:cubicBezTo>
                <a:cubicBezTo>
                  <a:pt x="3690" y="19008"/>
                  <a:pt x="2388" y="17928"/>
                  <a:pt x="1411" y="16200"/>
                </a:cubicBezTo>
                <a:cubicBezTo>
                  <a:pt x="434" y="14472"/>
                  <a:pt x="0" y="12744"/>
                  <a:pt x="0" y="10800"/>
                </a:cubicBezTo>
                <a:cubicBezTo>
                  <a:pt x="0" y="8856"/>
                  <a:pt x="434" y="7128"/>
                  <a:pt x="1411" y="5400"/>
                </a:cubicBezTo>
                <a:cubicBezTo>
                  <a:pt x="2388" y="3672"/>
                  <a:pt x="3690" y="2376"/>
                  <a:pt x="5427" y="1404"/>
                </a:cubicBezTo>
                <a:cubicBezTo>
                  <a:pt x="7164" y="324"/>
                  <a:pt x="8792" y="0"/>
                  <a:pt x="10854" y="0"/>
                </a:cubicBezTo>
                <a:cubicBezTo>
                  <a:pt x="12808" y="0"/>
                  <a:pt x="14545" y="324"/>
                  <a:pt x="16173" y="1404"/>
                </a:cubicBezTo>
                <a:cubicBezTo>
                  <a:pt x="17910" y="2376"/>
                  <a:pt x="19212" y="3672"/>
                  <a:pt x="20189" y="5400"/>
                </a:cubicBezTo>
                <a:cubicBezTo>
                  <a:pt x="21166" y="7128"/>
                  <a:pt x="21600" y="8856"/>
                  <a:pt x="21600" y="1080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6" name="Shape 2877"/>
          <p:cNvSpPr/>
          <p:nvPr/>
        </p:nvSpPr>
        <p:spPr>
          <a:xfrm>
            <a:off x="4721998" y="4986902"/>
            <a:ext cx="170878" cy="3379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75" h="21600" extrusionOk="0">
                <a:moveTo>
                  <a:pt x="5199" y="0"/>
                </a:moveTo>
                <a:lnTo>
                  <a:pt x="16064" y="0"/>
                </a:lnTo>
                <a:cubicBezTo>
                  <a:pt x="19051" y="0"/>
                  <a:pt x="21475" y="1236"/>
                  <a:pt x="21475" y="2758"/>
                </a:cubicBezTo>
                <a:lnTo>
                  <a:pt x="21475" y="9509"/>
                </a:lnTo>
                <a:cubicBezTo>
                  <a:pt x="21475" y="10039"/>
                  <a:pt x="20609" y="10480"/>
                  <a:pt x="19527" y="10480"/>
                </a:cubicBezTo>
                <a:cubicBezTo>
                  <a:pt x="18445" y="10480"/>
                  <a:pt x="17622" y="10061"/>
                  <a:pt x="17622" y="9509"/>
                </a:cubicBezTo>
                <a:lnTo>
                  <a:pt x="17622" y="3332"/>
                </a:lnTo>
                <a:cubicBezTo>
                  <a:pt x="17622" y="3199"/>
                  <a:pt x="17406" y="3067"/>
                  <a:pt x="17103" y="3067"/>
                </a:cubicBezTo>
                <a:cubicBezTo>
                  <a:pt x="16843" y="3067"/>
                  <a:pt x="16584" y="3155"/>
                  <a:pt x="16584" y="3332"/>
                </a:cubicBezTo>
                <a:lnTo>
                  <a:pt x="16584" y="20034"/>
                </a:lnTo>
                <a:cubicBezTo>
                  <a:pt x="16584" y="20872"/>
                  <a:pt x="15372" y="21556"/>
                  <a:pt x="13900" y="21556"/>
                </a:cubicBezTo>
                <a:cubicBezTo>
                  <a:pt x="12471" y="21556"/>
                  <a:pt x="11259" y="20894"/>
                  <a:pt x="11259" y="20034"/>
                </a:cubicBezTo>
                <a:lnTo>
                  <a:pt x="11259" y="10546"/>
                </a:lnTo>
                <a:cubicBezTo>
                  <a:pt x="11259" y="10414"/>
                  <a:pt x="11043" y="10282"/>
                  <a:pt x="10740" y="10282"/>
                </a:cubicBezTo>
                <a:cubicBezTo>
                  <a:pt x="10480" y="10282"/>
                  <a:pt x="10220" y="10370"/>
                  <a:pt x="10220" y="10546"/>
                </a:cubicBezTo>
                <a:lnTo>
                  <a:pt x="10220" y="20100"/>
                </a:lnTo>
                <a:cubicBezTo>
                  <a:pt x="10220" y="20916"/>
                  <a:pt x="9052" y="21600"/>
                  <a:pt x="7580" y="21600"/>
                </a:cubicBezTo>
                <a:cubicBezTo>
                  <a:pt x="6152" y="21600"/>
                  <a:pt x="4896" y="20938"/>
                  <a:pt x="4896" y="20100"/>
                </a:cubicBezTo>
                <a:lnTo>
                  <a:pt x="4896" y="3354"/>
                </a:lnTo>
                <a:cubicBezTo>
                  <a:pt x="4896" y="3221"/>
                  <a:pt x="4680" y="3089"/>
                  <a:pt x="4377" y="3089"/>
                </a:cubicBezTo>
                <a:cubicBezTo>
                  <a:pt x="4117" y="3089"/>
                  <a:pt x="3857" y="3199"/>
                  <a:pt x="3857" y="3354"/>
                </a:cubicBezTo>
                <a:lnTo>
                  <a:pt x="3857" y="9553"/>
                </a:lnTo>
                <a:cubicBezTo>
                  <a:pt x="3857" y="10083"/>
                  <a:pt x="3078" y="10546"/>
                  <a:pt x="1953" y="10546"/>
                </a:cubicBezTo>
                <a:cubicBezTo>
                  <a:pt x="871" y="10546"/>
                  <a:pt x="5" y="10105"/>
                  <a:pt x="5" y="9553"/>
                </a:cubicBezTo>
                <a:lnTo>
                  <a:pt x="5" y="2780"/>
                </a:lnTo>
                <a:cubicBezTo>
                  <a:pt x="-125" y="1236"/>
                  <a:pt x="2299" y="0"/>
                  <a:pt x="5199" y="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13" name="Shape 1393"/>
          <p:cNvSpPr/>
          <p:nvPr/>
        </p:nvSpPr>
        <p:spPr>
          <a:xfrm>
            <a:off x="2188637" y="462870"/>
            <a:ext cx="4482800" cy="38779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endParaRPr lang="en-US" altLang="de-DE" sz="2800" b="1" dirty="0">
              <a:solidFill>
                <a:srgbClr val="B52227"/>
              </a:solidFill>
              <a:latin typeface="Calibri" pitchFamily="34" charset="0"/>
              <a:ea typeface="+mj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21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Business Plan Development </a:t>
            </a:r>
          </a:p>
        </p:txBody>
      </p:sp>
    </p:spTree>
    <p:extLst>
      <p:ext uri="{BB962C8B-B14F-4D97-AF65-F5344CB8AC3E}">
        <p14:creationId xmlns:p14="http://schemas.microsoft.com/office/powerpoint/2010/main" val="3969115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" name="Shape 1369"/>
          <p:cNvSpPr/>
          <p:nvPr/>
        </p:nvSpPr>
        <p:spPr>
          <a:xfrm flipH="1">
            <a:off x="5041681" y="2129272"/>
            <a:ext cx="684360" cy="681478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85" name="Shape 1370"/>
          <p:cNvSpPr/>
          <p:nvPr/>
        </p:nvSpPr>
        <p:spPr>
          <a:xfrm>
            <a:off x="5690023" y="2094694"/>
            <a:ext cx="70269" cy="702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750"/>
                </a:moveTo>
                <a:cubicBezTo>
                  <a:pt x="21600" y="12759"/>
                  <a:pt x="21196" y="14467"/>
                  <a:pt x="20187" y="16175"/>
                </a:cubicBezTo>
                <a:cubicBezTo>
                  <a:pt x="19178" y="17883"/>
                  <a:pt x="18067" y="19088"/>
                  <a:pt x="16250" y="20093"/>
                </a:cubicBezTo>
                <a:cubicBezTo>
                  <a:pt x="14535" y="21098"/>
                  <a:pt x="12819" y="21600"/>
                  <a:pt x="10800" y="21600"/>
                </a:cubicBezTo>
                <a:cubicBezTo>
                  <a:pt x="8781" y="21600"/>
                  <a:pt x="7065" y="21098"/>
                  <a:pt x="5350" y="20093"/>
                </a:cubicBezTo>
                <a:cubicBezTo>
                  <a:pt x="3634" y="19088"/>
                  <a:pt x="2422" y="17883"/>
                  <a:pt x="1413" y="16175"/>
                </a:cubicBezTo>
                <a:cubicBezTo>
                  <a:pt x="404" y="14467"/>
                  <a:pt x="0" y="12659"/>
                  <a:pt x="0" y="10750"/>
                </a:cubicBezTo>
                <a:cubicBezTo>
                  <a:pt x="0" y="8740"/>
                  <a:pt x="404" y="7133"/>
                  <a:pt x="1413" y="5425"/>
                </a:cubicBezTo>
                <a:cubicBezTo>
                  <a:pt x="2422" y="3717"/>
                  <a:pt x="3634" y="2311"/>
                  <a:pt x="5350" y="1407"/>
                </a:cubicBezTo>
                <a:cubicBezTo>
                  <a:pt x="7065" y="402"/>
                  <a:pt x="8781" y="0"/>
                  <a:pt x="10800" y="0"/>
                </a:cubicBezTo>
                <a:cubicBezTo>
                  <a:pt x="12819" y="0"/>
                  <a:pt x="14535" y="402"/>
                  <a:pt x="16250" y="1407"/>
                </a:cubicBezTo>
                <a:cubicBezTo>
                  <a:pt x="18067" y="2311"/>
                  <a:pt x="19178" y="3717"/>
                  <a:pt x="20187" y="5425"/>
                </a:cubicBezTo>
                <a:cubicBezTo>
                  <a:pt x="21196" y="7133"/>
                  <a:pt x="21600" y="8841"/>
                  <a:pt x="21600" y="10750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86" name="Shape 1372"/>
          <p:cNvSpPr/>
          <p:nvPr/>
        </p:nvSpPr>
        <p:spPr>
          <a:xfrm>
            <a:off x="5953281" y="3638664"/>
            <a:ext cx="2265414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2. Business </a:t>
            </a:r>
            <a:r>
              <a:rPr lang="en-US" altLang="de-DE" dirty="0"/>
              <a:t>Concept</a:t>
            </a:r>
          </a:p>
        </p:txBody>
      </p:sp>
      <p:sp>
        <p:nvSpPr>
          <p:cNvPr id="287" name="Shape 1373"/>
          <p:cNvSpPr/>
          <p:nvPr/>
        </p:nvSpPr>
        <p:spPr>
          <a:xfrm flipH="1">
            <a:off x="5221777" y="3244418"/>
            <a:ext cx="965307" cy="1441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88" name="Shape 1374"/>
          <p:cNvSpPr/>
          <p:nvPr/>
        </p:nvSpPr>
        <p:spPr>
          <a:xfrm>
            <a:off x="6151064" y="3209839"/>
            <a:ext cx="70269" cy="702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51"/>
                </a:moveTo>
                <a:cubicBezTo>
                  <a:pt x="21600" y="12879"/>
                  <a:pt x="21196" y="14501"/>
                  <a:pt x="20187" y="16225"/>
                </a:cubicBezTo>
                <a:cubicBezTo>
                  <a:pt x="19178" y="17949"/>
                  <a:pt x="17966" y="19166"/>
                  <a:pt x="16250" y="20180"/>
                </a:cubicBezTo>
                <a:cubicBezTo>
                  <a:pt x="14535" y="21194"/>
                  <a:pt x="12819" y="21600"/>
                  <a:pt x="10800" y="21600"/>
                </a:cubicBezTo>
                <a:cubicBezTo>
                  <a:pt x="8781" y="21600"/>
                  <a:pt x="7065" y="21194"/>
                  <a:pt x="5350" y="20180"/>
                </a:cubicBezTo>
                <a:cubicBezTo>
                  <a:pt x="3634" y="19166"/>
                  <a:pt x="2422" y="17949"/>
                  <a:pt x="1413" y="16225"/>
                </a:cubicBezTo>
                <a:cubicBezTo>
                  <a:pt x="404" y="14501"/>
                  <a:pt x="0" y="12879"/>
                  <a:pt x="0" y="10851"/>
                </a:cubicBezTo>
                <a:cubicBezTo>
                  <a:pt x="0" y="8823"/>
                  <a:pt x="404" y="7200"/>
                  <a:pt x="1413" y="5476"/>
                </a:cubicBezTo>
                <a:cubicBezTo>
                  <a:pt x="2422" y="3651"/>
                  <a:pt x="3634" y="2434"/>
                  <a:pt x="5350" y="1420"/>
                </a:cubicBezTo>
                <a:cubicBezTo>
                  <a:pt x="7065" y="406"/>
                  <a:pt x="8781" y="0"/>
                  <a:pt x="10800" y="0"/>
                </a:cubicBezTo>
                <a:cubicBezTo>
                  <a:pt x="12819" y="0"/>
                  <a:pt x="14535" y="406"/>
                  <a:pt x="16250" y="1420"/>
                </a:cubicBezTo>
                <a:cubicBezTo>
                  <a:pt x="17966" y="2434"/>
                  <a:pt x="19178" y="3651"/>
                  <a:pt x="20187" y="5476"/>
                </a:cubicBezTo>
                <a:cubicBezTo>
                  <a:pt x="21196" y="7200"/>
                  <a:pt x="21600" y="8823"/>
                  <a:pt x="21600" y="10851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89" name="Shape 1376"/>
          <p:cNvSpPr/>
          <p:nvPr/>
        </p:nvSpPr>
        <p:spPr>
          <a:xfrm>
            <a:off x="5448015" y="4718442"/>
            <a:ext cx="2116413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3. Market </a:t>
            </a:r>
            <a:r>
              <a:rPr lang="en-US" altLang="de-DE" dirty="0"/>
              <a:t>Analysis</a:t>
            </a:r>
          </a:p>
        </p:txBody>
      </p:sp>
      <p:sp>
        <p:nvSpPr>
          <p:cNvPr id="290" name="Shape 1377"/>
          <p:cNvSpPr/>
          <p:nvPr/>
        </p:nvSpPr>
        <p:spPr>
          <a:xfrm flipH="1" flipV="1">
            <a:off x="5041681" y="3676644"/>
            <a:ext cx="684360" cy="684360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91" name="Shape 1378"/>
          <p:cNvSpPr/>
          <p:nvPr/>
        </p:nvSpPr>
        <p:spPr>
          <a:xfrm>
            <a:off x="5690023" y="4323544"/>
            <a:ext cx="70269" cy="7027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819"/>
                  <a:pt x="21196" y="14535"/>
                  <a:pt x="20187" y="16250"/>
                </a:cubicBezTo>
                <a:cubicBezTo>
                  <a:pt x="19178" y="17966"/>
                  <a:pt x="18067" y="19178"/>
                  <a:pt x="16250" y="20187"/>
                </a:cubicBezTo>
                <a:cubicBezTo>
                  <a:pt x="14535" y="21196"/>
                  <a:pt x="12819" y="21600"/>
                  <a:pt x="10800" y="21600"/>
                </a:cubicBezTo>
                <a:cubicBezTo>
                  <a:pt x="8781" y="21600"/>
                  <a:pt x="7065" y="21196"/>
                  <a:pt x="5350" y="20187"/>
                </a:cubicBezTo>
                <a:cubicBezTo>
                  <a:pt x="3634" y="19178"/>
                  <a:pt x="2422" y="17966"/>
                  <a:pt x="1413" y="16250"/>
                </a:cubicBezTo>
                <a:cubicBezTo>
                  <a:pt x="404" y="14535"/>
                  <a:pt x="0" y="12819"/>
                  <a:pt x="0" y="10800"/>
                </a:cubicBezTo>
                <a:cubicBezTo>
                  <a:pt x="0" y="8781"/>
                  <a:pt x="404" y="7166"/>
                  <a:pt x="1413" y="5350"/>
                </a:cubicBezTo>
                <a:cubicBezTo>
                  <a:pt x="2422" y="3634"/>
                  <a:pt x="3634" y="2422"/>
                  <a:pt x="5350" y="1413"/>
                </a:cubicBezTo>
                <a:cubicBezTo>
                  <a:pt x="7065" y="404"/>
                  <a:pt x="8781" y="0"/>
                  <a:pt x="10800" y="0"/>
                </a:cubicBezTo>
                <a:cubicBezTo>
                  <a:pt x="12819" y="0"/>
                  <a:pt x="14535" y="404"/>
                  <a:pt x="16250" y="1413"/>
                </a:cubicBezTo>
                <a:cubicBezTo>
                  <a:pt x="18067" y="2422"/>
                  <a:pt x="19178" y="3634"/>
                  <a:pt x="20187" y="5350"/>
                </a:cubicBezTo>
                <a:cubicBezTo>
                  <a:pt x="21196" y="7166"/>
                  <a:pt x="21600" y="8781"/>
                  <a:pt x="21600" y="10800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92" name="Shape 1380"/>
          <p:cNvSpPr/>
          <p:nvPr/>
        </p:nvSpPr>
        <p:spPr>
          <a:xfrm>
            <a:off x="3411426" y="5411949"/>
            <a:ext cx="2501775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4. Management </a:t>
            </a:r>
            <a:r>
              <a:rPr lang="en-US" altLang="de-DE" dirty="0"/>
              <a:t>Team </a:t>
            </a:r>
          </a:p>
        </p:txBody>
      </p:sp>
      <p:sp>
        <p:nvSpPr>
          <p:cNvPr id="293" name="Shape 1381"/>
          <p:cNvSpPr/>
          <p:nvPr/>
        </p:nvSpPr>
        <p:spPr>
          <a:xfrm flipV="1">
            <a:off x="4610895" y="3856740"/>
            <a:ext cx="1442" cy="965307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94" name="Shape 1382"/>
          <p:cNvSpPr/>
          <p:nvPr/>
        </p:nvSpPr>
        <p:spPr>
          <a:xfrm>
            <a:off x="4576318" y="4815760"/>
            <a:ext cx="70269" cy="702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819"/>
                  <a:pt x="21196" y="14535"/>
                  <a:pt x="20187" y="16250"/>
                </a:cubicBezTo>
                <a:cubicBezTo>
                  <a:pt x="19178" y="17966"/>
                  <a:pt x="17966" y="19178"/>
                  <a:pt x="16250" y="20187"/>
                </a:cubicBezTo>
                <a:cubicBezTo>
                  <a:pt x="14434" y="21196"/>
                  <a:pt x="12819" y="21600"/>
                  <a:pt x="10800" y="21600"/>
                </a:cubicBezTo>
                <a:cubicBezTo>
                  <a:pt x="8781" y="21600"/>
                  <a:pt x="7065" y="21196"/>
                  <a:pt x="5350" y="20187"/>
                </a:cubicBezTo>
                <a:cubicBezTo>
                  <a:pt x="3634" y="19178"/>
                  <a:pt x="2422" y="17966"/>
                  <a:pt x="1413" y="16250"/>
                </a:cubicBezTo>
                <a:cubicBezTo>
                  <a:pt x="404" y="14535"/>
                  <a:pt x="0" y="12819"/>
                  <a:pt x="0" y="10800"/>
                </a:cubicBezTo>
                <a:cubicBezTo>
                  <a:pt x="0" y="8781"/>
                  <a:pt x="404" y="7166"/>
                  <a:pt x="1413" y="5350"/>
                </a:cubicBezTo>
                <a:cubicBezTo>
                  <a:pt x="2422" y="3634"/>
                  <a:pt x="3634" y="2422"/>
                  <a:pt x="5350" y="1413"/>
                </a:cubicBezTo>
                <a:cubicBezTo>
                  <a:pt x="7065" y="404"/>
                  <a:pt x="8781" y="0"/>
                  <a:pt x="10800" y="0"/>
                </a:cubicBezTo>
                <a:cubicBezTo>
                  <a:pt x="12819" y="0"/>
                  <a:pt x="14434" y="404"/>
                  <a:pt x="16250" y="1413"/>
                </a:cubicBezTo>
                <a:cubicBezTo>
                  <a:pt x="17966" y="2422"/>
                  <a:pt x="19178" y="3634"/>
                  <a:pt x="20187" y="5350"/>
                </a:cubicBezTo>
                <a:cubicBezTo>
                  <a:pt x="21196" y="7166"/>
                  <a:pt x="21600" y="8781"/>
                  <a:pt x="21600" y="10800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95" name="Shape 1386"/>
          <p:cNvSpPr/>
          <p:nvPr/>
        </p:nvSpPr>
        <p:spPr>
          <a:xfrm flipV="1">
            <a:off x="3495750" y="3676644"/>
            <a:ext cx="681478" cy="684360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96" name="Shape 1387"/>
          <p:cNvSpPr/>
          <p:nvPr/>
        </p:nvSpPr>
        <p:spPr>
          <a:xfrm>
            <a:off x="3461173" y="4323544"/>
            <a:ext cx="70269" cy="7027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819"/>
                  <a:pt x="21196" y="14535"/>
                  <a:pt x="20187" y="16250"/>
                </a:cubicBezTo>
                <a:cubicBezTo>
                  <a:pt x="19178" y="17966"/>
                  <a:pt x="17966" y="19178"/>
                  <a:pt x="16250" y="20187"/>
                </a:cubicBezTo>
                <a:cubicBezTo>
                  <a:pt x="14434" y="21196"/>
                  <a:pt x="12819" y="21600"/>
                  <a:pt x="10800" y="21600"/>
                </a:cubicBezTo>
                <a:cubicBezTo>
                  <a:pt x="8781" y="21600"/>
                  <a:pt x="7065" y="21196"/>
                  <a:pt x="5350" y="20187"/>
                </a:cubicBezTo>
                <a:cubicBezTo>
                  <a:pt x="3634" y="19178"/>
                  <a:pt x="2422" y="17966"/>
                  <a:pt x="1413" y="16250"/>
                </a:cubicBezTo>
                <a:cubicBezTo>
                  <a:pt x="404" y="14535"/>
                  <a:pt x="0" y="12819"/>
                  <a:pt x="0" y="10800"/>
                </a:cubicBezTo>
                <a:cubicBezTo>
                  <a:pt x="0" y="8781"/>
                  <a:pt x="404" y="7166"/>
                  <a:pt x="1413" y="5350"/>
                </a:cubicBezTo>
                <a:cubicBezTo>
                  <a:pt x="2422" y="3634"/>
                  <a:pt x="3634" y="2422"/>
                  <a:pt x="5350" y="1413"/>
                </a:cubicBezTo>
                <a:cubicBezTo>
                  <a:pt x="7065" y="404"/>
                  <a:pt x="8781" y="0"/>
                  <a:pt x="10800" y="0"/>
                </a:cubicBezTo>
                <a:cubicBezTo>
                  <a:pt x="12819" y="0"/>
                  <a:pt x="14434" y="404"/>
                  <a:pt x="16250" y="1413"/>
                </a:cubicBezTo>
                <a:cubicBezTo>
                  <a:pt x="17966" y="2422"/>
                  <a:pt x="19178" y="3634"/>
                  <a:pt x="20187" y="5350"/>
                </a:cubicBezTo>
                <a:cubicBezTo>
                  <a:pt x="21196" y="7166"/>
                  <a:pt x="21600" y="8781"/>
                  <a:pt x="21600" y="10800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97" name="Shape 1388"/>
          <p:cNvSpPr/>
          <p:nvPr/>
        </p:nvSpPr>
        <p:spPr>
          <a:xfrm>
            <a:off x="3045566" y="4336472"/>
            <a:ext cx="349778" cy="30943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484"/>
                </a:moveTo>
                <a:lnTo>
                  <a:pt x="21600" y="20116"/>
                </a:lnTo>
                <a:cubicBezTo>
                  <a:pt x="21600" y="20938"/>
                  <a:pt x="21036" y="21600"/>
                  <a:pt x="20290" y="21600"/>
                </a:cubicBezTo>
                <a:lnTo>
                  <a:pt x="1310" y="21600"/>
                </a:lnTo>
                <a:cubicBezTo>
                  <a:pt x="564" y="21600"/>
                  <a:pt x="0" y="20938"/>
                  <a:pt x="0" y="20116"/>
                </a:cubicBezTo>
                <a:lnTo>
                  <a:pt x="0" y="1484"/>
                </a:lnTo>
                <a:cubicBezTo>
                  <a:pt x="0" y="639"/>
                  <a:pt x="564" y="0"/>
                  <a:pt x="1310" y="0"/>
                </a:cubicBezTo>
                <a:lnTo>
                  <a:pt x="20290" y="0"/>
                </a:lnTo>
                <a:cubicBezTo>
                  <a:pt x="20975" y="0"/>
                  <a:pt x="21600" y="708"/>
                  <a:pt x="21600" y="1484"/>
                </a:cubicBezTo>
                <a:close/>
                <a:moveTo>
                  <a:pt x="16200" y="2009"/>
                </a:moveTo>
                <a:cubicBezTo>
                  <a:pt x="16200" y="2512"/>
                  <a:pt x="16603" y="2968"/>
                  <a:pt x="17066" y="2968"/>
                </a:cubicBezTo>
                <a:cubicBezTo>
                  <a:pt x="17510" y="2968"/>
                  <a:pt x="17913" y="2512"/>
                  <a:pt x="17913" y="2009"/>
                </a:cubicBezTo>
                <a:cubicBezTo>
                  <a:pt x="17913" y="1484"/>
                  <a:pt x="17510" y="1027"/>
                  <a:pt x="17066" y="1027"/>
                </a:cubicBezTo>
                <a:cubicBezTo>
                  <a:pt x="16603" y="1027"/>
                  <a:pt x="16200" y="1416"/>
                  <a:pt x="16200" y="2009"/>
                </a:cubicBezTo>
                <a:close/>
                <a:moveTo>
                  <a:pt x="13822" y="2009"/>
                </a:moveTo>
                <a:cubicBezTo>
                  <a:pt x="13822" y="2512"/>
                  <a:pt x="14205" y="2968"/>
                  <a:pt x="14669" y="2968"/>
                </a:cubicBezTo>
                <a:cubicBezTo>
                  <a:pt x="15132" y="2968"/>
                  <a:pt x="15515" y="2512"/>
                  <a:pt x="15515" y="2009"/>
                </a:cubicBezTo>
                <a:cubicBezTo>
                  <a:pt x="15515" y="1484"/>
                  <a:pt x="15132" y="1027"/>
                  <a:pt x="14669" y="1027"/>
                </a:cubicBezTo>
                <a:cubicBezTo>
                  <a:pt x="14205" y="1027"/>
                  <a:pt x="13822" y="1416"/>
                  <a:pt x="13822" y="2009"/>
                </a:cubicBezTo>
                <a:close/>
                <a:moveTo>
                  <a:pt x="20290" y="3927"/>
                </a:moveTo>
                <a:lnTo>
                  <a:pt x="1310" y="3927"/>
                </a:lnTo>
                <a:lnTo>
                  <a:pt x="1310" y="20230"/>
                </a:lnTo>
                <a:lnTo>
                  <a:pt x="20290" y="20230"/>
                </a:lnTo>
                <a:lnTo>
                  <a:pt x="20290" y="3927"/>
                </a:lnTo>
                <a:close/>
                <a:moveTo>
                  <a:pt x="20290" y="2009"/>
                </a:moveTo>
                <a:cubicBezTo>
                  <a:pt x="20290" y="1484"/>
                  <a:pt x="19887" y="1027"/>
                  <a:pt x="19444" y="1027"/>
                </a:cubicBezTo>
                <a:cubicBezTo>
                  <a:pt x="18981" y="1027"/>
                  <a:pt x="18598" y="1484"/>
                  <a:pt x="18598" y="2009"/>
                </a:cubicBezTo>
                <a:cubicBezTo>
                  <a:pt x="18598" y="2512"/>
                  <a:pt x="18981" y="2968"/>
                  <a:pt x="19444" y="2968"/>
                </a:cubicBezTo>
                <a:cubicBezTo>
                  <a:pt x="19887" y="2968"/>
                  <a:pt x="20290" y="2512"/>
                  <a:pt x="20290" y="2009"/>
                </a:cubicBezTo>
                <a:close/>
                <a:moveTo>
                  <a:pt x="8019" y="6896"/>
                </a:moveTo>
                <a:lnTo>
                  <a:pt x="14669" y="6896"/>
                </a:lnTo>
                <a:lnTo>
                  <a:pt x="14669" y="5480"/>
                </a:lnTo>
                <a:lnTo>
                  <a:pt x="8019" y="5480"/>
                </a:lnTo>
                <a:lnTo>
                  <a:pt x="8019" y="6896"/>
                </a:lnTo>
                <a:close/>
                <a:moveTo>
                  <a:pt x="10639" y="10115"/>
                </a:moveTo>
                <a:lnTo>
                  <a:pt x="19041" y="10115"/>
                </a:lnTo>
                <a:lnTo>
                  <a:pt x="19041" y="8699"/>
                </a:lnTo>
                <a:lnTo>
                  <a:pt x="10639" y="8699"/>
                </a:lnTo>
                <a:lnTo>
                  <a:pt x="10639" y="10115"/>
                </a:lnTo>
                <a:close/>
                <a:moveTo>
                  <a:pt x="10639" y="12946"/>
                </a:moveTo>
                <a:lnTo>
                  <a:pt x="19041" y="12946"/>
                </a:lnTo>
                <a:lnTo>
                  <a:pt x="19041" y="11531"/>
                </a:lnTo>
                <a:lnTo>
                  <a:pt x="10639" y="11531"/>
                </a:lnTo>
                <a:lnTo>
                  <a:pt x="10639" y="12946"/>
                </a:lnTo>
                <a:close/>
                <a:moveTo>
                  <a:pt x="10639" y="15800"/>
                </a:moveTo>
                <a:lnTo>
                  <a:pt x="19041" y="15800"/>
                </a:lnTo>
                <a:lnTo>
                  <a:pt x="19041" y="14385"/>
                </a:lnTo>
                <a:lnTo>
                  <a:pt x="10639" y="14385"/>
                </a:lnTo>
                <a:lnTo>
                  <a:pt x="10639" y="15800"/>
                </a:lnTo>
                <a:close/>
                <a:moveTo>
                  <a:pt x="2438" y="18632"/>
                </a:moveTo>
                <a:lnTo>
                  <a:pt x="19001" y="18632"/>
                </a:lnTo>
                <a:lnTo>
                  <a:pt x="19001" y="17216"/>
                </a:lnTo>
                <a:lnTo>
                  <a:pt x="2438" y="17216"/>
                </a:lnTo>
                <a:lnTo>
                  <a:pt x="2438" y="18632"/>
                </a:lnTo>
                <a:close/>
                <a:moveTo>
                  <a:pt x="2438" y="15732"/>
                </a:moveTo>
                <a:lnTo>
                  <a:pt x="8362" y="15732"/>
                </a:lnTo>
                <a:lnTo>
                  <a:pt x="8362" y="8768"/>
                </a:lnTo>
                <a:lnTo>
                  <a:pt x="2438" y="8768"/>
                </a:lnTo>
                <a:lnTo>
                  <a:pt x="2438" y="15732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04" name="Shape 1396"/>
          <p:cNvSpPr/>
          <p:nvPr/>
        </p:nvSpPr>
        <p:spPr>
          <a:xfrm>
            <a:off x="3557703" y="2191225"/>
            <a:ext cx="2106060" cy="21060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2"/>
                </a:moveTo>
                <a:cubicBezTo>
                  <a:pt x="21600" y="12786"/>
                  <a:pt x="21148" y="14482"/>
                  <a:pt x="20152" y="16201"/>
                </a:cubicBezTo>
                <a:cubicBezTo>
                  <a:pt x="19157" y="17923"/>
                  <a:pt x="17920" y="19160"/>
                  <a:pt x="16197" y="20152"/>
                </a:cubicBezTo>
                <a:cubicBezTo>
                  <a:pt x="14478" y="21148"/>
                  <a:pt x="12786" y="21600"/>
                  <a:pt x="10802" y="21600"/>
                </a:cubicBezTo>
                <a:cubicBezTo>
                  <a:pt x="8814" y="21600"/>
                  <a:pt x="7118" y="21148"/>
                  <a:pt x="5399" y="20152"/>
                </a:cubicBezTo>
                <a:cubicBezTo>
                  <a:pt x="3677" y="19160"/>
                  <a:pt x="2440" y="17923"/>
                  <a:pt x="1448" y="16201"/>
                </a:cubicBezTo>
                <a:cubicBezTo>
                  <a:pt x="452" y="14482"/>
                  <a:pt x="0" y="12786"/>
                  <a:pt x="0" y="10802"/>
                </a:cubicBezTo>
                <a:cubicBezTo>
                  <a:pt x="0" y="8814"/>
                  <a:pt x="452" y="7125"/>
                  <a:pt x="1448" y="5403"/>
                </a:cubicBezTo>
                <a:cubicBezTo>
                  <a:pt x="2440" y="3680"/>
                  <a:pt x="3677" y="2440"/>
                  <a:pt x="5399" y="1448"/>
                </a:cubicBezTo>
                <a:cubicBezTo>
                  <a:pt x="7118" y="452"/>
                  <a:pt x="8814" y="0"/>
                  <a:pt x="10802" y="0"/>
                </a:cubicBezTo>
                <a:cubicBezTo>
                  <a:pt x="12786" y="0"/>
                  <a:pt x="14478" y="452"/>
                  <a:pt x="16197" y="1448"/>
                </a:cubicBezTo>
                <a:cubicBezTo>
                  <a:pt x="17920" y="2440"/>
                  <a:pt x="19157" y="3680"/>
                  <a:pt x="20152" y="5403"/>
                </a:cubicBezTo>
                <a:cubicBezTo>
                  <a:pt x="21148" y="7125"/>
                  <a:pt x="21600" y="8814"/>
                  <a:pt x="21600" y="10802"/>
                </a:cubicBezTo>
              </a:path>
            </a:pathLst>
          </a:custGeom>
          <a:solidFill>
            <a:schemeClr val="tx2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pSp>
        <p:nvGrpSpPr>
          <p:cNvPr id="305" name="Group 1484"/>
          <p:cNvGrpSpPr/>
          <p:nvPr/>
        </p:nvGrpSpPr>
        <p:grpSpPr>
          <a:xfrm>
            <a:off x="3832889" y="2668116"/>
            <a:ext cx="1569599" cy="1196741"/>
            <a:chOff x="0" y="0"/>
            <a:chExt cx="2232318" cy="1702030"/>
          </a:xfrm>
        </p:grpSpPr>
        <p:sp>
          <p:nvSpPr>
            <p:cNvPr id="306" name="Shape 1397"/>
            <p:cNvSpPr/>
            <p:nvPr/>
          </p:nvSpPr>
          <p:spPr>
            <a:xfrm>
              <a:off x="1096685" y="1529186"/>
              <a:ext cx="299890" cy="1728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63" h="19639" extrusionOk="0">
                  <a:moveTo>
                    <a:pt x="2906" y="16748"/>
                  </a:moveTo>
                  <a:cubicBezTo>
                    <a:pt x="-969" y="12892"/>
                    <a:pt x="-969" y="6608"/>
                    <a:pt x="2906" y="2911"/>
                  </a:cubicBezTo>
                  <a:cubicBezTo>
                    <a:pt x="6689" y="-997"/>
                    <a:pt x="12912" y="-944"/>
                    <a:pt x="16756" y="2911"/>
                  </a:cubicBezTo>
                  <a:cubicBezTo>
                    <a:pt x="20631" y="6819"/>
                    <a:pt x="20631" y="12892"/>
                    <a:pt x="16756" y="16748"/>
                  </a:cubicBezTo>
                  <a:cubicBezTo>
                    <a:pt x="13004" y="20603"/>
                    <a:pt x="6780" y="20603"/>
                    <a:pt x="2906" y="16748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7" name="Shape 1398"/>
            <p:cNvSpPr/>
            <p:nvPr/>
          </p:nvSpPr>
          <p:spPr>
            <a:xfrm>
              <a:off x="0" y="866759"/>
              <a:ext cx="1251521" cy="7269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00" y="19462"/>
                  </a:moveTo>
                  <a:cubicBezTo>
                    <a:pt x="18434" y="20510"/>
                    <a:pt x="16983" y="20828"/>
                    <a:pt x="16262" y="20124"/>
                  </a:cubicBezTo>
                  <a:cubicBezTo>
                    <a:pt x="15853" y="19697"/>
                    <a:pt x="15765" y="19076"/>
                    <a:pt x="15990" y="18372"/>
                  </a:cubicBezTo>
                  <a:lnTo>
                    <a:pt x="15316" y="17710"/>
                  </a:lnTo>
                  <a:lnTo>
                    <a:pt x="11421" y="21600"/>
                  </a:lnTo>
                  <a:lnTo>
                    <a:pt x="6901" y="17117"/>
                  </a:lnTo>
                  <a:lnTo>
                    <a:pt x="7558" y="16469"/>
                  </a:lnTo>
                  <a:cubicBezTo>
                    <a:pt x="8255" y="16690"/>
                    <a:pt x="8913" y="16621"/>
                    <a:pt x="9321" y="16193"/>
                  </a:cubicBezTo>
                  <a:cubicBezTo>
                    <a:pt x="10043" y="15490"/>
                    <a:pt x="9730" y="14014"/>
                    <a:pt x="8664" y="12966"/>
                  </a:cubicBezTo>
                  <a:cubicBezTo>
                    <a:pt x="7574" y="11903"/>
                    <a:pt x="6131" y="11600"/>
                    <a:pt x="5426" y="12303"/>
                  </a:cubicBezTo>
                  <a:cubicBezTo>
                    <a:pt x="5025" y="12731"/>
                    <a:pt x="4953" y="13393"/>
                    <a:pt x="5154" y="14055"/>
                  </a:cubicBezTo>
                  <a:lnTo>
                    <a:pt x="4520" y="14676"/>
                  </a:lnTo>
                  <a:lnTo>
                    <a:pt x="0" y="10193"/>
                  </a:lnTo>
                  <a:lnTo>
                    <a:pt x="3887" y="6303"/>
                  </a:lnTo>
                  <a:lnTo>
                    <a:pt x="3214" y="5641"/>
                  </a:lnTo>
                  <a:cubicBezTo>
                    <a:pt x="2509" y="5876"/>
                    <a:pt x="1851" y="5793"/>
                    <a:pt x="1451" y="5366"/>
                  </a:cubicBezTo>
                  <a:cubicBezTo>
                    <a:pt x="721" y="4662"/>
                    <a:pt x="1018" y="3186"/>
                    <a:pt x="2084" y="2138"/>
                  </a:cubicBezTo>
                  <a:cubicBezTo>
                    <a:pt x="3142" y="1090"/>
                    <a:pt x="4593" y="772"/>
                    <a:pt x="5314" y="1476"/>
                  </a:cubicBezTo>
                  <a:cubicBezTo>
                    <a:pt x="5723" y="1903"/>
                    <a:pt x="5811" y="2566"/>
                    <a:pt x="5586" y="3228"/>
                  </a:cubicBezTo>
                  <a:lnTo>
                    <a:pt x="6268" y="3890"/>
                  </a:lnTo>
                  <a:lnTo>
                    <a:pt x="10155" y="0"/>
                  </a:lnTo>
                  <a:lnTo>
                    <a:pt x="14683" y="4469"/>
                  </a:lnTo>
                  <a:lnTo>
                    <a:pt x="14026" y="5131"/>
                  </a:lnTo>
                  <a:cubicBezTo>
                    <a:pt x="13321" y="4897"/>
                    <a:pt x="12663" y="4979"/>
                    <a:pt x="12263" y="5407"/>
                  </a:cubicBezTo>
                  <a:cubicBezTo>
                    <a:pt x="11557" y="6110"/>
                    <a:pt x="11854" y="7586"/>
                    <a:pt x="12912" y="8634"/>
                  </a:cubicBezTo>
                  <a:cubicBezTo>
                    <a:pt x="14002" y="9683"/>
                    <a:pt x="15453" y="10000"/>
                    <a:pt x="16150" y="9297"/>
                  </a:cubicBezTo>
                  <a:cubicBezTo>
                    <a:pt x="16559" y="8869"/>
                    <a:pt x="16623" y="8248"/>
                    <a:pt x="16422" y="7545"/>
                  </a:cubicBezTo>
                  <a:lnTo>
                    <a:pt x="17080" y="6883"/>
                  </a:lnTo>
                  <a:lnTo>
                    <a:pt x="21600" y="11366"/>
                  </a:lnTo>
                  <a:lnTo>
                    <a:pt x="17713" y="15255"/>
                  </a:lnTo>
                  <a:lnTo>
                    <a:pt x="18386" y="15917"/>
                  </a:lnTo>
                  <a:cubicBezTo>
                    <a:pt x="19091" y="15683"/>
                    <a:pt x="19749" y="15766"/>
                    <a:pt x="20157" y="16193"/>
                  </a:cubicBezTo>
                  <a:cubicBezTo>
                    <a:pt x="20879" y="16924"/>
                    <a:pt x="20582" y="18372"/>
                    <a:pt x="19500" y="19462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8" name="Shape 1399"/>
            <p:cNvSpPr/>
            <p:nvPr/>
          </p:nvSpPr>
          <p:spPr>
            <a:xfrm>
              <a:off x="1100353" y="940525"/>
              <a:ext cx="38475" cy="97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086" y="16639"/>
                  </a:lnTo>
                  <a:lnTo>
                    <a:pt x="0" y="21600"/>
                  </a:lnTo>
                  <a:lnTo>
                    <a:pt x="0" y="4961"/>
                  </a:lnTo>
                  <a:lnTo>
                    <a:pt x="21600" y="0"/>
                  </a:lnTo>
                </a:path>
              </a:pathLst>
            </a:custGeom>
            <a:solidFill>
              <a:srgbClr val="4751A3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9" name="Shape 1400"/>
            <p:cNvSpPr/>
            <p:nvPr/>
          </p:nvSpPr>
          <p:spPr>
            <a:xfrm>
              <a:off x="829875" y="930280"/>
              <a:ext cx="280259" cy="1839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6781"/>
                  </a:moveTo>
                  <a:lnTo>
                    <a:pt x="21600" y="15749"/>
                  </a:lnTo>
                  <a:cubicBezTo>
                    <a:pt x="21600" y="16077"/>
                    <a:pt x="21600" y="16241"/>
                    <a:pt x="21492" y="16514"/>
                  </a:cubicBezTo>
                  <a:cubicBezTo>
                    <a:pt x="21492" y="16678"/>
                    <a:pt x="21492" y="16678"/>
                    <a:pt x="21385" y="16843"/>
                  </a:cubicBezTo>
                  <a:lnTo>
                    <a:pt x="21385" y="17007"/>
                  </a:lnTo>
                  <a:cubicBezTo>
                    <a:pt x="21385" y="17007"/>
                    <a:pt x="21385" y="17116"/>
                    <a:pt x="21277" y="17116"/>
                  </a:cubicBezTo>
                  <a:cubicBezTo>
                    <a:pt x="21169" y="17280"/>
                    <a:pt x="21169" y="17608"/>
                    <a:pt x="21062" y="17772"/>
                  </a:cubicBezTo>
                  <a:cubicBezTo>
                    <a:pt x="21062" y="17772"/>
                    <a:pt x="21062" y="17936"/>
                    <a:pt x="20990" y="17936"/>
                  </a:cubicBezTo>
                  <a:cubicBezTo>
                    <a:pt x="20990" y="18046"/>
                    <a:pt x="20990" y="18046"/>
                    <a:pt x="20882" y="18046"/>
                  </a:cubicBezTo>
                  <a:cubicBezTo>
                    <a:pt x="20775" y="18210"/>
                    <a:pt x="20775" y="18210"/>
                    <a:pt x="20775" y="18374"/>
                  </a:cubicBezTo>
                  <a:cubicBezTo>
                    <a:pt x="20667" y="18538"/>
                    <a:pt x="20559" y="18866"/>
                    <a:pt x="20380" y="18975"/>
                  </a:cubicBezTo>
                  <a:cubicBezTo>
                    <a:pt x="20380" y="18975"/>
                    <a:pt x="20272" y="18975"/>
                    <a:pt x="20272" y="19139"/>
                  </a:cubicBezTo>
                  <a:cubicBezTo>
                    <a:pt x="20057" y="19467"/>
                    <a:pt x="19878" y="19631"/>
                    <a:pt x="19662" y="19905"/>
                  </a:cubicBezTo>
                  <a:cubicBezTo>
                    <a:pt x="19662" y="19905"/>
                    <a:pt x="19555" y="19905"/>
                    <a:pt x="19555" y="20069"/>
                  </a:cubicBezTo>
                  <a:cubicBezTo>
                    <a:pt x="19340" y="20233"/>
                    <a:pt x="19160" y="20397"/>
                    <a:pt x="18945" y="20561"/>
                  </a:cubicBezTo>
                  <a:cubicBezTo>
                    <a:pt x="18837" y="20561"/>
                    <a:pt x="18765" y="20670"/>
                    <a:pt x="18765" y="20670"/>
                  </a:cubicBezTo>
                  <a:cubicBezTo>
                    <a:pt x="18658" y="20834"/>
                    <a:pt x="18443" y="20834"/>
                    <a:pt x="18335" y="20998"/>
                  </a:cubicBezTo>
                  <a:cubicBezTo>
                    <a:pt x="18335" y="20998"/>
                    <a:pt x="18335" y="20998"/>
                    <a:pt x="18227" y="20998"/>
                  </a:cubicBezTo>
                  <a:cubicBezTo>
                    <a:pt x="17940" y="21163"/>
                    <a:pt x="17546" y="21327"/>
                    <a:pt x="17223" y="21491"/>
                  </a:cubicBezTo>
                  <a:lnTo>
                    <a:pt x="16828" y="21491"/>
                  </a:lnTo>
                  <a:cubicBezTo>
                    <a:pt x="16613" y="21491"/>
                    <a:pt x="16505" y="21600"/>
                    <a:pt x="16326" y="21600"/>
                  </a:cubicBezTo>
                  <a:lnTo>
                    <a:pt x="12989" y="21600"/>
                  </a:lnTo>
                  <a:cubicBezTo>
                    <a:pt x="12773" y="21600"/>
                    <a:pt x="12558" y="21491"/>
                    <a:pt x="12379" y="21491"/>
                  </a:cubicBezTo>
                  <a:lnTo>
                    <a:pt x="11948" y="21491"/>
                  </a:lnTo>
                  <a:cubicBezTo>
                    <a:pt x="11661" y="21491"/>
                    <a:pt x="11446" y="21327"/>
                    <a:pt x="11159" y="21327"/>
                  </a:cubicBezTo>
                  <a:cubicBezTo>
                    <a:pt x="11051" y="21327"/>
                    <a:pt x="10944" y="21327"/>
                    <a:pt x="10836" y="21163"/>
                  </a:cubicBezTo>
                  <a:lnTo>
                    <a:pt x="10764" y="21163"/>
                  </a:lnTo>
                  <a:cubicBezTo>
                    <a:pt x="10334" y="20998"/>
                    <a:pt x="9831" y="20834"/>
                    <a:pt x="9437" y="20670"/>
                  </a:cubicBezTo>
                  <a:lnTo>
                    <a:pt x="9329" y="20670"/>
                  </a:lnTo>
                  <a:cubicBezTo>
                    <a:pt x="9221" y="20670"/>
                    <a:pt x="9221" y="20561"/>
                    <a:pt x="9221" y="20561"/>
                  </a:cubicBezTo>
                  <a:cubicBezTo>
                    <a:pt x="8611" y="20233"/>
                    <a:pt x="8001" y="19905"/>
                    <a:pt x="7391" y="19631"/>
                  </a:cubicBezTo>
                  <a:lnTo>
                    <a:pt x="7320" y="19631"/>
                  </a:lnTo>
                  <a:cubicBezTo>
                    <a:pt x="7212" y="19631"/>
                    <a:pt x="7212" y="19467"/>
                    <a:pt x="7104" y="19467"/>
                  </a:cubicBezTo>
                  <a:cubicBezTo>
                    <a:pt x="6817" y="19303"/>
                    <a:pt x="6494" y="18975"/>
                    <a:pt x="6207" y="18866"/>
                  </a:cubicBezTo>
                  <a:cubicBezTo>
                    <a:pt x="6100" y="18702"/>
                    <a:pt x="5992" y="18702"/>
                    <a:pt x="5884" y="18538"/>
                  </a:cubicBezTo>
                  <a:cubicBezTo>
                    <a:pt x="5490" y="18210"/>
                    <a:pt x="5095" y="17936"/>
                    <a:pt x="4772" y="17608"/>
                  </a:cubicBezTo>
                  <a:cubicBezTo>
                    <a:pt x="1722" y="14983"/>
                    <a:pt x="0" y="11593"/>
                    <a:pt x="0" y="8804"/>
                  </a:cubicBezTo>
                  <a:lnTo>
                    <a:pt x="0" y="0"/>
                  </a:lnTo>
                  <a:cubicBezTo>
                    <a:pt x="0" y="2789"/>
                    <a:pt x="1650" y="6015"/>
                    <a:pt x="4772" y="8804"/>
                  </a:cubicBezTo>
                  <a:cubicBezTo>
                    <a:pt x="5167" y="9132"/>
                    <a:pt x="5490" y="9406"/>
                    <a:pt x="5884" y="9734"/>
                  </a:cubicBezTo>
                  <a:cubicBezTo>
                    <a:pt x="5992" y="9898"/>
                    <a:pt x="6100" y="9898"/>
                    <a:pt x="6207" y="10062"/>
                  </a:cubicBezTo>
                  <a:cubicBezTo>
                    <a:pt x="6494" y="10335"/>
                    <a:pt x="6817" y="10499"/>
                    <a:pt x="7104" y="10663"/>
                  </a:cubicBezTo>
                  <a:cubicBezTo>
                    <a:pt x="7212" y="10663"/>
                    <a:pt x="7320" y="10827"/>
                    <a:pt x="7391" y="10827"/>
                  </a:cubicBezTo>
                  <a:cubicBezTo>
                    <a:pt x="8001" y="11101"/>
                    <a:pt x="8611" y="11429"/>
                    <a:pt x="9221" y="11757"/>
                  </a:cubicBezTo>
                  <a:cubicBezTo>
                    <a:pt x="9329" y="11757"/>
                    <a:pt x="9329" y="11921"/>
                    <a:pt x="9437" y="11921"/>
                  </a:cubicBezTo>
                  <a:cubicBezTo>
                    <a:pt x="9831" y="12030"/>
                    <a:pt x="10334" y="12194"/>
                    <a:pt x="10764" y="12358"/>
                  </a:cubicBezTo>
                  <a:cubicBezTo>
                    <a:pt x="10836" y="12358"/>
                    <a:pt x="10944" y="12523"/>
                    <a:pt x="11051" y="12523"/>
                  </a:cubicBezTo>
                  <a:cubicBezTo>
                    <a:pt x="11374" y="12687"/>
                    <a:pt x="11553" y="12687"/>
                    <a:pt x="11876" y="12687"/>
                  </a:cubicBezTo>
                  <a:cubicBezTo>
                    <a:pt x="11948" y="12687"/>
                    <a:pt x="12163" y="12687"/>
                    <a:pt x="12271" y="12796"/>
                  </a:cubicBezTo>
                  <a:cubicBezTo>
                    <a:pt x="12486" y="12796"/>
                    <a:pt x="12666" y="12960"/>
                    <a:pt x="12881" y="12960"/>
                  </a:cubicBezTo>
                  <a:cubicBezTo>
                    <a:pt x="13096" y="12960"/>
                    <a:pt x="13168" y="13124"/>
                    <a:pt x="13276" y="13124"/>
                  </a:cubicBezTo>
                  <a:lnTo>
                    <a:pt x="15608" y="13124"/>
                  </a:lnTo>
                  <a:cubicBezTo>
                    <a:pt x="15823" y="13124"/>
                    <a:pt x="15895" y="13124"/>
                    <a:pt x="16003" y="12960"/>
                  </a:cubicBezTo>
                  <a:cubicBezTo>
                    <a:pt x="16074" y="12796"/>
                    <a:pt x="16326" y="12796"/>
                    <a:pt x="16505" y="12796"/>
                  </a:cubicBezTo>
                  <a:cubicBezTo>
                    <a:pt x="16613" y="12796"/>
                    <a:pt x="16828" y="12796"/>
                    <a:pt x="16936" y="12687"/>
                  </a:cubicBezTo>
                  <a:cubicBezTo>
                    <a:pt x="17330" y="12523"/>
                    <a:pt x="17653" y="12358"/>
                    <a:pt x="17940" y="12194"/>
                  </a:cubicBezTo>
                  <a:cubicBezTo>
                    <a:pt x="18155" y="12030"/>
                    <a:pt x="18227" y="12030"/>
                    <a:pt x="18335" y="11921"/>
                  </a:cubicBezTo>
                  <a:cubicBezTo>
                    <a:pt x="18443" y="11921"/>
                    <a:pt x="18443" y="11757"/>
                    <a:pt x="18550" y="11757"/>
                  </a:cubicBezTo>
                  <a:cubicBezTo>
                    <a:pt x="18765" y="11593"/>
                    <a:pt x="18945" y="11429"/>
                    <a:pt x="19160" y="11265"/>
                  </a:cubicBezTo>
                  <a:cubicBezTo>
                    <a:pt x="19447" y="10991"/>
                    <a:pt x="19662" y="10827"/>
                    <a:pt x="19878" y="10499"/>
                  </a:cubicBezTo>
                  <a:cubicBezTo>
                    <a:pt x="19878" y="10499"/>
                    <a:pt x="19950" y="10499"/>
                    <a:pt x="19950" y="10335"/>
                  </a:cubicBezTo>
                  <a:cubicBezTo>
                    <a:pt x="20165" y="10062"/>
                    <a:pt x="20380" y="9734"/>
                    <a:pt x="20488" y="9406"/>
                  </a:cubicBezTo>
                  <a:cubicBezTo>
                    <a:pt x="20488" y="9296"/>
                    <a:pt x="20488" y="9296"/>
                    <a:pt x="20559" y="9296"/>
                  </a:cubicBezTo>
                  <a:cubicBezTo>
                    <a:pt x="20667" y="8968"/>
                    <a:pt x="20775" y="8640"/>
                    <a:pt x="20882" y="8367"/>
                  </a:cubicBezTo>
                  <a:lnTo>
                    <a:pt x="20882" y="8203"/>
                  </a:lnTo>
                  <a:cubicBezTo>
                    <a:pt x="21385" y="7601"/>
                    <a:pt x="21492" y="7273"/>
                    <a:pt x="21600" y="6781"/>
                  </a:cubicBezTo>
                </a:path>
              </a:pathLst>
            </a:custGeom>
            <a:solidFill>
              <a:srgbClr val="474E8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0" name="Shape 1401"/>
            <p:cNvSpPr/>
            <p:nvPr/>
          </p:nvSpPr>
          <p:spPr>
            <a:xfrm>
              <a:off x="131140" y="563495"/>
              <a:ext cx="40506" cy="978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961"/>
                  </a:moveTo>
                  <a:lnTo>
                    <a:pt x="21600" y="21600"/>
                  </a:lnTo>
                  <a:lnTo>
                    <a:pt x="0" y="16329"/>
                  </a:lnTo>
                  <a:lnTo>
                    <a:pt x="0" y="0"/>
                  </a:lnTo>
                  <a:lnTo>
                    <a:pt x="21600" y="4961"/>
                  </a:lnTo>
                </a:path>
              </a:pathLst>
            </a:custGeom>
            <a:solidFill>
              <a:srgbClr val="DE1C3A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1" name="Shape 1402"/>
            <p:cNvSpPr/>
            <p:nvPr/>
          </p:nvSpPr>
          <p:spPr>
            <a:xfrm>
              <a:off x="149582" y="982562"/>
              <a:ext cx="91744" cy="423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525" extrusionOk="0">
                  <a:moveTo>
                    <a:pt x="11403" y="1514"/>
                  </a:moveTo>
                  <a:cubicBezTo>
                    <a:pt x="14254" y="5789"/>
                    <a:pt x="16995" y="5789"/>
                    <a:pt x="19736" y="10964"/>
                  </a:cubicBezTo>
                  <a:cubicBezTo>
                    <a:pt x="20065" y="11639"/>
                    <a:pt x="21600" y="13439"/>
                    <a:pt x="21600" y="14789"/>
                  </a:cubicBezTo>
                  <a:cubicBezTo>
                    <a:pt x="21052" y="18614"/>
                    <a:pt x="17653" y="21089"/>
                    <a:pt x="16118" y="20414"/>
                  </a:cubicBezTo>
                  <a:cubicBezTo>
                    <a:pt x="13596" y="19739"/>
                    <a:pt x="11403" y="18614"/>
                    <a:pt x="8662" y="17939"/>
                  </a:cubicBezTo>
                  <a:cubicBezTo>
                    <a:pt x="6798" y="17264"/>
                    <a:pt x="2741" y="17264"/>
                    <a:pt x="877" y="16139"/>
                  </a:cubicBezTo>
                  <a:cubicBezTo>
                    <a:pt x="0" y="14789"/>
                    <a:pt x="0" y="10289"/>
                    <a:pt x="0" y="7814"/>
                  </a:cubicBezTo>
                  <a:cubicBezTo>
                    <a:pt x="0" y="6464"/>
                    <a:pt x="1206" y="3989"/>
                    <a:pt x="1206" y="3989"/>
                  </a:cubicBezTo>
                  <a:cubicBezTo>
                    <a:pt x="2741" y="5339"/>
                    <a:pt x="3399" y="6464"/>
                    <a:pt x="5592" y="5789"/>
                  </a:cubicBezTo>
                  <a:cubicBezTo>
                    <a:pt x="5811" y="5339"/>
                    <a:pt x="6469" y="5339"/>
                    <a:pt x="7127" y="5339"/>
                  </a:cubicBezTo>
                  <a:cubicBezTo>
                    <a:pt x="8991" y="839"/>
                    <a:pt x="10197" y="-511"/>
                    <a:pt x="10855" y="164"/>
                  </a:cubicBezTo>
                  <a:cubicBezTo>
                    <a:pt x="10855" y="164"/>
                    <a:pt x="11074" y="839"/>
                    <a:pt x="11403" y="1514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2" name="Shape 1403"/>
            <p:cNvSpPr/>
            <p:nvPr/>
          </p:nvSpPr>
          <p:spPr>
            <a:xfrm>
              <a:off x="59423" y="918935"/>
              <a:ext cx="88540" cy="4162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21" h="21118" extrusionOk="0">
                  <a:moveTo>
                    <a:pt x="11520" y="1376"/>
                  </a:moveTo>
                  <a:cubicBezTo>
                    <a:pt x="14400" y="6021"/>
                    <a:pt x="17169" y="6021"/>
                    <a:pt x="19938" y="11363"/>
                  </a:cubicBezTo>
                  <a:cubicBezTo>
                    <a:pt x="20271" y="11828"/>
                    <a:pt x="21600" y="15776"/>
                    <a:pt x="21268" y="17170"/>
                  </a:cubicBezTo>
                  <a:cubicBezTo>
                    <a:pt x="20935" y="21118"/>
                    <a:pt x="17502" y="21118"/>
                    <a:pt x="16283" y="21118"/>
                  </a:cubicBezTo>
                  <a:cubicBezTo>
                    <a:pt x="13735" y="20421"/>
                    <a:pt x="11520" y="19260"/>
                    <a:pt x="8751" y="18563"/>
                  </a:cubicBezTo>
                  <a:cubicBezTo>
                    <a:pt x="6868" y="17866"/>
                    <a:pt x="2769" y="17866"/>
                    <a:pt x="886" y="16473"/>
                  </a:cubicBezTo>
                  <a:cubicBezTo>
                    <a:pt x="0" y="15312"/>
                    <a:pt x="0" y="10666"/>
                    <a:pt x="0" y="8112"/>
                  </a:cubicBezTo>
                  <a:cubicBezTo>
                    <a:pt x="0" y="6718"/>
                    <a:pt x="1218" y="4163"/>
                    <a:pt x="1218" y="4163"/>
                  </a:cubicBezTo>
                  <a:cubicBezTo>
                    <a:pt x="2769" y="5324"/>
                    <a:pt x="3434" y="6718"/>
                    <a:pt x="5649" y="6021"/>
                  </a:cubicBezTo>
                  <a:cubicBezTo>
                    <a:pt x="5871" y="5324"/>
                    <a:pt x="6535" y="5324"/>
                    <a:pt x="7200" y="5324"/>
                  </a:cubicBezTo>
                  <a:cubicBezTo>
                    <a:pt x="9083" y="679"/>
                    <a:pt x="10302" y="-482"/>
                    <a:pt x="10966" y="215"/>
                  </a:cubicBezTo>
                  <a:cubicBezTo>
                    <a:pt x="10966" y="-482"/>
                    <a:pt x="11188" y="679"/>
                    <a:pt x="11520" y="1376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3" name="Shape 1404"/>
            <p:cNvSpPr/>
            <p:nvPr/>
          </p:nvSpPr>
          <p:spPr>
            <a:xfrm>
              <a:off x="178269" y="618820"/>
              <a:ext cx="137525" cy="1039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0" h="20382" extrusionOk="0">
                  <a:moveTo>
                    <a:pt x="0" y="2370"/>
                  </a:moveTo>
                  <a:lnTo>
                    <a:pt x="6285" y="0"/>
                  </a:lnTo>
                  <a:lnTo>
                    <a:pt x="7080" y="4192"/>
                  </a:lnTo>
                  <a:cubicBezTo>
                    <a:pt x="7080" y="4192"/>
                    <a:pt x="14015" y="11119"/>
                    <a:pt x="16688" y="13397"/>
                  </a:cubicBezTo>
                  <a:cubicBezTo>
                    <a:pt x="16688" y="13397"/>
                    <a:pt x="21600" y="14400"/>
                    <a:pt x="21383" y="17772"/>
                  </a:cubicBezTo>
                  <a:cubicBezTo>
                    <a:pt x="21383" y="21144"/>
                    <a:pt x="17338" y="21600"/>
                    <a:pt x="14448" y="17043"/>
                  </a:cubicBezTo>
                  <a:cubicBezTo>
                    <a:pt x="14448" y="17043"/>
                    <a:pt x="6068" y="12668"/>
                    <a:pt x="4262" y="10299"/>
                  </a:cubicBezTo>
                  <a:cubicBezTo>
                    <a:pt x="2601" y="8020"/>
                    <a:pt x="0" y="2370"/>
                    <a:pt x="0" y="237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4" name="Shape 1405"/>
            <p:cNvSpPr/>
            <p:nvPr/>
          </p:nvSpPr>
          <p:spPr>
            <a:xfrm>
              <a:off x="158344" y="555911"/>
              <a:ext cx="68636" cy="849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29" h="19153" extrusionOk="0">
                  <a:moveTo>
                    <a:pt x="3479" y="279"/>
                  </a:moveTo>
                  <a:cubicBezTo>
                    <a:pt x="11804" y="-2447"/>
                    <a:pt x="16529" y="15693"/>
                    <a:pt x="16529" y="15693"/>
                  </a:cubicBezTo>
                  <a:cubicBezTo>
                    <a:pt x="16529" y="15693"/>
                    <a:pt x="15291" y="16846"/>
                    <a:pt x="11804" y="18000"/>
                  </a:cubicBezTo>
                  <a:cubicBezTo>
                    <a:pt x="7979" y="19153"/>
                    <a:pt x="4829" y="19153"/>
                    <a:pt x="4829" y="19153"/>
                  </a:cubicBezTo>
                  <a:cubicBezTo>
                    <a:pt x="4829" y="19153"/>
                    <a:pt x="-5071" y="2901"/>
                    <a:pt x="3479" y="279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5" name="Shape 1406"/>
            <p:cNvSpPr/>
            <p:nvPr/>
          </p:nvSpPr>
          <p:spPr>
            <a:xfrm>
              <a:off x="63521" y="751222"/>
              <a:ext cx="116331" cy="1849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150" extrusionOk="0">
                  <a:moveTo>
                    <a:pt x="9802" y="123"/>
                  </a:moveTo>
                  <a:cubicBezTo>
                    <a:pt x="12058" y="-584"/>
                    <a:pt x="21600" y="1990"/>
                    <a:pt x="21600" y="1990"/>
                  </a:cubicBezTo>
                  <a:cubicBezTo>
                    <a:pt x="21600" y="1990"/>
                    <a:pt x="15701" y="11780"/>
                    <a:pt x="13966" y="13345"/>
                  </a:cubicBezTo>
                  <a:cubicBezTo>
                    <a:pt x="12058" y="14909"/>
                    <a:pt x="7373" y="19603"/>
                    <a:pt x="7373" y="19603"/>
                  </a:cubicBezTo>
                  <a:cubicBezTo>
                    <a:pt x="7373" y="19603"/>
                    <a:pt x="1475" y="21016"/>
                    <a:pt x="0" y="19300"/>
                  </a:cubicBezTo>
                  <a:cubicBezTo>
                    <a:pt x="0" y="19300"/>
                    <a:pt x="1475" y="13496"/>
                    <a:pt x="4945" y="11074"/>
                  </a:cubicBezTo>
                  <a:cubicBezTo>
                    <a:pt x="4945" y="11074"/>
                    <a:pt x="7894" y="880"/>
                    <a:pt x="9802" y="123"/>
                  </a:cubicBezTo>
                </a:path>
              </a:pathLst>
            </a:custGeom>
            <a:solidFill>
              <a:srgbClr val="47645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6" name="Shape 1407"/>
            <p:cNvSpPr/>
            <p:nvPr/>
          </p:nvSpPr>
          <p:spPr>
            <a:xfrm>
              <a:off x="90585" y="764305"/>
              <a:ext cx="109757" cy="2345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23" h="21177" extrusionOk="0">
                  <a:moveTo>
                    <a:pt x="13473" y="713"/>
                  </a:moveTo>
                  <a:cubicBezTo>
                    <a:pt x="13473" y="713"/>
                    <a:pt x="18063" y="8976"/>
                    <a:pt x="18873" y="10611"/>
                  </a:cubicBezTo>
                  <a:cubicBezTo>
                    <a:pt x="19593" y="12289"/>
                    <a:pt x="21123" y="20551"/>
                    <a:pt x="21123" y="20551"/>
                  </a:cubicBezTo>
                  <a:cubicBezTo>
                    <a:pt x="17343" y="21600"/>
                    <a:pt x="12753" y="21013"/>
                    <a:pt x="12753" y="21013"/>
                  </a:cubicBezTo>
                  <a:lnTo>
                    <a:pt x="8433" y="10485"/>
                  </a:lnTo>
                  <a:cubicBezTo>
                    <a:pt x="8433" y="10485"/>
                    <a:pt x="3573" y="5662"/>
                    <a:pt x="1593" y="3901"/>
                  </a:cubicBezTo>
                  <a:cubicBezTo>
                    <a:pt x="-477" y="2013"/>
                    <a:pt x="63" y="0"/>
                    <a:pt x="63" y="0"/>
                  </a:cubicBezTo>
                  <a:lnTo>
                    <a:pt x="13473" y="713"/>
                  </a:lnTo>
                </a:path>
              </a:pathLst>
            </a:custGeom>
            <a:solidFill>
              <a:srgbClr val="4773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7" name="Shape 1408"/>
            <p:cNvSpPr/>
            <p:nvPr/>
          </p:nvSpPr>
          <p:spPr>
            <a:xfrm>
              <a:off x="84011" y="550935"/>
              <a:ext cx="114285" cy="2299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9429" extrusionOk="0">
                  <a:moveTo>
                    <a:pt x="21600" y="2581"/>
                  </a:moveTo>
                  <a:lnTo>
                    <a:pt x="19580" y="18644"/>
                  </a:lnTo>
                  <a:cubicBezTo>
                    <a:pt x="10712" y="20411"/>
                    <a:pt x="0" y="18644"/>
                    <a:pt x="0" y="18644"/>
                  </a:cubicBezTo>
                  <a:lnTo>
                    <a:pt x="0" y="2228"/>
                  </a:lnTo>
                  <a:cubicBezTo>
                    <a:pt x="8254" y="-1189"/>
                    <a:pt x="18351" y="343"/>
                    <a:pt x="18351" y="343"/>
                  </a:cubicBezTo>
                  <a:cubicBezTo>
                    <a:pt x="20898" y="892"/>
                    <a:pt x="21600" y="2581"/>
                    <a:pt x="21600" y="2581"/>
                  </a:cubicBezTo>
                </a:path>
              </a:pathLst>
            </a:custGeom>
            <a:solidFill>
              <a:srgbClr val="476A6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8" name="Shape 1409"/>
            <p:cNvSpPr/>
            <p:nvPr/>
          </p:nvSpPr>
          <p:spPr>
            <a:xfrm>
              <a:off x="116797" y="534808"/>
              <a:ext cx="50179" cy="512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189" h="18788" extrusionOk="0">
                  <a:moveTo>
                    <a:pt x="14560" y="0"/>
                  </a:moveTo>
                  <a:lnTo>
                    <a:pt x="14560" y="6293"/>
                  </a:lnTo>
                  <a:cubicBezTo>
                    <a:pt x="14560" y="6293"/>
                    <a:pt x="21600" y="14797"/>
                    <a:pt x="12640" y="18198"/>
                  </a:cubicBezTo>
                  <a:cubicBezTo>
                    <a:pt x="3520" y="21600"/>
                    <a:pt x="0" y="9184"/>
                    <a:pt x="0" y="9184"/>
                  </a:cubicBezTo>
                  <a:lnTo>
                    <a:pt x="5920" y="2891"/>
                  </a:lnTo>
                  <a:lnTo>
                    <a:pt x="14560" y="0"/>
                  </a:lnTo>
                </a:path>
              </a:pathLst>
            </a:custGeom>
            <a:solidFill>
              <a:srgbClr val="FFE98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9" name="Shape 1410"/>
            <p:cNvSpPr/>
            <p:nvPr/>
          </p:nvSpPr>
          <p:spPr>
            <a:xfrm>
              <a:off x="90159" y="639311"/>
              <a:ext cx="137525" cy="1036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0" h="20324" extrusionOk="0">
                  <a:moveTo>
                    <a:pt x="0" y="2278"/>
                  </a:moveTo>
                  <a:lnTo>
                    <a:pt x="6285" y="0"/>
                  </a:lnTo>
                  <a:lnTo>
                    <a:pt x="7152" y="4101"/>
                  </a:lnTo>
                  <a:cubicBezTo>
                    <a:pt x="7152" y="4101"/>
                    <a:pt x="14015" y="11028"/>
                    <a:pt x="16688" y="13306"/>
                  </a:cubicBezTo>
                  <a:cubicBezTo>
                    <a:pt x="16688" y="13306"/>
                    <a:pt x="21600" y="14400"/>
                    <a:pt x="21383" y="17681"/>
                  </a:cubicBezTo>
                  <a:cubicBezTo>
                    <a:pt x="21383" y="21053"/>
                    <a:pt x="17338" y="21600"/>
                    <a:pt x="14448" y="16952"/>
                  </a:cubicBezTo>
                  <a:cubicBezTo>
                    <a:pt x="14448" y="16952"/>
                    <a:pt x="6068" y="12577"/>
                    <a:pt x="4262" y="10299"/>
                  </a:cubicBezTo>
                  <a:cubicBezTo>
                    <a:pt x="2601" y="7929"/>
                    <a:pt x="0" y="2278"/>
                    <a:pt x="0" y="2278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0" name="Shape 1411"/>
            <p:cNvSpPr/>
            <p:nvPr/>
          </p:nvSpPr>
          <p:spPr>
            <a:xfrm>
              <a:off x="70234" y="576020"/>
              <a:ext cx="68636" cy="853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29" h="19239" extrusionOk="0">
                  <a:moveTo>
                    <a:pt x="3479" y="260"/>
                  </a:moveTo>
                  <a:cubicBezTo>
                    <a:pt x="11804" y="-2361"/>
                    <a:pt x="16529" y="15674"/>
                    <a:pt x="16529" y="15674"/>
                  </a:cubicBezTo>
                  <a:cubicBezTo>
                    <a:pt x="16529" y="15674"/>
                    <a:pt x="15291" y="16827"/>
                    <a:pt x="11804" y="17981"/>
                  </a:cubicBezTo>
                  <a:cubicBezTo>
                    <a:pt x="7979" y="19239"/>
                    <a:pt x="4829" y="19239"/>
                    <a:pt x="4829" y="19239"/>
                  </a:cubicBezTo>
                  <a:cubicBezTo>
                    <a:pt x="4829" y="19239"/>
                    <a:pt x="-5071" y="2987"/>
                    <a:pt x="3479" y="260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1" name="Shape 1412"/>
            <p:cNvSpPr/>
            <p:nvPr/>
          </p:nvSpPr>
          <p:spPr>
            <a:xfrm>
              <a:off x="98355" y="479483"/>
              <a:ext cx="85595" cy="896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900"/>
                  </a:moveTo>
                  <a:cubicBezTo>
                    <a:pt x="0" y="9225"/>
                    <a:pt x="354" y="8887"/>
                    <a:pt x="354" y="7987"/>
                  </a:cubicBezTo>
                  <a:lnTo>
                    <a:pt x="354" y="7650"/>
                  </a:lnTo>
                  <a:cubicBezTo>
                    <a:pt x="590" y="7313"/>
                    <a:pt x="590" y="6975"/>
                    <a:pt x="944" y="6975"/>
                  </a:cubicBezTo>
                  <a:lnTo>
                    <a:pt x="1652" y="6975"/>
                  </a:lnTo>
                  <a:cubicBezTo>
                    <a:pt x="2007" y="6975"/>
                    <a:pt x="2243" y="7313"/>
                    <a:pt x="2597" y="7650"/>
                  </a:cubicBezTo>
                  <a:lnTo>
                    <a:pt x="2951" y="7987"/>
                  </a:lnTo>
                  <a:cubicBezTo>
                    <a:pt x="3659" y="8550"/>
                    <a:pt x="4013" y="9900"/>
                    <a:pt x="4249" y="11137"/>
                  </a:cubicBezTo>
                  <a:cubicBezTo>
                    <a:pt x="4957" y="11475"/>
                    <a:pt x="5311" y="11812"/>
                    <a:pt x="5666" y="11812"/>
                  </a:cubicBezTo>
                  <a:cubicBezTo>
                    <a:pt x="5666" y="11475"/>
                    <a:pt x="5902" y="10800"/>
                    <a:pt x="5902" y="9900"/>
                  </a:cubicBezTo>
                  <a:lnTo>
                    <a:pt x="5902" y="6413"/>
                  </a:lnTo>
                  <a:lnTo>
                    <a:pt x="4603" y="4163"/>
                  </a:lnTo>
                  <a:cubicBezTo>
                    <a:pt x="4603" y="3150"/>
                    <a:pt x="4957" y="2250"/>
                    <a:pt x="5666" y="1350"/>
                  </a:cubicBezTo>
                  <a:cubicBezTo>
                    <a:pt x="5902" y="675"/>
                    <a:pt x="6610" y="338"/>
                    <a:pt x="7318" y="0"/>
                  </a:cubicBezTo>
                  <a:lnTo>
                    <a:pt x="8262" y="0"/>
                  </a:lnTo>
                  <a:cubicBezTo>
                    <a:pt x="9325" y="338"/>
                    <a:pt x="10269" y="1013"/>
                    <a:pt x="11921" y="1913"/>
                  </a:cubicBezTo>
                  <a:cubicBezTo>
                    <a:pt x="13574" y="2925"/>
                    <a:pt x="15344" y="3150"/>
                    <a:pt x="16997" y="3150"/>
                  </a:cubicBezTo>
                  <a:cubicBezTo>
                    <a:pt x="18649" y="3150"/>
                    <a:pt x="19593" y="2925"/>
                    <a:pt x="20302" y="2250"/>
                  </a:cubicBezTo>
                  <a:cubicBezTo>
                    <a:pt x="20892" y="1575"/>
                    <a:pt x="21246" y="1350"/>
                    <a:pt x="21246" y="1013"/>
                  </a:cubicBezTo>
                  <a:cubicBezTo>
                    <a:pt x="21600" y="1913"/>
                    <a:pt x="21600" y="2588"/>
                    <a:pt x="21600" y="3150"/>
                  </a:cubicBezTo>
                  <a:lnTo>
                    <a:pt x="21600" y="7650"/>
                  </a:lnTo>
                  <a:cubicBezTo>
                    <a:pt x="21600" y="11137"/>
                    <a:pt x="21246" y="13725"/>
                    <a:pt x="20656" y="15300"/>
                  </a:cubicBezTo>
                  <a:cubicBezTo>
                    <a:pt x="19948" y="16875"/>
                    <a:pt x="19239" y="18113"/>
                    <a:pt x="18649" y="18787"/>
                  </a:cubicBezTo>
                  <a:cubicBezTo>
                    <a:pt x="18649" y="19125"/>
                    <a:pt x="18295" y="19350"/>
                    <a:pt x="17941" y="19687"/>
                  </a:cubicBezTo>
                  <a:cubicBezTo>
                    <a:pt x="17941" y="20025"/>
                    <a:pt x="17587" y="20025"/>
                    <a:pt x="17233" y="20362"/>
                  </a:cubicBezTo>
                  <a:cubicBezTo>
                    <a:pt x="17233" y="20700"/>
                    <a:pt x="17233" y="20700"/>
                    <a:pt x="16997" y="20700"/>
                  </a:cubicBezTo>
                  <a:cubicBezTo>
                    <a:pt x="16643" y="20700"/>
                    <a:pt x="16643" y="20700"/>
                    <a:pt x="16289" y="21037"/>
                  </a:cubicBezTo>
                  <a:cubicBezTo>
                    <a:pt x="15934" y="21262"/>
                    <a:pt x="15934" y="21262"/>
                    <a:pt x="15580" y="21262"/>
                  </a:cubicBezTo>
                  <a:cubicBezTo>
                    <a:pt x="15344" y="21600"/>
                    <a:pt x="14636" y="21600"/>
                    <a:pt x="13928" y="21600"/>
                  </a:cubicBezTo>
                  <a:cubicBezTo>
                    <a:pt x="12984" y="21600"/>
                    <a:pt x="11921" y="21600"/>
                    <a:pt x="10977" y="21262"/>
                  </a:cubicBezTo>
                  <a:cubicBezTo>
                    <a:pt x="9679" y="21037"/>
                    <a:pt x="8262" y="20025"/>
                    <a:pt x="6964" y="18787"/>
                  </a:cubicBezTo>
                  <a:cubicBezTo>
                    <a:pt x="6256" y="17775"/>
                    <a:pt x="5311" y="16875"/>
                    <a:pt x="4603" y="15637"/>
                  </a:cubicBezTo>
                  <a:lnTo>
                    <a:pt x="3659" y="13725"/>
                  </a:lnTo>
                  <a:cubicBezTo>
                    <a:pt x="3659" y="13725"/>
                    <a:pt x="3659" y="13950"/>
                    <a:pt x="3305" y="13950"/>
                  </a:cubicBezTo>
                  <a:lnTo>
                    <a:pt x="2951" y="13950"/>
                  </a:lnTo>
                  <a:cubicBezTo>
                    <a:pt x="2243" y="13950"/>
                    <a:pt x="1652" y="13725"/>
                    <a:pt x="944" y="12375"/>
                  </a:cubicBezTo>
                  <a:cubicBezTo>
                    <a:pt x="590" y="11475"/>
                    <a:pt x="354" y="10800"/>
                    <a:pt x="0" y="990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2" name="Shape 1413"/>
            <p:cNvSpPr/>
            <p:nvPr/>
          </p:nvSpPr>
          <p:spPr>
            <a:xfrm>
              <a:off x="98702" y="458992"/>
              <a:ext cx="93449" cy="753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20" h="21600" extrusionOk="0">
                  <a:moveTo>
                    <a:pt x="4708" y="8956"/>
                  </a:moveTo>
                  <a:cubicBezTo>
                    <a:pt x="4070" y="10010"/>
                    <a:pt x="3751" y="10800"/>
                    <a:pt x="3751" y="12249"/>
                  </a:cubicBezTo>
                  <a:lnTo>
                    <a:pt x="5240" y="15278"/>
                  </a:lnTo>
                  <a:cubicBezTo>
                    <a:pt x="5240" y="15673"/>
                    <a:pt x="4389" y="20810"/>
                    <a:pt x="4389" y="21600"/>
                  </a:cubicBezTo>
                  <a:cubicBezTo>
                    <a:pt x="4070" y="21600"/>
                    <a:pt x="3751" y="21205"/>
                    <a:pt x="3219" y="20810"/>
                  </a:cubicBezTo>
                  <a:cubicBezTo>
                    <a:pt x="2899" y="19361"/>
                    <a:pt x="2580" y="17912"/>
                    <a:pt x="1942" y="17122"/>
                  </a:cubicBezTo>
                  <a:lnTo>
                    <a:pt x="1622" y="16727"/>
                  </a:lnTo>
                  <a:cubicBezTo>
                    <a:pt x="1410" y="16332"/>
                    <a:pt x="1090" y="16068"/>
                    <a:pt x="771" y="16068"/>
                  </a:cubicBezTo>
                  <a:lnTo>
                    <a:pt x="133" y="16068"/>
                  </a:lnTo>
                  <a:cubicBezTo>
                    <a:pt x="-80" y="13434"/>
                    <a:pt x="-80" y="11590"/>
                    <a:pt x="452" y="9746"/>
                  </a:cubicBezTo>
                  <a:cubicBezTo>
                    <a:pt x="1410" y="3820"/>
                    <a:pt x="4070" y="395"/>
                    <a:pt x="8326" y="0"/>
                  </a:cubicBezTo>
                  <a:cubicBezTo>
                    <a:pt x="13114" y="0"/>
                    <a:pt x="16093" y="1580"/>
                    <a:pt x="17583" y="4873"/>
                  </a:cubicBezTo>
                  <a:cubicBezTo>
                    <a:pt x="17902" y="5268"/>
                    <a:pt x="18753" y="6717"/>
                    <a:pt x="19073" y="7112"/>
                  </a:cubicBezTo>
                  <a:cubicBezTo>
                    <a:pt x="19392" y="7902"/>
                    <a:pt x="21201" y="7902"/>
                    <a:pt x="21520" y="8561"/>
                  </a:cubicBezTo>
                  <a:cubicBezTo>
                    <a:pt x="21520" y="8956"/>
                    <a:pt x="21094" y="9220"/>
                    <a:pt x="20562" y="10010"/>
                  </a:cubicBezTo>
                  <a:cubicBezTo>
                    <a:pt x="19924" y="10668"/>
                    <a:pt x="19073" y="12249"/>
                    <a:pt x="17583" y="12249"/>
                  </a:cubicBezTo>
                  <a:cubicBezTo>
                    <a:pt x="16093" y="12249"/>
                    <a:pt x="11837" y="11590"/>
                    <a:pt x="10348" y="10800"/>
                  </a:cubicBezTo>
                  <a:cubicBezTo>
                    <a:pt x="8858" y="9746"/>
                    <a:pt x="8007" y="8166"/>
                    <a:pt x="7049" y="7507"/>
                  </a:cubicBezTo>
                  <a:lnTo>
                    <a:pt x="6198" y="7507"/>
                  </a:lnTo>
                  <a:cubicBezTo>
                    <a:pt x="5879" y="7507"/>
                    <a:pt x="5240" y="7902"/>
                    <a:pt x="4708" y="8956"/>
                  </a:cubicBezTo>
                </a:path>
              </a:pathLst>
            </a:custGeom>
            <a:solidFill>
              <a:srgbClr val="DECB2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3" name="Shape 1414"/>
            <p:cNvSpPr/>
            <p:nvPr/>
          </p:nvSpPr>
          <p:spPr>
            <a:xfrm>
              <a:off x="380900" y="643409"/>
              <a:ext cx="16393" cy="1019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788" y="0"/>
                  </a:moveTo>
                  <a:cubicBezTo>
                    <a:pt x="17788" y="297"/>
                    <a:pt x="17788" y="594"/>
                    <a:pt x="21600" y="594"/>
                  </a:cubicBezTo>
                  <a:cubicBezTo>
                    <a:pt x="21600" y="1090"/>
                    <a:pt x="17788" y="1387"/>
                    <a:pt x="17788" y="1684"/>
                  </a:cubicBezTo>
                  <a:lnTo>
                    <a:pt x="17788" y="0"/>
                  </a:lnTo>
                  <a:close/>
                  <a:moveTo>
                    <a:pt x="17788" y="15952"/>
                  </a:moveTo>
                  <a:lnTo>
                    <a:pt x="17788" y="16547"/>
                  </a:lnTo>
                  <a:cubicBezTo>
                    <a:pt x="17788" y="16844"/>
                    <a:pt x="17788" y="17042"/>
                    <a:pt x="13976" y="17637"/>
                  </a:cubicBezTo>
                  <a:lnTo>
                    <a:pt x="13976" y="18231"/>
                  </a:lnTo>
                  <a:cubicBezTo>
                    <a:pt x="10165" y="18429"/>
                    <a:pt x="10165" y="19024"/>
                    <a:pt x="10165" y="19321"/>
                  </a:cubicBezTo>
                  <a:lnTo>
                    <a:pt x="10165" y="19916"/>
                  </a:lnTo>
                  <a:lnTo>
                    <a:pt x="0" y="21600"/>
                  </a:lnTo>
                  <a:lnTo>
                    <a:pt x="0" y="5648"/>
                  </a:lnTo>
                  <a:lnTo>
                    <a:pt x="10165" y="3963"/>
                  </a:lnTo>
                  <a:cubicBezTo>
                    <a:pt x="10165" y="3666"/>
                    <a:pt x="10165" y="3666"/>
                    <a:pt x="13976" y="3369"/>
                  </a:cubicBezTo>
                  <a:cubicBezTo>
                    <a:pt x="17788" y="3072"/>
                    <a:pt x="17788" y="2576"/>
                    <a:pt x="17788" y="2279"/>
                  </a:cubicBezTo>
                  <a:lnTo>
                    <a:pt x="17788" y="15952"/>
                  </a:lnTo>
                  <a:close/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4" name="Shape 1415"/>
            <p:cNvSpPr/>
            <p:nvPr/>
          </p:nvSpPr>
          <p:spPr>
            <a:xfrm>
              <a:off x="870857" y="711029"/>
              <a:ext cx="38475" cy="958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6567"/>
                  </a:lnTo>
                  <a:lnTo>
                    <a:pt x="0" y="21600"/>
                  </a:lnTo>
                  <a:lnTo>
                    <a:pt x="0" y="5033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5" name="Shape 1416"/>
            <p:cNvSpPr/>
            <p:nvPr/>
          </p:nvSpPr>
          <p:spPr>
            <a:xfrm>
              <a:off x="116797" y="702833"/>
              <a:ext cx="128628" cy="1245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7979"/>
                  </a:moveTo>
                  <a:lnTo>
                    <a:pt x="21600" y="20955"/>
                  </a:lnTo>
                  <a:lnTo>
                    <a:pt x="21366" y="20955"/>
                  </a:lnTo>
                  <a:cubicBezTo>
                    <a:pt x="20430" y="21116"/>
                    <a:pt x="19339" y="21116"/>
                    <a:pt x="18481" y="21358"/>
                  </a:cubicBezTo>
                  <a:lnTo>
                    <a:pt x="17389" y="21358"/>
                  </a:lnTo>
                  <a:cubicBezTo>
                    <a:pt x="16921" y="21358"/>
                    <a:pt x="16531" y="21600"/>
                    <a:pt x="16064" y="21600"/>
                  </a:cubicBezTo>
                  <a:lnTo>
                    <a:pt x="13412" y="21600"/>
                  </a:lnTo>
                  <a:cubicBezTo>
                    <a:pt x="12788" y="21600"/>
                    <a:pt x="12321" y="21600"/>
                    <a:pt x="11853" y="21358"/>
                  </a:cubicBezTo>
                  <a:lnTo>
                    <a:pt x="11697" y="21358"/>
                  </a:lnTo>
                  <a:cubicBezTo>
                    <a:pt x="11229" y="21358"/>
                    <a:pt x="10527" y="21116"/>
                    <a:pt x="10137" y="21116"/>
                  </a:cubicBezTo>
                  <a:lnTo>
                    <a:pt x="9279" y="21116"/>
                  </a:lnTo>
                  <a:cubicBezTo>
                    <a:pt x="9045" y="21116"/>
                    <a:pt x="8812" y="21116"/>
                    <a:pt x="8578" y="20955"/>
                  </a:cubicBezTo>
                  <a:cubicBezTo>
                    <a:pt x="8344" y="20955"/>
                    <a:pt x="7954" y="20713"/>
                    <a:pt x="7720" y="20713"/>
                  </a:cubicBezTo>
                  <a:cubicBezTo>
                    <a:pt x="7486" y="20713"/>
                    <a:pt x="7486" y="20713"/>
                    <a:pt x="7252" y="20472"/>
                  </a:cubicBezTo>
                  <a:lnTo>
                    <a:pt x="7018" y="20472"/>
                  </a:lnTo>
                  <a:cubicBezTo>
                    <a:pt x="6394" y="20230"/>
                    <a:pt x="5926" y="19988"/>
                    <a:pt x="5536" y="19988"/>
                  </a:cubicBezTo>
                  <a:cubicBezTo>
                    <a:pt x="4835" y="19827"/>
                    <a:pt x="4367" y="19585"/>
                    <a:pt x="3743" y="19101"/>
                  </a:cubicBezTo>
                  <a:cubicBezTo>
                    <a:pt x="1092" y="17490"/>
                    <a:pt x="0" y="15475"/>
                    <a:pt x="0" y="12976"/>
                  </a:cubicBezTo>
                  <a:lnTo>
                    <a:pt x="0" y="0"/>
                  </a:lnTo>
                  <a:cubicBezTo>
                    <a:pt x="0" y="2499"/>
                    <a:pt x="1326" y="4513"/>
                    <a:pt x="3743" y="6125"/>
                  </a:cubicBezTo>
                  <a:cubicBezTo>
                    <a:pt x="4211" y="6367"/>
                    <a:pt x="4835" y="6851"/>
                    <a:pt x="5536" y="7093"/>
                  </a:cubicBezTo>
                  <a:cubicBezTo>
                    <a:pt x="6160" y="7254"/>
                    <a:pt x="6628" y="7496"/>
                    <a:pt x="7252" y="7737"/>
                  </a:cubicBezTo>
                  <a:cubicBezTo>
                    <a:pt x="7486" y="7737"/>
                    <a:pt x="7486" y="7737"/>
                    <a:pt x="7720" y="7979"/>
                  </a:cubicBezTo>
                  <a:cubicBezTo>
                    <a:pt x="8110" y="8221"/>
                    <a:pt x="8578" y="8221"/>
                    <a:pt x="9279" y="8382"/>
                  </a:cubicBezTo>
                  <a:lnTo>
                    <a:pt x="9669" y="8382"/>
                  </a:lnTo>
                  <a:cubicBezTo>
                    <a:pt x="10371" y="8624"/>
                    <a:pt x="10995" y="8624"/>
                    <a:pt x="11697" y="8624"/>
                  </a:cubicBezTo>
                  <a:cubicBezTo>
                    <a:pt x="11697" y="8624"/>
                    <a:pt x="11697" y="8624"/>
                    <a:pt x="11853" y="8624"/>
                  </a:cubicBezTo>
                  <a:lnTo>
                    <a:pt x="16064" y="8624"/>
                  </a:lnTo>
                  <a:cubicBezTo>
                    <a:pt x="16531" y="8624"/>
                    <a:pt x="16921" y="8624"/>
                    <a:pt x="17389" y="8382"/>
                  </a:cubicBezTo>
                  <a:cubicBezTo>
                    <a:pt x="17857" y="8382"/>
                    <a:pt x="18013" y="8382"/>
                    <a:pt x="18481" y="8221"/>
                  </a:cubicBezTo>
                  <a:cubicBezTo>
                    <a:pt x="19339" y="7979"/>
                    <a:pt x="20274" y="7979"/>
                    <a:pt x="21366" y="7737"/>
                  </a:cubicBezTo>
                  <a:cubicBezTo>
                    <a:pt x="21366" y="7737"/>
                    <a:pt x="21600" y="7737"/>
                    <a:pt x="21600" y="7979"/>
                  </a:cubicBezTo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6" name="Shape 1417"/>
            <p:cNvSpPr/>
            <p:nvPr/>
          </p:nvSpPr>
          <p:spPr>
            <a:xfrm>
              <a:off x="245888" y="747912"/>
              <a:ext cx="38476" cy="958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985"/>
                  </a:moveTo>
                  <a:lnTo>
                    <a:pt x="21600" y="21600"/>
                  </a:lnTo>
                  <a:lnTo>
                    <a:pt x="0" y="16719"/>
                  </a:lnTo>
                  <a:lnTo>
                    <a:pt x="0" y="0"/>
                  </a:lnTo>
                  <a:lnTo>
                    <a:pt x="21600" y="4985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7" name="Shape 1418"/>
            <p:cNvSpPr/>
            <p:nvPr/>
          </p:nvSpPr>
          <p:spPr>
            <a:xfrm>
              <a:off x="747912" y="727421"/>
              <a:ext cx="128627" cy="12248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713" y="14727"/>
                  </a:moveTo>
                  <a:cubicBezTo>
                    <a:pt x="5478" y="14727"/>
                    <a:pt x="5243" y="14973"/>
                    <a:pt x="5243" y="14973"/>
                  </a:cubicBezTo>
                  <a:cubicBezTo>
                    <a:pt x="4852" y="15218"/>
                    <a:pt x="4148" y="15464"/>
                    <a:pt x="3757" y="15709"/>
                  </a:cubicBezTo>
                  <a:cubicBezTo>
                    <a:pt x="3052" y="16118"/>
                    <a:pt x="2661" y="16609"/>
                    <a:pt x="2191" y="16855"/>
                  </a:cubicBezTo>
                  <a:cubicBezTo>
                    <a:pt x="1722" y="17264"/>
                    <a:pt x="1330" y="17755"/>
                    <a:pt x="1096" y="18245"/>
                  </a:cubicBezTo>
                  <a:cubicBezTo>
                    <a:pt x="1096" y="18491"/>
                    <a:pt x="1096" y="18491"/>
                    <a:pt x="861" y="18491"/>
                  </a:cubicBezTo>
                  <a:cubicBezTo>
                    <a:pt x="626" y="18818"/>
                    <a:pt x="391" y="19309"/>
                    <a:pt x="157" y="19800"/>
                  </a:cubicBezTo>
                  <a:lnTo>
                    <a:pt x="157" y="19964"/>
                  </a:lnTo>
                  <a:cubicBezTo>
                    <a:pt x="0" y="20455"/>
                    <a:pt x="0" y="21109"/>
                    <a:pt x="0" y="21600"/>
                  </a:cubicBezTo>
                  <a:lnTo>
                    <a:pt x="0" y="8264"/>
                  </a:lnTo>
                  <a:cubicBezTo>
                    <a:pt x="0" y="7855"/>
                    <a:pt x="0" y="7609"/>
                    <a:pt x="157" y="7118"/>
                  </a:cubicBezTo>
                  <a:cubicBezTo>
                    <a:pt x="157" y="6873"/>
                    <a:pt x="157" y="6873"/>
                    <a:pt x="391" y="6709"/>
                  </a:cubicBezTo>
                  <a:lnTo>
                    <a:pt x="391" y="6464"/>
                  </a:lnTo>
                  <a:cubicBezTo>
                    <a:pt x="391" y="6464"/>
                    <a:pt x="391" y="6218"/>
                    <a:pt x="626" y="6218"/>
                  </a:cubicBezTo>
                  <a:cubicBezTo>
                    <a:pt x="861" y="5973"/>
                    <a:pt x="861" y="5564"/>
                    <a:pt x="1096" y="5318"/>
                  </a:cubicBezTo>
                  <a:cubicBezTo>
                    <a:pt x="1096" y="5318"/>
                    <a:pt x="1096" y="5073"/>
                    <a:pt x="1330" y="5073"/>
                  </a:cubicBezTo>
                  <a:cubicBezTo>
                    <a:pt x="1330" y="4827"/>
                    <a:pt x="1330" y="4827"/>
                    <a:pt x="1487" y="4827"/>
                  </a:cubicBezTo>
                  <a:cubicBezTo>
                    <a:pt x="1722" y="4582"/>
                    <a:pt x="1722" y="4582"/>
                    <a:pt x="1722" y="4336"/>
                  </a:cubicBezTo>
                  <a:cubicBezTo>
                    <a:pt x="1957" y="4173"/>
                    <a:pt x="2191" y="3682"/>
                    <a:pt x="2661" y="3436"/>
                  </a:cubicBezTo>
                  <a:cubicBezTo>
                    <a:pt x="3052" y="3027"/>
                    <a:pt x="3522" y="2782"/>
                    <a:pt x="4148" y="2291"/>
                  </a:cubicBezTo>
                  <a:lnTo>
                    <a:pt x="4383" y="2291"/>
                  </a:lnTo>
                  <a:cubicBezTo>
                    <a:pt x="4852" y="2045"/>
                    <a:pt x="5243" y="1800"/>
                    <a:pt x="5948" y="1636"/>
                  </a:cubicBezTo>
                  <a:cubicBezTo>
                    <a:pt x="6183" y="1636"/>
                    <a:pt x="6417" y="1391"/>
                    <a:pt x="6417" y="1391"/>
                  </a:cubicBezTo>
                  <a:cubicBezTo>
                    <a:pt x="6574" y="1145"/>
                    <a:pt x="6809" y="1145"/>
                    <a:pt x="7043" y="1145"/>
                  </a:cubicBezTo>
                  <a:lnTo>
                    <a:pt x="7513" y="1145"/>
                  </a:lnTo>
                  <a:cubicBezTo>
                    <a:pt x="8139" y="900"/>
                    <a:pt x="8609" y="655"/>
                    <a:pt x="9235" y="655"/>
                  </a:cubicBezTo>
                  <a:cubicBezTo>
                    <a:pt x="9470" y="655"/>
                    <a:pt x="9470" y="409"/>
                    <a:pt x="9704" y="409"/>
                  </a:cubicBezTo>
                  <a:lnTo>
                    <a:pt x="9939" y="409"/>
                  </a:lnTo>
                  <a:cubicBezTo>
                    <a:pt x="10096" y="409"/>
                    <a:pt x="10330" y="409"/>
                    <a:pt x="10565" y="245"/>
                  </a:cubicBezTo>
                  <a:cubicBezTo>
                    <a:pt x="11035" y="245"/>
                    <a:pt x="11270" y="0"/>
                    <a:pt x="11661" y="0"/>
                  </a:cubicBezTo>
                  <a:lnTo>
                    <a:pt x="17452" y="0"/>
                  </a:lnTo>
                  <a:cubicBezTo>
                    <a:pt x="17609" y="0"/>
                    <a:pt x="18078" y="0"/>
                    <a:pt x="18313" y="245"/>
                  </a:cubicBezTo>
                  <a:cubicBezTo>
                    <a:pt x="18783" y="245"/>
                    <a:pt x="18939" y="245"/>
                    <a:pt x="19409" y="409"/>
                  </a:cubicBezTo>
                  <a:lnTo>
                    <a:pt x="19878" y="409"/>
                  </a:lnTo>
                  <a:cubicBezTo>
                    <a:pt x="20504" y="409"/>
                    <a:pt x="20974" y="655"/>
                    <a:pt x="21600" y="655"/>
                  </a:cubicBezTo>
                  <a:lnTo>
                    <a:pt x="21600" y="13827"/>
                  </a:lnTo>
                  <a:cubicBezTo>
                    <a:pt x="20974" y="13582"/>
                    <a:pt x="20270" y="13582"/>
                    <a:pt x="19409" y="13418"/>
                  </a:cubicBezTo>
                  <a:cubicBezTo>
                    <a:pt x="18939" y="13418"/>
                    <a:pt x="18783" y="13418"/>
                    <a:pt x="18313" y="13173"/>
                  </a:cubicBezTo>
                  <a:cubicBezTo>
                    <a:pt x="17843" y="13173"/>
                    <a:pt x="17452" y="13173"/>
                    <a:pt x="16983" y="12927"/>
                  </a:cubicBezTo>
                  <a:lnTo>
                    <a:pt x="11896" y="12927"/>
                  </a:lnTo>
                  <a:cubicBezTo>
                    <a:pt x="11426" y="12927"/>
                    <a:pt x="11035" y="13173"/>
                    <a:pt x="10565" y="13173"/>
                  </a:cubicBezTo>
                  <a:cubicBezTo>
                    <a:pt x="10330" y="13173"/>
                    <a:pt x="10096" y="13173"/>
                    <a:pt x="9939" y="13418"/>
                  </a:cubicBezTo>
                  <a:cubicBezTo>
                    <a:pt x="9704" y="13418"/>
                    <a:pt x="9470" y="13418"/>
                    <a:pt x="9235" y="13582"/>
                  </a:cubicBezTo>
                  <a:cubicBezTo>
                    <a:pt x="8609" y="13827"/>
                    <a:pt x="8139" y="13827"/>
                    <a:pt x="7513" y="14073"/>
                  </a:cubicBezTo>
                  <a:cubicBezTo>
                    <a:pt x="6417" y="14564"/>
                    <a:pt x="5948" y="14727"/>
                    <a:pt x="5713" y="14727"/>
                  </a:cubicBez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8" name="Shape 1419"/>
            <p:cNvSpPr/>
            <p:nvPr/>
          </p:nvSpPr>
          <p:spPr>
            <a:xfrm>
              <a:off x="1006915" y="813482"/>
              <a:ext cx="16394" cy="999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350"/>
                  </a:moveTo>
                  <a:lnTo>
                    <a:pt x="21600" y="21600"/>
                  </a:lnTo>
                  <a:cubicBezTo>
                    <a:pt x="21600" y="20692"/>
                    <a:pt x="21600" y="19884"/>
                    <a:pt x="16971" y="18976"/>
                  </a:cubicBezTo>
                  <a:cubicBezTo>
                    <a:pt x="12343" y="18168"/>
                    <a:pt x="7714" y="17260"/>
                    <a:pt x="0" y="16150"/>
                  </a:cubicBezTo>
                  <a:lnTo>
                    <a:pt x="0" y="0"/>
                  </a:lnTo>
                  <a:cubicBezTo>
                    <a:pt x="12343" y="2019"/>
                    <a:pt x="21600" y="3735"/>
                    <a:pt x="21600" y="5350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9" name="Shape 1420"/>
            <p:cNvSpPr/>
            <p:nvPr/>
          </p:nvSpPr>
          <p:spPr>
            <a:xfrm>
              <a:off x="356539" y="958967"/>
              <a:ext cx="267966" cy="1839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2851"/>
                  </a:moveTo>
                  <a:lnTo>
                    <a:pt x="21600" y="21600"/>
                  </a:lnTo>
                  <a:cubicBezTo>
                    <a:pt x="21600" y="18866"/>
                    <a:pt x="19918" y="15585"/>
                    <a:pt x="16667" y="12851"/>
                  </a:cubicBezTo>
                  <a:cubicBezTo>
                    <a:pt x="16219" y="12523"/>
                    <a:pt x="15920" y="12194"/>
                    <a:pt x="15509" y="11921"/>
                  </a:cubicBezTo>
                  <a:cubicBezTo>
                    <a:pt x="15397" y="11757"/>
                    <a:pt x="15284" y="11757"/>
                    <a:pt x="15172" y="11593"/>
                  </a:cubicBezTo>
                  <a:cubicBezTo>
                    <a:pt x="14873" y="11265"/>
                    <a:pt x="14537" y="11155"/>
                    <a:pt x="14238" y="10991"/>
                  </a:cubicBezTo>
                  <a:cubicBezTo>
                    <a:pt x="14126" y="10991"/>
                    <a:pt x="14014" y="10827"/>
                    <a:pt x="13902" y="10827"/>
                  </a:cubicBezTo>
                  <a:lnTo>
                    <a:pt x="11996" y="9898"/>
                  </a:lnTo>
                  <a:cubicBezTo>
                    <a:pt x="11921" y="9898"/>
                    <a:pt x="11921" y="9898"/>
                    <a:pt x="11809" y="9734"/>
                  </a:cubicBezTo>
                  <a:cubicBezTo>
                    <a:pt x="11361" y="9570"/>
                    <a:pt x="10837" y="9406"/>
                    <a:pt x="10426" y="9296"/>
                  </a:cubicBezTo>
                  <a:cubicBezTo>
                    <a:pt x="10314" y="9296"/>
                    <a:pt x="10202" y="9132"/>
                    <a:pt x="10127" y="9132"/>
                  </a:cubicBezTo>
                  <a:cubicBezTo>
                    <a:pt x="9791" y="8968"/>
                    <a:pt x="9567" y="8968"/>
                    <a:pt x="9268" y="8968"/>
                  </a:cubicBezTo>
                  <a:cubicBezTo>
                    <a:pt x="9156" y="8968"/>
                    <a:pt x="8969" y="8968"/>
                    <a:pt x="8857" y="8804"/>
                  </a:cubicBezTo>
                  <a:cubicBezTo>
                    <a:pt x="8633" y="8804"/>
                    <a:pt x="8408" y="8640"/>
                    <a:pt x="8221" y="8640"/>
                  </a:cubicBezTo>
                  <a:cubicBezTo>
                    <a:pt x="7997" y="8640"/>
                    <a:pt x="7885" y="8531"/>
                    <a:pt x="7773" y="8531"/>
                  </a:cubicBezTo>
                  <a:lnTo>
                    <a:pt x="5381" y="8531"/>
                  </a:lnTo>
                  <a:cubicBezTo>
                    <a:pt x="5157" y="8531"/>
                    <a:pt x="5045" y="8531"/>
                    <a:pt x="4933" y="8640"/>
                  </a:cubicBezTo>
                  <a:cubicBezTo>
                    <a:pt x="4821" y="8804"/>
                    <a:pt x="4634" y="8804"/>
                    <a:pt x="4410" y="8804"/>
                  </a:cubicBezTo>
                  <a:cubicBezTo>
                    <a:pt x="4298" y="8804"/>
                    <a:pt x="4111" y="8804"/>
                    <a:pt x="3999" y="8968"/>
                  </a:cubicBezTo>
                  <a:cubicBezTo>
                    <a:pt x="3588" y="9132"/>
                    <a:pt x="3251" y="9296"/>
                    <a:pt x="2952" y="9406"/>
                  </a:cubicBezTo>
                  <a:cubicBezTo>
                    <a:pt x="2728" y="9570"/>
                    <a:pt x="2616" y="9570"/>
                    <a:pt x="2504" y="9734"/>
                  </a:cubicBezTo>
                  <a:cubicBezTo>
                    <a:pt x="2429" y="9734"/>
                    <a:pt x="2317" y="9898"/>
                    <a:pt x="2317" y="9898"/>
                  </a:cubicBezTo>
                  <a:lnTo>
                    <a:pt x="1682" y="10335"/>
                  </a:lnTo>
                  <a:lnTo>
                    <a:pt x="1570" y="10499"/>
                  </a:lnTo>
                  <a:cubicBezTo>
                    <a:pt x="1345" y="10827"/>
                    <a:pt x="1046" y="10991"/>
                    <a:pt x="934" y="11265"/>
                  </a:cubicBezTo>
                  <a:lnTo>
                    <a:pt x="635" y="11757"/>
                  </a:lnTo>
                  <a:cubicBezTo>
                    <a:pt x="523" y="11757"/>
                    <a:pt x="523" y="11921"/>
                    <a:pt x="523" y="11921"/>
                  </a:cubicBezTo>
                  <a:cubicBezTo>
                    <a:pt x="523" y="12030"/>
                    <a:pt x="411" y="12030"/>
                    <a:pt x="411" y="12194"/>
                  </a:cubicBezTo>
                  <a:cubicBezTo>
                    <a:pt x="411" y="12358"/>
                    <a:pt x="299" y="12358"/>
                    <a:pt x="299" y="12523"/>
                  </a:cubicBezTo>
                  <a:cubicBezTo>
                    <a:pt x="187" y="12687"/>
                    <a:pt x="187" y="12687"/>
                    <a:pt x="187" y="12851"/>
                  </a:cubicBezTo>
                  <a:cubicBezTo>
                    <a:pt x="187" y="12960"/>
                    <a:pt x="187" y="12960"/>
                    <a:pt x="75" y="13124"/>
                  </a:cubicBezTo>
                  <a:cubicBezTo>
                    <a:pt x="75" y="13288"/>
                    <a:pt x="0" y="13452"/>
                    <a:pt x="0" y="13452"/>
                  </a:cubicBezTo>
                  <a:lnTo>
                    <a:pt x="0" y="4648"/>
                  </a:lnTo>
                  <a:cubicBezTo>
                    <a:pt x="0" y="4484"/>
                    <a:pt x="75" y="4320"/>
                    <a:pt x="75" y="4320"/>
                  </a:cubicBezTo>
                  <a:lnTo>
                    <a:pt x="75" y="4047"/>
                  </a:lnTo>
                  <a:cubicBezTo>
                    <a:pt x="75" y="3883"/>
                    <a:pt x="187" y="3883"/>
                    <a:pt x="187" y="3718"/>
                  </a:cubicBezTo>
                  <a:cubicBezTo>
                    <a:pt x="187" y="3718"/>
                    <a:pt x="187" y="3554"/>
                    <a:pt x="299" y="3554"/>
                  </a:cubicBezTo>
                  <a:lnTo>
                    <a:pt x="299" y="3390"/>
                  </a:lnTo>
                  <a:cubicBezTo>
                    <a:pt x="299" y="3281"/>
                    <a:pt x="411" y="3281"/>
                    <a:pt x="411" y="3117"/>
                  </a:cubicBezTo>
                  <a:lnTo>
                    <a:pt x="523" y="2953"/>
                  </a:lnTo>
                  <a:lnTo>
                    <a:pt x="822" y="2461"/>
                  </a:lnTo>
                  <a:cubicBezTo>
                    <a:pt x="1046" y="2187"/>
                    <a:pt x="1271" y="2023"/>
                    <a:pt x="1457" y="1695"/>
                  </a:cubicBezTo>
                  <a:lnTo>
                    <a:pt x="1570" y="1695"/>
                  </a:lnTo>
                  <a:cubicBezTo>
                    <a:pt x="1570" y="1695"/>
                    <a:pt x="1682" y="1695"/>
                    <a:pt x="1682" y="1586"/>
                  </a:cubicBezTo>
                  <a:lnTo>
                    <a:pt x="2317" y="1094"/>
                  </a:lnTo>
                  <a:cubicBezTo>
                    <a:pt x="2429" y="1094"/>
                    <a:pt x="2504" y="930"/>
                    <a:pt x="2504" y="930"/>
                  </a:cubicBezTo>
                  <a:cubicBezTo>
                    <a:pt x="2616" y="766"/>
                    <a:pt x="2840" y="766"/>
                    <a:pt x="2952" y="656"/>
                  </a:cubicBezTo>
                  <a:lnTo>
                    <a:pt x="3027" y="656"/>
                  </a:lnTo>
                  <a:cubicBezTo>
                    <a:pt x="3363" y="492"/>
                    <a:pt x="3774" y="328"/>
                    <a:pt x="4111" y="164"/>
                  </a:cubicBezTo>
                  <a:lnTo>
                    <a:pt x="4522" y="164"/>
                  </a:lnTo>
                  <a:cubicBezTo>
                    <a:pt x="4746" y="164"/>
                    <a:pt x="4821" y="0"/>
                    <a:pt x="5045" y="0"/>
                  </a:cubicBezTo>
                  <a:lnTo>
                    <a:pt x="8520" y="0"/>
                  </a:lnTo>
                  <a:cubicBezTo>
                    <a:pt x="8745" y="0"/>
                    <a:pt x="8969" y="164"/>
                    <a:pt x="9156" y="164"/>
                  </a:cubicBezTo>
                  <a:lnTo>
                    <a:pt x="9567" y="164"/>
                  </a:lnTo>
                  <a:cubicBezTo>
                    <a:pt x="9903" y="164"/>
                    <a:pt x="10127" y="328"/>
                    <a:pt x="10426" y="328"/>
                  </a:cubicBezTo>
                  <a:cubicBezTo>
                    <a:pt x="10538" y="328"/>
                    <a:pt x="10651" y="328"/>
                    <a:pt x="10763" y="492"/>
                  </a:cubicBezTo>
                  <a:lnTo>
                    <a:pt x="10837" y="492"/>
                  </a:lnTo>
                  <a:cubicBezTo>
                    <a:pt x="11286" y="656"/>
                    <a:pt x="11809" y="766"/>
                    <a:pt x="12220" y="930"/>
                  </a:cubicBezTo>
                  <a:lnTo>
                    <a:pt x="12332" y="930"/>
                  </a:lnTo>
                  <a:cubicBezTo>
                    <a:pt x="12444" y="930"/>
                    <a:pt x="12444" y="1094"/>
                    <a:pt x="12444" y="1094"/>
                  </a:cubicBezTo>
                  <a:lnTo>
                    <a:pt x="14313" y="2023"/>
                  </a:lnTo>
                  <a:lnTo>
                    <a:pt x="14425" y="2023"/>
                  </a:lnTo>
                  <a:cubicBezTo>
                    <a:pt x="14537" y="2023"/>
                    <a:pt x="14537" y="2187"/>
                    <a:pt x="14649" y="2187"/>
                  </a:cubicBezTo>
                  <a:cubicBezTo>
                    <a:pt x="14948" y="2351"/>
                    <a:pt x="15284" y="2625"/>
                    <a:pt x="15583" y="2789"/>
                  </a:cubicBezTo>
                  <a:cubicBezTo>
                    <a:pt x="15696" y="2953"/>
                    <a:pt x="15808" y="2953"/>
                    <a:pt x="15920" y="3117"/>
                  </a:cubicBezTo>
                  <a:cubicBezTo>
                    <a:pt x="16331" y="3390"/>
                    <a:pt x="16742" y="3718"/>
                    <a:pt x="17078" y="4047"/>
                  </a:cubicBezTo>
                  <a:cubicBezTo>
                    <a:pt x="19918" y="6671"/>
                    <a:pt x="21600" y="9898"/>
                    <a:pt x="21600" y="12851"/>
                  </a:cubicBez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0" name="Shape 1421"/>
            <p:cNvSpPr/>
            <p:nvPr/>
          </p:nvSpPr>
          <p:spPr>
            <a:xfrm>
              <a:off x="321704" y="1028636"/>
              <a:ext cx="40506" cy="97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6639"/>
                  </a:lnTo>
                  <a:lnTo>
                    <a:pt x="0" y="21600"/>
                  </a:lnTo>
                  <a:lnTo>
                    <a:pt x="0" y="4961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1" name="Shape 1422"/>
            <p:cNvSpPr/>
            <p:nvPr/>
          </p:nvSpPr>
          <p:spPr>
            <a:xfrm>
              <a:off x="59423" y="901593"/>
              <a:ext cx="261818" cy="2249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4444"/>
                  </a:moveTo>
                  <a:lnTo>
                    <a:pt x="21600" y="21600"/>
                  </a:lnTo>
                  <a:lnTo>
                    <a:pt x="0" y="7156"/>
                  </a:lnTo>
                  <a:lnTo>
                    <a:pt x="0" y="0"/>
                  </a:lnTo>
                  <a:lnTo>
                    <a:pt x="21600" y="14444"/>
                  </a:ln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2" name="Shape 1423"/>
            <p:cNvSpPr/>
            <p:nvPr/>
          </p:nvSpPr>
          <p:spPr>
            <a:xfrm>
              <a:off x="1086010" y="942574"/>
              <a:ext cx="224935" cy="2064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7850"/>
                  </a:lnTo>
                  <a:lnTo>
                    <a:pt x="0" y="21600"/>
                  </a:lnTo>
                  <a:lnTo>
                    <a:pt x="0" y="13750"/>
                  </a:lnTo>
                  <a:lnTo>
                    <a:pt x="21600" y="0"/>
                  </a:lnTo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3" name="Shape 1424"/>
            <p:cNvSpPr/>
            <p:nvPr/>
          </p:nvSpPr>
          <p:spPr>
            <a:xfrm>
              <a:off x="948721" y="1153629"/>
              <a:ext cx="40506" cy="97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271"/>
                  </a:moveTo>
                  <a:lnTo>
                    <a:pt x="21600" y="21600"/>
                  </a:lnTo>
                  <a:lnTo>
                    <a:pt x="0" y="16639"/>
                  </a:lnTo>
                  <a:lnTo>
                    <a:pt x="0" y="0"/>
                  </a:lnTo>
                  <a:lnTo>
                    <a:pt x="21600" y="5271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4" name="Shape 1425"/>
            <p:cNvSpPr/>
            <p:nvPr/>
          </p:nvSpPr>
          <p:spPr>
            <a:xfrm>
              <a:off x="979458" y="1139285"/>
              <a:ext cx="271717" cy="183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2" h="21600" extrusionOk="0">
                  <a:moveTo>
                    <a:pt x="21490" y="0"/>
                  </a:moveTo>
                  <a:cubicBezTo>
                    <a:pt x="21600" y="271"/>
                    <a:pt x="21600" y="597"/>
                    <a:pt x="21490" y="1357"/>
                  </a:cubicBezTo>
                  <a:lnTo>
                    <a:pt x="21490" y="0"/>
                  </a:lnTo>
                  <a:close/>
                  <a:moveTo>
                    <a:pt x="21490" y="8738"/>
                  </a:moveTo>
                  <a:lnTo>
                    <a:pt x="21490" y="8846"/>
                  </a:lnTo>
                  <a:cubicBezTo>
                    <a:pt x="21490" y="9172"/>
                    <a:pt x="21490" y="9497"/>
                    <a:pt x="21416" y="9660"/>
                  </a:cubicBezTo>
                  <a:cubicBezTo>
                    <a:pt x="21416" y="9769"/>
                    <a:pt x="21416" y="9769"/>
                    <a:pt x="21306" y="9932"/>
                  </a:cubicBezTo>
                  <a:cubicBezTo>
                    <a:pt x="21195" y="10257"/>
                    <a:pt x="21195" y="10420"/>
                    <a:pt x="21195" y="10529"/>
                  </a:cubicBezTo>
                  <a:lnTo>
                    <a:pt x="21195" y="10691"/>
                  </a:lnTo>
                  <a:cubicBezTo>
                    <a:pt x="21085" y="10854"/>
                    <a:pt x="21085" y="11017"/>
                    <a:pt x="20974" y="11180"/>
                  </a:cubicBezTo>
                  <a:cubicBezTo>
                    <a:pt x="20864" y="11343"/>
                    <a:pt x="20864" y="11451"/>
                    <a:pt x="20864" y="11614"/>
                  </a:cubicBezTo>
                  <a:cubicBezTo>
                    <a:pt x="20864" y="11614"/>
                    <a:pt x="20864" y="11777"/>
                    <a:pt x="20790" y="11777"/>
                  </a:cubicBezTo>
                  <a:cubicBezTo>
                    <a:pt x="20680" y="12103"/>
                    <a:pt x="20459" y="12374"/>
                    <a:pt x="20349" y="12699"/>
                  </a:cubicBezTo>
                  <a:cubicBezTo>
                    <a:pt x="20349" y="12862"/>
                    <a:pt x="20275" y="12862"/>
                    <a:pt x="20275" y="13025"/>
                  </a:cubicBezTo>
                  <a:lnTo>
                    <a:pt x="20165" y="13134"/>
                  </a:lnTo>
                  <a:cubicBezTo>
                    <a:pt x="19944" y="13459"/>
                    <a:pt x="19834" y="13785"/>
                    <a:pt x="19650" y="13948"/>
                  </a:cubicBezTo>
                  <a:lnTo>
                    <a:pt x="19429" y="14219"/>
                  </a:lnTo>
                  <a:lnTo>
                    <a:pt x="19208" y="14545"/>
                  </a:lnTo>
                  <a:lnTo>
                    <a:pt x="19024" y="14870"/>
                  </a:lnTo>
                  <a:cubicBezTo>
                    <a:pt x="18803" y="15142"/>
                    <a:pt x="18583" y="15305"/>
                    <a:pt x="18399" y="15630"/>
                  </a:cubicBezTo>
                  <a:cubicBezTo>
                    <a:pt x="18288" y="15739"/>
                    <a:pt x="18067" y="15902"/>
                    <a:pt x="17957" y="16064"/>
                  </a:cubicBezTo>
                  <a:cubicBezTo>
                    <a:pt x="17663" y="16390"/>
                    <a:pt x="17442" y="16553"/>
                    <a:pt x="17148" y="16824"/>
                  </a:cubicBezTo>
                  <a:cubicBezTo>
                    <a:pt x="17037" y="16987"/>
                    <a:pt x="16927" y="16987"/>
                    <a:pt x="16816" y="17150"/>
                  </a:cubicBezTo>
                  <a:cubicBezTo>
                    <a:pt x="16743" y="17313"/>
                    <a:pt x="16632" y="17313"/>
                    <a:pt x="16632" y="17421"/>
                  </a:cubicBezTo>
                  <a:cubicBezTo>
                    <a:pt x="16007" y="18072"/>
                    <a:pt x="15381" y="18507"/>
                    <a:pt x="14645" y="18832"/>
                  </a:cubicBezTo>
                  <a:lnTo>
                    <a:pt x="14535" y="18832"/>
                  </a:lnTo>
                  <a:cubicBezTo>
                    <a:pt x="13909" y="19266"/>
                    <a:pt x="13210" y="19592"/>
                    <a:pt x="12585" y="19918"/>
                  </a:cubicBezTo>
                  <a:cubicBezTo>
                    <a:pt x="12474" y="19918"/>
                    <a:pt x="12474" y="19918"/>
                    <a:pt x="12364" y="20026"/>
                  </a:cubicBezTo>
                  <a:cubicBezTo>
                    <a:pt x="12070" y="20189"/>
                    <a:pt x="11628" y="20352"/>
                    <a:pt x="11334" y="20515"/>
                  </a:cubicBezTo>
                  <a:cubicBezTo>
                    <a:pt x="11223" y="20677"/>
                    <a:pt x="11113" y="20677"/>
                    <a:pt x="10929" y="20677"/>
                  </a:cubicBezTo>
                  <a:cubicBezTo>
                    <a:pt x="10598" y="20840"/>
                    <a:pt x="10303" y="20949"/>
                    <a:pt x="9972" y="20949"/>
                  </a:cubicBezTo>
                  <a:cubicBezTo>
                    <a:pt x="9862" y="20949"/>
                    <a:pt x="9751" y="20949"/>
                    <a:pt x="9751" y="21112"/>
                  </a:cubicBezTo>
                  <a:lnTo>
                    <a:pt x="9678" y="21112"/>
                  </a:lnTo>
                  <a:cubicBezTo>
                    <a:pt x="9236" y="21274"/>
                    <a:pt x="8721" y="21274"/>
                    <a:pt x="8316" y="21437"/>
                  </a:cubicBezTo>
                  <a:lnTo>
                    <a:pt x="7911" y="21437"/>
                  </a:lnTo>
                  <a:cubicBezTo>
                    <a:pt x="7691" y="21437"/>
                    <a:pt x="7470" y="21600"/>
                    <a:pt x="7175" y="21600"/>
                  </a:cubicBezTo>
                  <a:lnTo>
                    <a:pt x="5299" y="21600"/>
                  </a:lnTo>
                  <a:cubicBezTo>
                    <a:pt x="5188" y="21600"/>
                    <a:pt x="5078" y="21600"/>
                    <a:pt x="4894" y="21437"/>
                  </a:cubicBezTo>
                  <a:lnTo>
                    <a:pt x="4563" y="21437"/>
                  </a:lnTo>
                  <a:cubicBezTo>
                    <a:pt x="4379" y="21437"/>
                    <a:pt x="4158" y="21274"/>
                    <a:pt x="3937" y="21274"/>
                  </a:cubicBezTo>
                  <a:lnTo>
                    <a:pt x="3864" y="21274"/>
                  </a:lnTo>
                  <a:cubicBezTo>
                    <a:pt x="3643" y="21274"/>
                    <a:pt x="3422" y="21112"/>
                    <a:pt x="3312" y="21112"/>
                  </a:cubicBezTo>
                  <a:lnTo>
                    <a:pt x="3238" y="21112"/>
                  </a:lnTo>
                  <a:cubicBezTo>
                    <a:pt x="3128" y="21112"/>
                    <a:pt x="3017" y="20949"/>
                    <a:pt x="2907" y="20949"/>
                  </a:cubicBezTo>
                  <a:cubicBezTo>
                    <a:pt x="2797" y="20949"/>
                    <a:pt x="2723" y="20840"/>
                    <a:pt x="2613" y="20840"/>
                  </a:cubicBezTo>
                  <a:lnTo>
                    <a:pt x="2502" y="20840"/>
                  </a:lnTo>
                  <a:cubicBezTo>
                    <a:pt x="2171" y="20677"/>
                    <a:pt x="1987" y="20515"/>
                    <a:pt x="1766" y="20352"/>
                  </a:cubicBezTo>
                  <a:cubicBezTo>
                    <a:pt x="515" y="19266"/>
                    <a:pt x="0" y="17910"/>
                    <a:pt x="0" y="16227"/>
                  </a:cubicBezTo>
                  <a:lnTo>
                    <a:pt x="0" y="7489"/>
                  </a:lnTo>
                  <a:cubicBezTo>
                    <a:pt x="0" y="9172"/>
                    <a:pt x="626" y="10529"/>
                    <a:pt x="1766" y="11614"/>
                  </a:cubicBezTo>
                  <a:cubicBezTo>
                    <a:pt x="1987" y="11777"/>
                    <a:pt x="2281" y="11940"/>
                    <a:pt x="2502" y="12103"/>
                  </a:cubicBezTo>
                  <a:cubicBezTo>
                    <a:pt x="2613" y="12265"/>
                    <a:pt x="2723" y="12265"/>
                    <a:pt x="2907" y="12265"/>
                  </a:cubicBezTo>
                  <a:cubicBezTo>
                    <a:pt x="3017" y="12265"/>
                    <a:pt x="3128" y="12374"/>
                    <a:pt x="3238" y="12374"/>
                  </a:cubicBezTo>
                  <a:cubicBezTo>
                    <a:pt x="3422" y="12537"/>
                    <a:pt x="3643" y="12537"/>
                    <a:pt x="3864" y="12699"/>
                  </a:cubicBezTo>
                  <a:lnTo>
                    <a:pt x="3937" y="12699"/>
                  </a:lnTo>
                  <a:cubicBezTo>
                    <a:pt x="4158" y="12862"/>
                    <a:pt x="4489" y="12862"/>
                    <a:pt x="4673" y="12862"/>
                  </a:cubicBezTo>
                  <a:lnTo>
                    <a:pt x="4894" y="12862"/>
                  </a:lnTo>
                  <a:cubicBezTo>
                    <a:pt x="5078" y="12862"/>
                    <a:pt x="5299" y="13025"/>
                    <a:pt x="5409" y="13025"/>
                  </a:cubicBezTo>
                  <a:lnTo>
                    <a:pt x="7065" y="13025"/>
                  </a:lnTo>
                  <a:cubicBezTo>
                    <a:pt x="7286" y="13025"/>
                    <a:pt x="7470" y="13025"/>
                    <a:pt x="7801" y="12862"/>
                  </a:cubicBezTo>
                  <a:lnTo>
                    <a:pt x="8206" y="12862"/>
                  </a:lnTo>
                  <a:cubicBezTo>
                    <a:pt x="8611" y="12699"/>
                    <a:pt x="9163" y="12699"/>
                    <a:pt x="9567" y="12537"/>
                  </a:cubicBezTo>
                  <a:cubicBezTo>
                    <a:pt x="9678" y="12537"/>
                    <a:pt x="9751" y="12537"/>
                    <a:pt x="9862" y="12374"/>
                  </a:cubicBezTo>
                  <a:cubicBezTo>
                    <a:pt x="10193" y="12265"/>
                    <a:pt x="10487" y="12265"/>
                    <a:pt x="10818" y="12103"/>
                  </a:cubicBezTo>
                  <a:cubicBezTo>
                    <a:pt x="10929" y="11940"/>
                    <a:pt x="11002" y="11940"/>
                    <a:pt x="11223" y="11940"/>
                  </a:cubicBezTo>
                  <a:cubicBezTo>
                    <a:pt x="11518" y="11777"/>
                    <a:pt x="11959" y="11614"/>
                    <a:pt x="12253" y="11451"/>
                  </a:cubicBezTo>
                  <a:cubicBezTo>
                    <a:pt x="12364" y="11451"/>
                    <a:pt x="12364" y="11451"/>
                    <a:pt x="12474" y="11343"/>
                  </a:cubicBezTo>
                  <a:cubicBezTo>
                    <a:pt x="13100" y="11017"/>
                    <a:pt x="13836" y="10691"/>
                    <a:pt x="14425" y="10257"/>
                  </a:cubicBezTo>
                  <a:lnTo>
                    <a:pt x="14535" y="10257"/>
                  </a:lnTo>
                  <a:cubicBezTo>
                    <a:pt x="15160" y="9769"/>
                    <a:pt x="15896" y="9335"/>
                    <a:pt x="16522" y="8846"/>
                  </a:cubicBezTo>
                  <a:cubicBezTo>
                    <a:pt x="16743" y="8738"/>
                    <a:pt x="16816" y="8575"/>
                    <a:pt x="17037" y="8412"/>
                  </a:cubicBezTo>
                  <a:cubicBezTo>
                    <a:pt x="17332" y="8086"/>
                    <a:pt x="17552" y="7978"/>
                    <a:pt x="17883" y="7652"/>
                  </a:cubicBezTo>
                  <a:cubicBezTo>
                    <a:pt x="17957" y="7489"/>
                    <a:pt x="18178" y="7327"/>
                    <a:pt x="18288" y="7164"/>
                  </a:cubicBezTo>
                  <a:cubicBezTo>
                    <a:pt x="18509" y="6892"/>
                    <a:pt x="18693" y="6730"/>
                    <a:pt x="18914" y="6404"/>
                  </a:cubicBezTo>
                  <a:cubicBezTo>
                    <a:pt x="19024" y="6241"/>
                    <a:pt x="19208" y="6133"/>
                    <a:pt x="19319" y="5970"/>
                  </a:cubicBezTo>
                  <a:lnTo>
                    <a:pt x="19539" y="5644"/>
                  </a:lnTo>
                  <a:cubicBezTo>
                    <a:pt x="19723" y="5373"/>
                    <a:pt x="19834" y="5047"/>
                    <a:pt x="20055" y="4884"/>
                  </a:cubicBezTo>
                  <a:cubicBezTo>
                    <a:pt x="20165" y="4884"/>
                    <a:pt x="20165" y="4722"/>
                    <a:pt x="20165" y="4722"/>
                  </a:cubicBezTo>
                  <a:lnTo>
                    <a:pt x="20349" y="4450"/>
                  </a:lnTo>
                  <a:cubicBezTo>
                    <a:pt x="20459" y="4125"/>
                    <a:pt x="20680" y="3799"/>
                    <a:pt x="20790" y="3528"/>
                  </a:cubicBezTo>
                  <a:cubicBezTo>
                    <a:pt x="20864" y="3365"/>
                    <a:pt x="20864" y="3202"/>
                    <a:pt x="20974" y="2876"/>
                  </a:cubicBezTo>
                  <a:cubicBezTo>
                    <a:pt x="21085" y="2768"/>
                    <a:pt x="21085" y="2605"/>
                    <a:pt x="21195" y="2442"/>
                  </a:cubicBezTo>
                  <a:cubicBezTo>
                    <a:pt x="21306" y="2117"/>
                    <a:pt x="21306" y="1954"/>
                    <a:pt x="21416" y="1682"/>
                  </a:cubicBezTo>
                  <a:cubicBezTo>
                    <a:pt x="21416" y="1520"/>
                    <a:pt x="21490" y="1520"/>
                    <a:pt x="21490" y="1357"/>
                  </a:cubicBezTo>
                  <a:lnTo>
                    <a:pt x="21490" y="8738"/>
                  </a:lnTo>
                  <a:close/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5" name="Shape 1426"/>
            <p:cNvSpPr/>
            <p:nvPr/>
          </p:nvSpPr>
          <p:spPr>
            <a:xfrm>
              <a:off x="723323" y="1153629"/>
              <a:ext cx="224936" cy="2064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7850"/>
                  </a:lnTo>
                  <a:lnTo>
                    <a:pt x="0" y="21600"/>
                  </a:lnTo>
                  <a:lnTo>
                    <a:pt x="0" y="13750"/>
                  </a:lnTo>
                  <a:lnTo>
                    <a:pt x="21600" y="0"/>
                  </a:lnTo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6" name="Shape 1427"/>
            <p:cNvSpPr/>
            <p:nvPr/>
          </p:nvSpPr>
          <p:spPr>
            <a:xfrm>
              <a:off x="461042" y="1133138"/>
              <a:ext cx="261819" cy="2249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4430"/>
                  </a:moveTo>
                  <a:lnTo>
                    <a:pt x="21600" y="21600"/>
                  </a:lnTo>
                  <a:lnTo>
                    <a:pt x="0" y="7037"/>
                  </a:lnTo>
                  <a:lnTo>
                    <a:pt x="115" y="0"/>
                  </a:lnTo>
                  <a:lnTo>
                    <a:pt x="21600" y="14430"/>
                  </a:ln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7" name="Shape 1428"/>
            <p:cNvSpPr/>
            <p:nvPr/>
          </p:nvSpPr>
          <p:spPr>
            <a:xfrm>
              <a:off x="57374" y="559397"/>
              <a:ext cx="1251521" cy="7249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24" y="19457"/>
                  </a:moveTo>
                  <a:cubicBezTo>
                    <a:pt x="18458" y="20508"/>
                    <a:pt x="17007" y="20826"/>
                    <a:pt x="16286" y="20120"/>
                  </a:cubicBezTo>
                  <a:cubicBezTo>
                    <a:pt x="15877" y="19692"/>
                    <a:pt x="15789" y="19069"/>
                    <a:pt x="16014" y="18364"/>
                  </a:cubicBezTo>
                  <a:lnTo>
                    <a:pt x="15332" y="17700"/>
                  </a:lnTo>
                  <a:lnTo>
                    <a:pt x="11445" y="21600"/>
                  </a:lnTo>
                  <a:lnTo>
                    <a:pt x="6925" y="17106"/>
                  </a:lnTo>
                  <a:lnTo>
                    <a:pt x="7574" y="16456"/>
                  </a:lnTo>
                  <a:cubicBezTo>
                    <a:pt x="8279" y="16677"/>
                    <a:pt x="8937" y="16608"/>
                    <a:pt x="9345" y="16179"/>
                  </a:cubicBezTo>
                  <a:cubicBezTo>
                    <a:pt x="10067" y="15474"/>
                    <a:pt x="9746" y="13994"/>
                    <a:pt x="8688" y="12943"/>
                  </a:cubicBezTo>
                  <a:cubicBezTo>
                    <a:pt x="7598" y="11879"/>
                    <a:pt x="6155" y="11574"/>
                    <a:pt x="5450" y="12280"/>
                  </a:cubicBezTo>
                  <a:cubicBezTo>
                    <a:pt x="5041" y="12708"/>
                    <a:pt x="4977" y="13372"/>
                    <a:pt x="5178" y="14036"/>
                  </a:cubicBezTo>
                  <a:lnTo>
                    <a:pt x="4520" y="14700"/>
                  </a:lnTo>
                  <a:lnTo>
                    <a:pt x="0" y="10205"/>
                  </a:lnTo>
                  <a:lnTo>
                    <a:pt x="3887" y="6320"/>
                  </a:lnTo>
                  <a:lnTo>
                    <a:pt x="3214" y="5656"/>
                  </a:lnTo>
                  <a:cubicBezTo>
                    <a:pt x="2509" y="5891"/>
                    <a:pt x="1851" y="5808"/>
                    <a:pt x="1451" y="5379"/>
                  </a:cubicBezTo>
                  <a:cubicBezTo>
                    <a:pt x="721" y="4674"/>
                    <a:pt x="1018" y="3194"/>
                    <a:pt x="2084" y="2143"/>
                  </a:cubicBezTo>
                  <a:cubicBezTo>
                    <a:pt x="3142" y="1092"/>
                    <a:pt x="4593" y="774"/>
                    <a:pt x="5314" y="1480"/>
                  </a:cubicBezTo>
                  <a:cubicBezTo>
                    <a:pt x="5723" y="1908"/>
                    <a:pt x="5811" y="2572"/>
                    <a:pt x="5586" y="3236"/>
                  </a:cubicBezTo>
                  <a:lnTo>
                    <a:pt x="6268" y="3900"/>
                  </a:lnTo>
                  <a:lnTo>
                    <a:pt x="10155" y="0"/>
                  </a:lnTo>
                  <a:lnTo>
                    <a:pt x="14683" y="4480"/>
                  </a:lnTo>
                  <a:lnTo>
                    <a:pt x="14026" y="5144"/>
                  </a:lnTo>
                  <a:cubicBezTo>
                    <a:pt x="13321" y="4909"/>
                    <a:pt x="12663" y="4992"/>
                    <a:pt x="12263" y="5421"/>
                  </a:cubicBezTo>
                  <a:cubicBezTo>
                    <a:pt x="11557" y="6126"/>
                    <a:pt x="11854" y="7606"/>
                    <a:pt x="12912" y="8643"/>
                  </a:cubicBezTo>
                  <a:cubicBezTo>
                    <a:pt x="14002" y="9694"/>
                    <a:pt x="15453" y="10012"/>
                    <a:pt x="16150" y="9307"/>
                  </a:cubicBezTo>
                  <a:cubicBezTo>
                    <a:pt x="16559" y="8878"/>
                    <a:pt x="16623" y="8256"/>
                    <a:pt x="16422" y="7564"/>
                  </a:cubicBezTo>
                  <a:lnTo>
                    <a:pt x="17080" y="6900"/>
                  </a:lnTo>
                  <a:lnTo>
                    <a:pt x="21600" y="11381"/>
                  </a:lnTo>
                  <a:lnTo>
                    <a:pt x="17713" y="15280"/>
                  </a:lnTo>
                  <a:lnTo>
                    <a:pt x="18386" y="15944"/>
                  </a:lnTo>
                  <a:cubicBezTo>
                    <a:pt x="19091" y="15709"/>
                    <a:pt x="19749" y="15792"/>
                    <a:pt x="20157" y="16221"/>
                  </a:cubicBezTo>
                  <a:cubicBezTo>
                    <a:pt x="20903" y="16912"/>
                    <a:pt x="20606" y="18406"/>
                    <a:pt x="19524" y="19457"/>
                  </a:cubicBezTo>
                </a:path>
              </a:pathLst>
            </a:custGeom>
            <a:solidFill>
              <a:srgbClr val="FAFFE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8" name="Shape 1429"/>
            <p:cNvSpPr/>
            <p:nvPr/>
          </p:nvSpPr>
          <p:spPr>
            <a:xfrm>
              <a:off x="1309359" y="1565493"/>
              <a:ext cx="34364" cy="487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8514"/>
                  </a:moveTo>
                  <a:lnTo>
                    <a:pt x="0" y="15634"/>
                  </a:lnTo>
                  <a:cubicBezTo>
                    <a:pt x="0" y="15634"/>
                    <a:pt x="5918" y="12754"/>
                    <a:pt x="5030" y="6994"/>
                  </a:cubicBezTo>
                  <a:cubicBezTo>
                    <a:pt x="5030" y="1234"/>
                    <a:pt x="11540" y="0"/>
                    <a:pt x="11540" y="0"/>
                  </a:cubicBezTo>
                  <a:lnTo>
                    <a:pt x="16570" y="2263"/>
                  </a:lnTo>
                  <a:lnTo>
                    <a:pt x="21600" y="11726"/>
                  </a:lnTo>
                  <a:lnTo>
                    <a:pt x="8581" y="21600"/>
                  </a:lnTo>
                  <a:lnTo>
                    <a:pt x="0" y="18514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9" name="Shape 1430"/>
            <p:cNvSpPr/>
            <p:nvPr/>
          </p:nvSpPr>
          <p:spPr>
            <a:xfrm>
              <a:off x="1298343" y="1561395"/>
              <a:ext cx="63828" cy="610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76" h="21600" extrusionOk="0">
                  <a:moveTo>
                    <a:pt x="9913" y="4710"/>
                  </a:moveTo>
                  <a:cubicBezTo>
                    <a:pt x="9450" y="974"/>
                    <a:pt x="13307" y="0"/>
                    <a:pt x="13307" y="0"/>
                  </a:cubicBezTo>
                  <a:cubicBezTo>
                    <a:pt x="13307" y="0"/>
                    <a:pt x="17319" y="2111"/>
                    <a:pt x="18553" y="5197"/>
                  </a:cubicBezTo>
                  <a:cubicBezTo>
                    <a:pt x="19942" y="8445"/>
                    <a:pt x="19942" y="11044"/>
                    <a:pt x="21176" y="12830"/>
                  </a:cubicBezTo>
                  <a:lnTo>
                    <a:pt x="17627" y="15266"/>
                  </a:lnTo>
                  <a:lnTo>
                    <a:pt x="15467" y="13805"/>
                  </a:lnTo>
                  <a:cubicBezTo>
                    <a:pt x="15467" y="13805"/>
                    <a:pt x="15467" y="15591"/>
                    <a:pt x="13770" y="17540"/>
                  </a:cubicBezTo>
                  <a:cubicBezTo>
                    <a:pt x="12073" y="19326"/>
                    <a:pt x="3896" y="21600"/>
                    <a:pt x="3896" y="21600"/>
                  </a:cubicBezTo>
                  <a:cubicBezTo>
                    <a:pt x="3896" y="21600"/>
                    <a:pt x="502" y="21113"/>
                    <a:pt x="39" y="18839"/>
                  </a:cubicBezTo>
                  <a:cubicBezTo>
                    <a:pt x="-424" y="16078"/>
                    <a:pt x="3433" y="13317"/>
                    <a:pt x="3433" y="13317"/>
                  </a:cubicBezTo>
                  <a:cubicBezTo>
                    <a:pt x="3433" y="13317"/>
                    <a:pt x="5285" y="16078"/>
                    <a:pt x="7445" y="14292"/>
                  </a:cubicBezTo>
                  <a:cubicBezTo>
                    <a:pt x="8987" y="12830"/>
                    <a:pt x="10685" y="7795"/>
                    <a:pt x="9913" y="4710"/>
                  </a:cubicBezTo>
                </a:path>
              </a:pathLst>
            </a:custGeom>
            <a:solidFill>
              <a:srgbClr val="6F7C76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0" name="Shape 1431"/>
            <p:cNvSpPr/>
            <p:nvPr/>
          </p:nvSpPr>
          <p:spPr>
            <a:xfrm>
              <a:off x="1139285" y="1609980"/>
              <a:ext cx="42564" cy="390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9821" extrusionOk="0">
                  <a:moveTo>
                    <a:pt x="0" y="13175"/>
                  </a:moveTo>
                  <a:lnTo>
                    <a:pt x="2136" y="10326"/>
                  </a:lnTo>
                  <a:cubicBezTo>
                    <a:pt x="2136" y="10326"/>
                    <a:pt x="7596" y="10326"/>
                    <a:pt x="10919" y="4392"/>
                  </a:cubicBezTo>
                  <a:cubicBezTo>
                    <a:pt x="14242" y="-1779"/>
                    <a:pt x="19464" y="357"/>
                    <a:pt x="19464" y="357"/>
                  </a:cubicBezTo>
                  <a:lnTo>
                    <a:pt x="21600" y="5105"/>
                  </a:lnTo>
                  <a:lnTo>
                    <a:pt x="18989" y="16498"/>
                  </a:lnTo>
                  <a:lnTo>
                    <a:pt x="4035" y="19821"/>
                  </a:lnTo>
                  <a:lnTo>
                    <a:pt x="0" y="13175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1" name="Shape 1432"/>
            <p:cNvSpPr/>
            <p:nvPr/>
          </p:nvSpPr>
          <p:spPr>
            <a:xfrm>
              <a:off x="1127130" y="1615586"/>
              <a:ext cx="69245" cy="443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04" h="19663" extrusionOk="0">
                  <a:moveTo>
                    <a:pt x="14120" y="2632"/>
                  </a:moveTo>
                  <a:cubicBezTo>
                    <a:pt x="14803" y="-1314"/>
                    <a:pt x="18768" y="348"/>
                    <a:pt x="18768" y="348"/>
                  </a:cubicBezTo>
                  <a:cubicBezTo>
                    <a:pt x="18768" y="348"/>
                    <a:pt x="20955" y="5748"/>
                    <a:pt x="20271" y="9694"/>
                  </a:cubicBezTo>
                  <a:cubicBezTo>
                    <a:pt x="19451" y="13848"/>
                    <a:pt x="17947" y="16755"/>
                    <a:pt x="18358" y="19663"/>
                  </a:cubicBezTo>
                  <a:lnTo>
                    <a:pt x="14803" y="19663"/>
                  </a:lnTo>
                  <a:lnTo>
                    <a:pt x="14120" y="16755"/>
                  </a:lnTo>
                  <a:cubicBezTo>
                    <a:pt x="14120" y="16755"/>
                    <a:pt x="13299" y="18001"/>
                    <a:pt x="10975" y="19040"/>
                  </a:cubicBezTo>
                  <a:cubicBezTo>
                    <a:pt x="8651" y="20286"/>
                    <a:pt x="1679" y="16132"/>
                    <a:pt x="1679" y="16132"/>
                  </a:cubicBezTo>
                  <a:cubicBezTo>
                    <a:pt x="1679" y="16132"/>
                    <a:pt x="-645" y="12601"/>
                    <a:pt x="175" y="9694"/>
                  </a:cubicBezTo>
                  <a:cubicBezTo>
                    <a:pt x="996" y="6786"/>
                    <a:pt x="5233" y="6786"/>
                    <a:pt x="5233" y="6786"/>
                  </a:cubicBezTo>
                  <a:cubicBezTo>
                    <a:pt x="5233" y="6786"/>
                    <a:pt x="5233" y="10940"/>
                    <a:pt x="7558" y="10940"/>
                  </a:cubicBezTo>
                  <a:cubicBezTo>
                    <a:pt x="9882" y="10940"/>
                    <a:pt x="12889" y="6786"/>
                    <a:pt x="14120" y="2632"/>
                  </a:cubicBezTo>
                </a:path>
              </a:pathLst>
            </a:custGeom>
            <a:solidFill>
              <a:srgbClr val="6F7C76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2" name="Shape 1433"/>
            <p:cNvSpPr/>
            <p:nvPr/>
          </p:nvSpPr>
          <p:spPr>
            <a:xfrm>
              <a:off x="1234429" y="1333948"/>
              <a:ext cx="113397" cy="2513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90" h="21064" extrusionOk="0">
                  <a:moveTo>
                    <a:pt x="2321" y="2098"/>
                  </a:moveTo>
                  <a:lnTo>
                    <a:pt x="10740" y="0"/>
                  </a:lnTo>
                  <a:cubicBezTo>
                    <a:pt x="10740" y="0"/>
                    <a:pt x="14567" y="2331"/>
                    <a:pt x="12101" y="4196"/>
                  </a:cubicBezTo>
                  <a:cubicBezTo>
                    <a:pt x="9975" y="5711"/>
                    <a:pt x="10230" y="8896"/>
                    <a:pt x="10230" y="9557"/>
                  </a:cubicBezTo>
                  <a:cubicBezTo>
                    <a:pt x="10230" y="9557"/>
                    <a:pt x="11676" y="10528"/>
                    <a:pt x="12866" y="11732"/>
                  </a:cubicBezTo>
                  <a:cubicBezTo>
                    <a:pt x="14057" y="12937"/>
                    <a:pt x="19244" y="18647"/>
                    <a:pt x="20690" y="19424"/>
                  </a:cubicBezTo>
                  <a:cubicBezTo>
                    <a:pt x="20690" y="19424"/>
                    <a:pt x="17373" y="21600"/>
                    <a:pt x="14567" y="20940"/>
                  </a:cubicBezTo>
                  <a:cubicBezTo>
                    <a:pt x="14567" y="20940"/>
                    <a:pt x="3427" y="12859"/>
                    <a:pt x="1301" y="11965"/>
                  </a:cubicBezTo>
                  <a:cubicBezTo>
                    <a:pt x="-910" y="11072"/>
                    <a:pt x="366" y="4740"/>
                    <a:pt x="366" y="4740"/>
                  </a:cubicBezTo>
                  <a:lnTo>
                    <a:pt x="2321" y="2098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3" name="Shape 1434"/>
            <p:cNvSpPr/>
            <p:nvPr/>
          </p:nvSpPr>
          <p:spPr>
            <a:xfrm>
              <a:off x="1158191" y="1350197"/>
              <a:ext cx="105562" cy="2719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951" h="19936" extrusionOk="0">
                  <a:moveTo>
                    <a:pt x="19369" y="563"/>
                  </a:moveTo>
                  <a:cubicBezTo>
                    <a:pt x="21125" y="2604"/>
                    <a:pt x="18579" y="4611"/>
                    <a:pt x="16120" y="5189"/>
                  </a:cubicBezTo>
                  <a:cubicBezTo>
                    <a:pt x="13662" y="5767"/>
                    <a:pt x="8920" y="9407"/>
                    <a:pt x="8920" y="9407"/>
                  </a:cubicBezTo>
                  <a:cubicBezTo>
                    <a:pt x="9974" y="11414"/>
                    <a:pt x="7954" y="16210"/>
                    <a:pt x="6988" y="17469"/>
                  </a:cubicBezTo>
                  <a:cubicBezTo>
                    <a:pt x="6023" y="18795"/>
                    <a:pt x="6725" y="19782"/>
                    <a:pt x="6725" y="19782"/>
                  </a:cubicBezTo>
                  <a:cubicBezTo>
                    <a:pt x="4003" y="20258"/>
                    <a:pt x="52" y="19476"/>
                    <a:pt x="52" y="19476"/>
                  </a:cubicBezTo>
                  <a:cubicBezTo>
                    <a:pt x="52" y="19476"/>
                    <a:pt x="315" y="16108"/>
                    <a:pt x="315" y="13931"/>
                  </a:cubicBezTo>
                  <a:cubicBezTo>
                    <a:pt x="491" y="11618"/>
                    <a:pt x="-475" y="9611"/>
                    <a:pt x="315" y="8046"/>
                  </a:cubicBezTo>
                  <a:cubicBezTo>
                    <a:pt x="1018" y="6618"/>
                    <a:pt x="6198" y="2196"/>
                    <a:pt x="6198" y="2196"/>
                  </a:cubicBezTo>
                  <a:cubicBezTo>
                    <a:pt x="6198" y="2196"/>
                    <a:pt x="17613" y="-1342"/>
                    <a:pt x="19369" y="563"/>
                  </a:cubicBezTo>
                </a:path>
              </a:pathLst>
            </a:custGeom>
            <a:solidFill>
              <a:srgbClr val="52858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4" name="Shape 1435"/>
            <p:cNvSpPr/>
            <p:nvPr/>
          </p:nvSpPr>
          <p:spPr>
            <a:xfrm>
              <a:off x="1233543" y="1180267"/>
              <a:ext cx="26172" cy="220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6300"/>
                  </a:moveTo>
                  <a:lnTo>
                    <a:pt x="18514" y="0"/>
                  </a:lnTo>
                  <a:lnTo>
                    <a:pt x="21600" y="16650"/>
                  </a:lnTo>
                  <a:lnTo>
                    <a:pt x="1157" y="21600"/>
                  </a:lnTo>
                  <a:lnTo>
                    <a:pt x="0" y="6300"/>
                  </a:lnTo>
                </a:path>
              </a:pathLst>
            </a:custGeom>
            <a:solidFill>
              <a:srgbClr val="FFFF7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5" name="Shape 1436"/>
            <p:cNvSpPr/>
            <p:nvPr/>
          </p:nvSpPr>
          <p:spPr>
            <a:xfrm>
              <a:off x="1192848" y="1194611"/>
              <a:ext cx="114000" cy="1942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46" h="19922" extrusionOk="0">
                  <a:moveTo>
                    <a:pt x="17871" y="10800"/>
                  </a:moveTo>
                  <a:cubicBezTo>
                    <a:pt x="17871" y="12425"/>
                    <a:pt x="20446" y="16726"/>
                    <a:pt x="20446" y="16726"/>
                  </a:cubicBezTo>
                  <a:cubicBezTo>
                    <a:pt x="15295" y="21600"/>
                    <a:pt x="923" y="19450"/>
                    <a:pt x="923" y="19450"/>
                  </a:cubicBezTo>
                  <a:cubicBezTo>
                    <a:pt x="923" y="19450"/>
                    <a:pt x="-1154" y="19688"/>
                    <a:pt x="923" y="17825"/>
                  </a:cubicBezTo>
                  <a:cubicBezTo>
                    <a:pt x="3083" y="16057"/>
                    <a:pt x="4911" y="11612"/>
                    <a:pt x="2834" y="7168"/>
                  </a:cubicBezTo>
                  <a:cubicBezTo>
                    <a:pt x="923" y="2724"/>
                    <a:pt x="923" y="4444"/>
                    <a:pt x="2335" y="2963"/>
                  </a:cubicBezTo>
                  <a:cubicBezTo>
                    <a:pt x="3581" y="1768"/>
                    <a:pt x="7569" y="0"/>
                    <a:pt x="11474" y="0"/>
                  </a:cubicBezTo>
                  <a:cubicBezTo>
                    <a:pt x="15711" y="0"/>
                    <a:pt x="18120" y="1912"/>
                    <a:pt x="18120" y="1912"/>
                  </a:cubicBezTo>
                  <a:cubicBezTo>
                    <a:pt x="18286" y="3393"/>
                    <a:pt x="17871" y="9175"/>
                    <a:pt x="17871" y="10800"/>
                  </a:cubicBezTo>
                </a:path>
              </a:pathLst>
            </a:custGeom>
            <a:solidFill>
              <a:srgbClr val="699A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6" name="Shape 1437"/>
            <p:cNvSpPr/>
            <p:nvPr/>
          </p:nvSpPr>
          <p:spPr>
            <a:xfrm>
              <a:off x="1115176" y="1212667"/>
              <a:ext cx="124217" cy="1147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15" h="19577" extrusionOk="0">
                  <a:moveTo>
                    <a:pt x="20021" y="5570"/>
                  </a:moveTo>
                  <a:cubicBezTo>
                    <a:pt x="18960" y="10034"/>
                    <a:pt x="17217" y="10512"/>
                    <a:pt x="16383" y="12026"/>
                  </a:cubicBezTo>
                  <a:cubicBezTo>
                    <a:pt x="13428" y="16968"/>
                    <a:pt x="11457" y="18562"/>
                    <a:pt x="5091" y="19518"/>
                  </a:cubicBezTo>
                  <a:cubicBezTo>
                    <a:pt x="2287" y="19917"/>
                    <a:pt x="-745" y="18163"/>
                    <a:pt x="164" y="17924"/>
                  </a:cubicBezTo>
                  <a:cubicBezTo>
                    <a:pt x="4863" y="16569"/>
                    <a:pt x="9790" y="13142"/>
                    <a:pt x="10396" y="10910"/>
                  </a:cubicBezTo>
                  <a:cubicBezTo>
                    <a:pt x="10623" y="10512"/>
                    <a:pt x="11912" y="8041"/>
                    <a:pt x="12367" y="7085"/>
                  </a:cubicBezTo>
                  <a:cubicBezTo>
                    <a:pt x="13200" y="5092"/>
                    <a:pt x="14489" y="-1683"/>
                    <a:pt x="18733" y="389"/>
                  </a:cubicBezTo>
                  <a:cubicBezTo>
                    <a:pt x="18733" y="389"/>
                    <a:pt x="20855" y="1505"/>
                    <a:pt x="20021" y="557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7" name="Shape 1438"/>
            <p:cNvSpPr/>
            <p:nvPr/>
          </p:nvSpPr>
          <p:spPr>
            <a:xfrm>
              <a:off x="1213717" y="1141334"/>
              <a:ext cx="45366" cy="552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860" h="19572" extrusionOk="0">
                  <a:moveTo>
                    <a:pt x="12202" y="0"/>
                  </a:moveTo>
                  <a:lnTo>
                    <a:pt x="17829" y="8182"/>
                  </a:lnTo>
                  <a:cubicBezTo>
                    <a:pt x="17829" y="8182"/>
                    <a:pt x="18918" y="21600"/>
                    <a:pt x="8209" y="19309"/>
                  </a:cubicBezTo>
                  <a:cubicBezTo>
                    <a:pt x="-2682" y="17018"/>
                    <a:pt x="404" y="2291"/>
                    <a:pt x="404" y="2291"/>
                  </a:cubicBezTo>
                  <a:lnTo>
                    <a:pt x="12202" y="0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8" name="Shape 1439"/>
            <p:cNvSpPr/>
            <p:nvPr/>
          </p:nvSpPr>
          <p:spPr>
            <a:xfrm>
              <a:off x="1213052" y="1105460"/>
              <a:ext cx="84202" cy="1541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48" h="19400" extrusionOk="0">
                  <a:moveTo>
                    <a:pt x="0" y="4869"/>
                  </a:moveTo>
                  <a:cubicBezTo>
                    <a:pt x="0" y="4694"/>
                    <a:pt x="0" y="432"/>
                    <a:pt x="7630" y="82"/>
                  </a:cubicBezTo>
                  <a:cubicBezTo>
                    <a:pt x="14322" y="-385"/>
                    <a:pt x="20896" y="1074"/>
                    <a:pt x="21248" y="6037"/>
                  </a:cubicBezTo>
                  <a:lnTo>
                    <a:pt x="21248" y="6854"/>
                  </a:lnTo>
                  <a:cubicBezTo>
                    <a:pt x="21248" y="7379"/>
                    <a:pt x="20896" y="7846"/>
                    <a:pt x="20543" y="8372"/>
                  </a:cubicBezTo>
                  <a:cubicBezTo>
                    <a:pt x="19252" y="11291"/>
                    <a:pt x="21600" y="17070"/>
                    <a:pt x="20896" y="17245"/>
                  </a:cubicBezTo>
                  <a:cubicBezTo>
                    <a:pt x="14909" y="17887"/>
                    <a:pt x="11270" y="21215"/>
                    <a:pt x="5635" y="18063"/>
                  </a:cubicBezTo>
                  <a:cubicBezTo>
                    <a:pt x="5400" y="17887"/>
                    <a:pt x="5635" y="16895"/>
                    <a:pt x="4696" y="13918"/>
                  </a:cubicBezTo>
                  <a:cubicBezTo>
                    <a:pt x="4696" y="13918"/>
                    <a:pt x="5400" y="12458"/>
                    <a:pt x="5635" y="11466"/>
                  </a:cubicBezTo>
                  <a:cubicBezTo>
                    <a:pt x="5400" y="11466"/>
                    <a:pt x="5400" y="11466"/>
                    <a:pt x="5400" y="11466"/>
                  </a:cubicBezTo>
                  <a:cubicBezTo>
                    <a:pt x="5400" y="11466"/>
                    <a:pt x="6691" y="9539"/>
                    <a:pt x="6691" y="8021"/>
                  </a:cubicBezTo>
                  <a:cubicBezTo>
                    <a:pt x="6691" y="6562"/>
                    <a:pt x="5400" y="5570"/>
                    <a:pt x="4343" y="7671"/>
                  </a:cubicBezTo>
                  <a:cubicBezTo>
                    <a:pt x="4343" y="7671"/>
                    <a:pt x="1057" y="6212"/>
                    <a:pt x="0" y="4869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9" name="Shape 1440"/>
            <p:cNvSpPr/>
            <p:nvPr/>
          </p:nvSpPr>
          <p:spPr>
            <a:xfrm>
              <a:off x="802996" y="1233322"/>
              <a:ext cx="16393" cy="163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900" y="2400"/>
                  </a:moveTo>
                  <a:cubicBezTo>
                    <a:pt x="18900" y="1200"/>
                    <a:pt x="20250" y="600"/>
                    <a:pt x="21600" y="0"/>
                  </a:cubicBezTo>
                  <a:cubicBezTo>
                    <a:pt x="21600" y="600"/>
                    <a:pt x="20250" y="1200"/>
                    <a:pt x="18900" y="2400"/>
                  </a:cubicBezTo>
                  <a:close/>
                  <a:moveTo>
                    <a:pt x="10800" y="10800"/>
                  </a:moveTo>
                  <a:lnTo>
                    <a:pt x="10800" y="9000"/>
                  </a:lnTo>
                  <a:cubicBezTo>
                    <a:pt x="14850" y="10800"/>
                    <a:pt x="10800" y="10800"/>
                    <a:pt x="10800" y="10800"/>
                  </a:cubicBezTo>
                  <a:close/>
                  <a:moveTo>
                    <a:pt x="2700" y="21000"/>
                  </a:moveTo>
                  <a:cubicBezTo>
                    <a:pt x="2700" y="21000"/>
                    <a:pt x="1350" y="21000"/>
                    <a:pt x="0" y="21600"/>
                  </a:cubicBezTo>
                  <a:cubicBezTo>
                    <a:pt x="1350" y="21000"/>
                    <a:pt x="1350" y="21000"/>
                    <a:pt x="2700" y="21000"/>
                  </a:cubicBezTo>
                  <a:close/>
                </a:path>
              </a:pathLst>
            </a:custGeom>
            <a:solidFill>
              <a:srgbClr val="C7FFD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0" name="Shape 1441"/>
            <p:cNvSpPr/>
            <p:nvPr/>
          </p:nvSpPr>
          <p:spPr>
            <a:xfrm>
              <a:off x="1550922" y="131140"/>
              <a:ext cx="16394" cy="2001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788" y="2571"/>
                  </a:moveTo>
                  <a:cubicBezTo>
                    <a:pt x="17788" y="1543"/>
                    <a:pt x="21600" y="1543"/>
                    <a:pt x="21600" y="0"/>
                  </a:cubicBezTo>
                  <a:cubicBezTo>
                    <a:pt x="21600" y="2057"/>
                    <a:pt x="20329" y="2571"/>
                    <a:pt x="17788" y="2571"/>
                  </a:cubicBezTo>
                  <a:close/>
                  <a:moveTo>
                    <a:pt x="10165" y="11314"/>
                  </a:moveTo>
                  <a:lnTo>
                    <a:pt x="10165" y="10286"/>
                  </a:lnTo>
                  <a:cubicBezTo>
                    <a:pt x="13976" y="10286"/>
                    <a:pt x="10165" y="11314"/>
                    <a:pt x="10165" y="11314"/>
                  </a:cubicBezTo>
                  <a:close/>
                  <a:moveTo>
                    <a:pt x="0" y="21600"/>
                  </a:moveTo>
                  <a:cubicBezTo>
                    <a:pt x="0" y="20057"/>
                    <a:pt x="0" y="20057"/>
                    <a:pt x="3812" y="20057"/>
                  </a:cubicBezTo>
                  <a:cubicBezTo>
                    <a:pt x="3812" y="20057"/>
                    <a:pt x="0" y="20057"/>
                    <a:pt x="0" y="21600"/>
                  </a:cubicBezTo>
                  <a:close/>
                </a:path>
              </a:pathLst>
            </a:custGeom>
            <a:solidFill>
              <a:srgbClr val="C7FFD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1" name="Shape 1442"/>
            <p:cNvSpPr/>
            <p:nvPr/>
          </p:nvSpPr>
          <p:spPr>
            <a:xfrm>
              <a:off x="1885510" y="247593"/>
              <a:ext cx="346809" cy="2011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5" extrusionOk="0">
                  <a:moveTo>
                    <a:pt x="2851" y="16804"/>
                  </a:moveTo>
                  <a:cubicBezTo>
                    <a:pt x="-951" y="12931"/>
                    <a:pt x="-951" y="6779"/>
                    <a:pt x="2851" y="2905"/>
                  </a:cubicBezTo>
                  <a:cubicBezTo>
                    <a:pt x="6707" y="-968"/>
                    <a:pt x="12912" y="-968"/>
                    <a:pt x="16767" y="2905"/>
                  </a:cubicBezTo>
                  <a:cubicBezTo>
                    <a:pt x="20649" y="6779"/>
                    <a:pt x="20649" y="12931"/>
                    <a:pt x="16767" y="16804"/>
                  </a:cubicBezTo>
                  <a:cubicBezTo>
                    <a:pt x="12912" y="20632"/>
                    <a:pt x="6707" y="20632"/>
                    <a:pt x="2851" y="16804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2" name="Shape 1443"/>
            <p:cNvSpPr/>
            <p:nvPr/>
          </p:nvSpPr>
          <p:spPr>
            <a:xfrm>
              <a:off x="909789" y="174171"/>
              <a:ext cx="1251522" cy="7249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1368"/>
                  </a:moveTo>
                  <a:lnTo>
                    <a:pt x="17705" y="15272"/>
                  </a:lnTo>
                  <a:lnTo>
                    <a:pt x="17032" y="14608"/>
                  </a:lnTo>
                  <a:cubicBezTo>
                    <a:pt x="17256" y="13915"/>
                    <a:pt x="17160" y="13251"/>
                    <a:pt x="16759" y="12849"/>
                  </a:cubicBezTo>
                  <a:cubicBezTo>
                    <a:pt x="16030" y="12157"/>
                    <a:pt x="14587" y="12420"/>
                    <a:pt x="13521" y="13514"/>
                  </a:cubicBezTo>
                  <a:cubicBezTo>
                    <a:pt x="12455" y="14608"/>
                    <a:pt x="12167" y="16062"/>
                    <a:pt x="12888" y="16768"/>
                  </a:cubicBezTo>
                  <a:cubicBezTo>
                    <a:pt x="13297" y="17197"/>
                    <a:pt x="13978" y="17266"/>
                    <a:pt x="14651" y="17031"/>
                  </a:cubicBezTo>
                  <a:lnTo>
                    <a:pt x="15332" y="17695"/>
                  </a:lnTo>
                  <a:lnTo>
                    <a:pt x="11437" y="21600"/>
                  </a:lnTo>
                  <a:lnTo>
                    <a:pt x="6925" y="17114"/>
                  </a:lnTo>
                  <a:lnTo>
                    <a:pt x="6268" y="17778"/>
                  </a:lnTo>
                  <a:cubicBezTo>
                    <a:pt x="6492" y="18485"/>
                    <a:pt x="6428" y="19149"/>
                    <a:pt x="5995" y="19537"/>
                  </a:cubicBezTo>
                  <a:cubicBezTo>
                    <a:pt x="5274" y="20229"/>
                    <a:pt x="3823" y="19952"/>
                    <a:pt x="2765" y="18872"/>
                  </a:cubicBezTo>
                  <a:cubicBezTo>
                    <a:pt x="1675" y="17778"/>
                    <a:pt x="1387" y="16338"/>
                    <a:pt x="2108" y="15632"/>
                  </a:cubicBezTo>
                  <a:cubicBezTo>
                    <a:pt x="2517" y="15203"/>
                    <a:pt x="3190" y="15120"/>
                    <a:pt x="3871" y="15355"/>
                  </a:cubicBezTo>
                  <a:lnTo>
                    <a:pt x="4528" y="14691"/>
                  </a:lnTo>
                  <a:lnTo>
                    <a:pt x="0" y="10191"/>
                  </a:lnTo>
                  <a:lnTo>
                    <a:pt x="3895" y="6328"/>
                  </a:lnTo>
                  <a:lnTo>
                    <a:pt x="4576" y="6992"/>
                  </a:lnTo>
                  <a:cubicBezTo>
                    <a:pt x="4368" y="7698"/>
                    <a:pt x="4440" y="8363"/>
                    <a:pt x="4841" y="8751"/>
                  </a:cubicBezTo>
                  <a:cubicBezTo>
                    <a:pt x="5570" y="9457"/>
                    <a:pt x="7013" y="9180"/>
                    <a:pt x="8071" y="8086"/>
                  </a:cubicBezTo>
                  <a:cubicBezTo>
                    <a:pt x="9137" y="6992"/>
                    <a:pt x="9425" y="5552"/>
                    <a:pt x="8704" y="4846"/>
                  </a:cubicBezTo>
                  <a:cubicBezTo>
                    <a:pt x="8295" y="4417"/>
                    <a:pt x="7614" y="4334"/>
                    <a:pt x="6949" y="4569"/>
                  </a:cubicBezTo>
                  <a:lnTo>
                    <a:pt x="6268" y="3905"/>
                  </a:lnTo>
                  <a:lnTo>
                    <a:pt x="10155" y="0"/>
                  </a:lnTo>
                  <a:lnTo>
                    <a:pt x="14675" y="4486"/>
                  </a:lnTo>
                  <a:lnTo>
                    <a:pt x="15332" y="3822"/>
                  </a:lnTo>
                  <a:cubicBezTo>
                    <a:pt x="15108" y="3129"/>
                    <a:pt x="15172" y="2465"/>
                    <a:pt x="15605" y="2063"/>
                  </a:cubicBezTo>
                  <a:cubicBezTo>
                    <a:pt x="16326" y="1371"/>
                    <a:pt x="17777" y="1634"/>
                    <a:pt x="18835" y="2728"/>
                  </a:cubicBezTo>
                  <a:cubicBezTo>
                    <a:pt x="19925" y="3822"/>
                    <a:pt x="20213" y="5275"/>
                    <a:pt x="19492" y="5982"/>
                  </a:cubicBezTo>
                  <a:cubicBezTo>
                    <a:pt x="19083" y="6411"/>
                    <a:pt x="18426" y="6480"/>
                    <a:pt x="17729" y="6245"/>
                  </a:cubicBezTo>
                  <a:lnTo>
                    <a:pt x="17072" y="6909"/>
                  </a:lnTo>
                  <a:lnTo>
                    <a:pt x="21600" y="11368"/>
                  </a:ln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3" name="Shape 1444"/>
            <p:cNvSpPr/>
            <p:nvPr/>
          </p:nvSpPr>
          <p:spPr>
            <a:xfrm>
              <a:off x="917985" y="648355"/>
              <a:ext cx="91744" cy="4294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792" extrusionOk="0">
                  <a:moveTo>
                    <a:pt x="11403" y="1615"/>
                  </a:moveTo>
                  <a:cubicBezTo>
                    <a:pt x="14144" y="6115"/>
                    <a:pt x="16995" y="6115"/>
                    <a:pt x="19736" y="11065"/>
                  </a:cubicBezTo>
                  <a:cubicBezTo>
                    <a:pt x="20065" y="11740"/>
                    <a:pt x="21600" y="13765"/>
                    <a:pt x="21600" y="14890"/>
                  </a:cubicBezTo>
                  <a:cubicBezTo>
                    <a:pt x="20942" y="18715"/>
                    <a:pt x="17543" y="21190"/>
                    <a:pt x="16008" y="20740"/>
                  </a:cubicBezTo>
                  <a:cubicBezTo>
                    <a:pt x="13596" y="20065"/>
                    <a:pt x="11403" y="18715"/>
                    <a:pt x="8662" y="18040"/>
                  </a:cubicBezTo>
                  <a:cubicBezTo>
                    <a:pt x="6798" y="17590"/>
                    <a:pt x="2741" y="17590"/>
                    <a:pt x="877" y="16240"/>
                  </a:cubicBezTo>
                  <a:cubicBezTo>
                    <a:pt x="0" y="14890"/>
                    <a:pt x="0" y="10390"/>
                    <a:pt x="0" y="7915"/>
                  </a:cubicBezTo>
                  <a:cubicBezTo>
                    <a:pt x="0" y="6790"/>
                    <a:pt x="1206" y="4090"/>
                    <a:pt x="1206" y="4090"/>
                  </a:cubicBezTo>
                  <a:cubicBezTo>
                    <a:pt x="2741" y="5440"/>
                    <a:pt x="3399" y="6790"/>
                    <a:pt x="5482" y="6115"/>
                  </a:cubicBezTo>
                  <a:cubicBezTo>
                    <a:pt x="5811" y="5440"/>
                    <a:pt x="6469" y="5440"/>
                    <a:pt x="7017" y="5440"/>
                  </a:cubicBezTo>
                  <a:cubicBezTo>
                    <a:pt x="8881" y="940"/>
                    <a:pt x="10197" y="-410"/>
                    <a:pt x="10745" y="265"/>
                  </a:cubicBezTo>
                  <a:cubicBezTo>
                    <a:pt x="10745" y="-410"/>
                    <a:pt x="11074" y="265"/>
                    <a:pt x="11403" y="1615"/>
                  </a:cubicBezTo>
                </a:path>
              </a:pathLst>
            </a:custGeom>
            <a:solidFill>
              <a:srgbClr val="47766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4" name="Shape 1445"/>
            <p:cNvSpPr/>
            <p:nvPr/>
          </p:nvSpPr>
          <p:spPr>
            <a:xfrm>
              <a:off x="827826" y="584820"/>
              <a:ext cx="88885" cy="417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04" h="21177" extrusionOk="0">
                  <a:moveTo>
                    <a:pt x="11579" y="1667"/>
                  </a:moveTo>
                  <a:cubicBezTo>
                    <a:pt x="14363" y="6080"/>
                    <a:pt x="17258" y="6080"/>
                    <a:pt x="20041" y="11422"/>
                  </a:cubicBezTo>
                  <a:cubicBezTo>
                    <a:pt x="20375" y="12119"/>
                    <a:pt x="21600" y="16067"/>
                    <a:pt x="21377" y="17229"/>
                  </a:cubicBezTo>
                  <a:cubicBezTo>
                    <a:pt x="21043" y="21177"/>
                    <a:pt x="17592" y="21177"/>
                    <a:pt x="16256" y="21177"/>
                  </a:cubicBezTo>
                  <a:cubicBezTo>
                    <a:pt x="13806" y="20712"/>
                    <a:pt x="11579" y="19319"/>
                    <a:pt x="8796" y="18622"/>
                  </a:cubicBezTo>
                  <a:cubicBezTo>
                    <a:pt x="6903" y="17925"/>
                    <a:pt x="2784" y="17925"/>
                    <a:pt x="891" y="16764"/>
                  </a:cubicBezTo>
                  <a:cubicBezTo>
                    <a:pt x="0" y="15371"/>
                    <a:pt x="0" y="10725"/>
                    <a:pt x="0" y="8171"/>
                  </a:cubicBezTo>
                  <a:cubicBezTo>
                    <a:pt x="0" y="6777"/>
                    <a:pt x="1225" y="4222"/>
                    <a:pt x="1225" y="4222"/>
                  </a:cubicBezTo>
                  <a:cubicBezTo>
                    <a:pt x="2784" y="5616"/>
                    <a:pt x="3452" y="6777"/>
                    <a:pt x="5567" y="6080"/>
                  </a:cubicBezTo>
                  <a:cubicBezTo>
                    <a:pt x="5901" y="5616"/>
                    <a:pt x="6569" y="5616"/>
                    <a:pt x="7237" y="5616"/>
                  </a:cubicBezTo>
                  <a:cubicBezTo>
                    <a:pt x="9019" y="971"/>
                    <a:pt x="10355" y="-423"/>
                    <a:pt x="10911" y="274"/>
                  </a:cubicBezTo>
                  <a:cubicBezTo>
                    <a:pt x="10689" y="-423"/>
                    <a:pt x="10911" y="274"/>
                    <a:pt x="11579" y="1667"/>
                  </a:cubicBezTo>
                </a:path>
              </a:pathLst>
            </a:custGeom>
            <a:solidFill>
              <a:srgbClr val="47766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5" name="Shape 1446"/>
            <p:cNvSpPr/>
            <p:nvPr/>
          </p:nvSpPr>
          <p:spPr>
            <a:xfrm>
              <a:off x="946672" y="284821"/>
              <a:ext cx="137531" cy="1037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1" h="20336" extrusionOk="0">
                  <a:moveTo>
                    <a:pt x="0" y="2278"/>
                  </a:moveTo>
                  <a:lnTo>
                    <a:pt x="6336" y="0"/>
                  </a:lnTo>
                  <a:lnTo>
                    <a:pt x="7128" y="4101"/>
                  </a:lnTo>
                  <a:cubicBezTo>
                    <a:pt x="7128" y="4101"/>
                    <a:pt x="14040" y="11028"/>
                    <a:pt x="16704" y="13397"/>
                  </a:cubicBezTo>
                  <a:cubicBezTo>
                    <a:pt x="16704" y="13397"/>
                    <a:pt x="21600" y="14400"/>
                    <a:pt x="21384" y="17772"/>
                  </a:cubicBezTo>
                  <a:cubicBezTo>
                    <a:pt x="21384" y="21053"/>
                    <a:pt x="17280" y="21600"/>
                    <a:pt x="14472" y="16952"/>
                  </a:cubicBezTo>
                  <a:cubicBezTo>
                    <a:pt x="14472" y="16952"/>
                    <a:pt x="6120" y="12577"/>
                    <a:pt x="4320" y="10299"/>
                  </a:cubicBezTo>
                  <a:cubicBezTo>
                    <a:pt x="2664" y="7929"/>
                    <a:pt x="0" y="2278"/>
                    <a:pt x="0" y="2278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6" name="Shape 1447"/>
            <p:cNvSpPr/>
            <p:nvPr/>
          </p:nvSpPr>
          <p:spPr>
            <a:xfrm>
              <a:off x="928694" y="221530"/>
              <a:ext cx="68739" cy="853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54" h="19239" extrusionOk="0">
                  <a:moveTo>
                    <a:pt x="3504" y="260"/>
                  </a:moveTo>
                  <a:cubicBezTo>
                    <a:pt x="11829" y="-2361"/>
                    <a:pt x="16554" y="15674"/>
                    <a:pt x="16554" y="15674"/>
                  </a:cubicBezTo>
                  <a:cubicBezTo>
                    <a:pt x="16554" y="15674"/>
                    <a:pt x="15316" y="16827"/>
                    <a:pt x="11829" y="17981"/>
                  </a:cubicBezTo>
                  <a:cubicBezTo>
                    <a:pt x="8004" y="19239"/>
                    <a:pt x="4742" y="19239"/>
                    <a:pt x="4742" y="19239"/>
                  </a:cubicBezTo>
                  <a:cubicBezTo>
                    <a:pt x="4742" y="19239"/>
                    <a:pt x="-5046" y="2987"/>
                    <a:pt x="3504" y="260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7" name="Shape 1448"/>
            <p:cNvSpPr/>
            <p:nvPr/>
          </p:nvSpPr>
          <p:spPr>
            <a:xfrm>
              <a:off x="831924" y="417266"/>
              <a:ext cx="114289" cy="1867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138" extrusionOk="0">
                  <a:moveTo>
                    <a:pt x="9842" y="123"/>
                  </a:moveTo>
                  <a:cubicBezTo>
                    <a:pt x="12019" y="-582"/>
                    <a:pt x="21600" y="1986"/>
                    <a:pt x="21600" y="1986"/>
                  </a:cubicBezTo>
                  <a:cubicBezTo>
                    <a:pt x="21600" y="1986"/>
                    <a:pt x="15765" y="11754"/>
                    <a:pt x="14023" y="13315"/>
                  </a:cubicBezTo>
                  <a:cubicBezTo>
                    <a:pt x="12019" y="14875"/>
                    <a:pt x="7403" y="19558"/>
                    <a:pt x="7403" y="19558"/>
                  </a:cubicBezTo>
                  <a:cubicBezTo>
                    <a:pt x="7403" y="19558"/>
                    <a:pt x="1481" y="21018"/>
                    <a:pt x="0" y="19306"/>
                  </a:cubicBezTo>
                  <a:cubicBezTo>
                    <a:pt x="0" y="19306"/>
                    <a:pt x="1481" y="13466"/>
                    <a:pt x="4965" y="11049"/>
                  </a:cubicBezTo>
                  <a:cubicBezTo>
                    <a:pt x="4965" y="11049"/>
                    <a:pt x="7839" y="828"/>
                    <a:pt x="9842" y="123"/>
                  </a:cubicBezTo>
                </a:path>
              </a:pathLst>
            </a:custGeom>
            <a:solidFill>
              <a:srgbClr val="4773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8" name="Shape 1449"/>
            <p:cNvSpPr/>
            <p:nvPr/>
          </p:nvSpPr>
          <p:spPr>
            <a:xfrm>
              <a:off x="858970" y="430305"/>
              <a:ext cx="109776" cy="2345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27" h="21172" extrusionOk="0">
                  <a:moveTo>
                    <a:pt x="13477" y="710"/>
                  </a:moveTo>
                  <a:cubicBezTo>
                    <a:pt x="13477" y="710"/>
                    <a:pt x="17977" y="8941"/>
                    <a:pt x="18787" y="10612"/>
                  </a:cubicBezTo>
                  <a:cubicBezTo>
                    <a:pt x="19507" y="12241"/>
                    <a:pt x="21127" y="20514"/>
                    <a:pt x="21127" y="20514"/>
                  </a:cubicBezTo>
                  <a:cubicBezTo>
                    <a:pt x="17257" y="21600"/>
                    <a:pt x="12757" y="21015"/>
                    <a:pt x="12757" y="21015"/>
                  </a:cubicBezTo>
                  <a:lnTo>
                    <a:pt x="8437" y="10487"/>
                  </a:lnTo>
                  <a:cubicBezTo>
                    <a:pt x="8437" y="10487"/>
                    <a:pt x="3577" y="5682"/>
                    <a:pt x="1507" y="3885"/>
                  </a:cubicBezTo>
                  <a:cubicBezTo>
                    <a:pt x="-473" y="2005"/>
                    <a:pt x="67" y="0"/>
                    <a:pt x="67" y="0"/>
                  </a:cubicBezTo>
                  <a:lnTo>
                    <a:pt x="13477" y="71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9" name="Shape 1450"/>
            <p:cNvSpPr/>
            <p:nvPr/>
          </p:nvSpPr>
          <p:spPr>
            <a:xfrm>
              <a:off x="852415" y="215186"/>
              <a:ext cx="114285" cy="2296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9403" extrusionOk="0">
                  <a:moveTo>
                    <a:pt x="21600" y="2555"/>
                  </a:moveTo>
                  <a:lnTo>
                    <a:pt x="19580" y="18618"/>
                  </a:lnTo>
                  <a:cubicBezTo>
                    <a:pt x="10712" y="20385"/>
                    <a:pt x="0" y="18618"/>
                    <a:pt x="0" y="18618"/>
                  </a:cubicBezTo>
                  <a:lnTo>
                    <a:pt x="0" y="2241"/>
                  </a:lnTo>
                  <a:cubicBezTo>
                    <a:pt x="8166" y="-1215"/>
                    <a:pt x="18351" y="356"/>
                    <a:pt x="18351" y="356"/>
                  </a:cubicBezTo>
                  <a:cubicBezTo>
                    <a:pt x="20810" y="1024"/>
                    <a:pt x="21600" y="2673"/>
                    <a:pt x="21600" y="2555"/>
                  </a:cubicBezTo>
                </a:path>
              </a:pathLst>
            </a:custGeom>
            <a:solidFill>
              <a:srgbClr val="52838D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0" name="Shape 1451"/>
            <p:cNvSpPr/>
            <p:nvPr/>
          </p:nvSpPr>
          <p:spPr>
            <a:xfrm>
              <a:off x="858562" y="305312"/>
              <a:ext cx="137525" cy="1039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0" h="20371" extrusionOk="0">
                  <a:moveTo>
                    <a:pt x="0" y="2370"/>
                  </a:moveTo>
                  <a:lnTo>
                    <a:pt x="6285" y="0"/>
                  </a:lnTo>
                  <a:lnTo>
                    <a:pt x="7080" y="4101"/>
                  </a:lnTo>
                  <a:cubicBezTo>
                    <a:pt x="7080" y="4101"/>
                    <a:pt x="14015" y="11028"/>
                    <a:pt x="16688" y="13397"/>
                  </a:cubicBezTo>
                  <a:cubicBezTo>
                    <a:pt x="16688" y="13397"/>
                    <a:pt x="21600" y="14400"/>
                    <a:pt x="21383" y="17772"/>
                  </a:cubicBezTo>
                  <a:cubicBezTo>
                    <a:pt x="21383" y="21144"/>
                    <a:pt x="17266" y="21600"/>
                    <a:pt x="14448" y="16952"/>
                  </a:cubicBezTo>
                  <a:cubicBezTo>
                    <a:pt x="14448" y="16952"/>
                    <a:pt x="6068" y="12577"/>
                    <a:pt x="4262" y="10299"/>
                  </a:cubicBezTo>
                  <a:cubicBezTo>
                    <a:pt x="2601" y="8020"/>
                    <a:pt x="0" y="2370"/>
                    <a:pt x="0" y="237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1" name="Shape 1452"/>
            <p:cNvSpPr/>
            <p:nvPr/>
          </p:nvSpPr>
          <p:spPr>
            <a:xfrm>
              <a:off x="838637" y="240347"/>
              <a:ext cx="68636" cy="8499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29" h="19154" extrusionOk="0">
                  <a:moveTo>
                    <a:pt x="3479" y="280"/>
                  </a:moveTo>
                  <a:cubicBezTo>
                    <a:pt x="11804" y="-2446"/>
                    <a:pt x="16529" y="15589"/>
                    <a:pt x="16529" y="15589"/>
                  </a:cubicBezTo>
                  <a:cubicBezTo>
                    <a:pt x="16529" y="15589"/>
                    <a:pt x="15291" y="16847"/>
                    <a:pt x="11804" y="18001"/>
                  </a:cubicBezTo>
                  <a:cubicBezTo>
                    <a:pt x="7979" y="19154"/>
                    <a:pt x="4829" y="19154"/>
                    <a:pt x="4829" y="19154"/>
                  </a:cubicBezTo>
                  <a:cubicBezTo>
                    <a:pt x="4829" y="19154"/>
                    <a:pt x="-5071" y="2902"/>
                    <a:pt x="3479" y="280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2" name="Shape 1453"/>
            <p:cNvSpPr/>
            <p:nvPr/>
          </p:nvSpPr>
          <p:spPr>
            <a:xfrm>
              <a:off x="887249" y="188514"/>
              <a:ext cx="38255" cy="537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517" h="19015" extrusionOk="0">
                  <a:moveTo>
                    <a:pt x="16090" y="0"/>
                  </a:moveTo>
                  <a:lnTo>
                    <a:pt x="17412" y="8770"/>
                  </a:lnTo>
                  <a:cubicBezTo>
                    <a:pt x="17412" y="8770"/>
                    <a:pt x="21600" y="16078"/>
                    <a:pt x="13665" y="18352"/>
                  </a:cubicBezTo>
                  <a:cubicBezTo>
                    <a:pt x="1102" y="21600"/>
                    <a:pt x="0" y="11856"/>
                    <a:pt x="0" y="11856"/>
                  </a:cubicBezTo>
                  <a:lnTo>
                    <a:pt x="3747" y="2761"/>
                  </a:lnTo>
                  <a:lnTo>
                    <a:pt x="16090" y="0"/>
                  </a:lnTo>
                </a:path>
              </a:pathLst>
            </a:custGeom>
            <a:solidFill>
              <a:srgbClr val="FFE98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3" name="Shape 1454"/>
            <p:cNvSpPr/>
            <p:nvPr/>
          </p:nvSpPr>
          <p:spPr>
            <a:xfrm>
              <a:off x="860449" y="101691"/>
              <a:ext cx="94927" cy="1220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1" h="18710" extrusionOk="0">
                  <a:moveTo>
                    <a:pt x="5546" y="18465"/>
                  </a:moveTo>
                  <a:cubicBezTo>
                    <a:pt x="5546" y="20461"/>
                    <a:pt x="-2293" y="9768"/>
                    <a:pt x="668" y="5134"/>
                  </a:cubicBezTo>
                  <a:cubicBezTo>
                    <a:pt x="3368" y="714"/>
                    <a:pt x="9988" y="-1139"/>
                    <a:pt x="14691" y="714"/>
                  </a:cubicBezTo>
                  <a:cubicBezTo>
                    <a:pt x="19307" y="2497"/>
                    <a:pt x="17652" y="5990"/>
                    <a:pt x="17652" y="5990"/>
                  </a:cubicBezTo>
                  <a:cubicBezTo>
                    <a:pt x="17652" y="5990"/>
                    <a:pt x="7549" y="9198"/>
                    <a:pt x="5546" y="18465"/>
                  </a:cubicBezTo>
                </a:path>
              </a:pathLst>
            </a:custGeom>
            <a:solidFill>
              <a:srgbClr val="DFD85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4" name="Shape 1455"/>
            <p:cNvSpPr/>
            <p:nvPr/>
          </p:nvSpPr>
          <p:spPr>
            <a:xfrm>
              <a:off x="875141" y="124993"/>
              <a:ext cx="74100" cy="904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39" h="20836" extrusionOk="0">
                  <a:moveTo>
                    <a:pt x="3678" y="15797"/>
                  </a:moveTo>
                  <a:cubicBezTo>
                    <a:pt x="3307" y="15260"/>
                    <a:pt x="3307" y="14615"/>
                    <a:pt x="2690" y="13970"/>
                  </a:cubicBezTo>
                  <a:cubicBezTo>
                    <a:pt x="1333" y="12466"/>
                    <a:pt x="-1136" y="8275"/>
                    <a:pt x="592" y="6985"/>
                  </a:cubicBezTo>
                  <a:cubicBezTo>
                    <a:pt x="3678" y="4943"/>
                    <a:pt x="4418" y="9779"/>
                    <a:pt x="4418" y="9779"/>
                  </a:cubicBezTo>
                  <a:cubicBezTo>
                    <a:pt x="4789" y="6985"/>
                    <a:pt x="10713" y="5803"/>
                    <a:pt x="14539" y="4943"/>
                  </a:cubicBezTo>
                  <a:cubicBezTo>
                    <a:pt x="18366" y="3976"/>
                    <a:pt x="18736" y="0"/>
                    <a:pt x="18736" y="0"/>
                  </a:cubicBezTo>
                  <a:cubicBezTo>
                    <a:pt x="20464" y="2794"/>
                    <a:pt x="19353" y="8275"/>
                    <a:pt x="18366" y="13970"/>
                  </a:cubicBezTo>
                  <a:cubicBezTo>
                    <a:pt x="17995" y="17301"/>
                    <a:pt x="16638" y="18806"/>
                    <a:pt x="15527" y="20096"/>
                  </a:cubicBezTo>
                  <a:cubicBezTo>
                    <a:pt x="14539" y="20633"/>
                    <a:pt x="12071" y="21600"/>
                    <a:pt x="8985" y="19773"/>
                  </a:cubicBezTo>
                  <a:cubicBezTo>
                    <a:pt x="6887" y="18591"/>
                    <a:pt x="5159" y="17087"/>
                    <a:pt x="3678" y="15797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5" name="Shape 1456"/>
            <p:cNvSpPr/>
            <p:nvPr/>
          </p:nvSpPr>
          <p:spPr>
            <a:xfrm>
              <a:off x="1808103" y="73766"/>
              <a:ext cx="16394" cy="999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276"/>
                  </a:moveTo>
                  <a:lnTo>
                    <a:pt x="21600" y="21600"/>
                  </a:lnTo>
                  <a:cubicBezTo>
                    <a:pt x="4629" y="19908"/>
                    <a:pt x="0" y="17917"/>
                    <a:pt x="0" y="16225"/>
                  </a:cubicBezTo>
                  <a:lnTo>
                    <a:pt x="0" y="0"/>
                  </a:lnTo>
                  <a:cubicBezTo>
                    <a:pt x="0" y="1692"/>
                    <a:pt x="9257" y="3285"/>
                    <a:pt x="21600" y="5276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6" name="Shape 1457"/>
            <p:cNvSpPr/>
            <p:nvPr/>
          </p:nvSpPr>
          <p:spPr>
            <a:xfrm>
              <a:off x="1307310" y="157778"/>
              <a:ext cx="38470" cy="93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256"/>
                  </a:moveTo>
                  <a:lnTo>
                    <a:pt x="21600" y="21600"/>
                  </a:lnTo>
                  <a:lnTo>
                    <a:pt x="0" y="17450"/>
                  </a:lnTo>
                  <a:lnTo>
                    <a:pt x="0" y="0"/>
                  </a:lnTo>
                  <a:lnTo>
                    <a:pt x="21600" y="4256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7" name="Shape 1458"/>
            <p:cNvSpPr/>
            <p:nvPr/>
          </p:nvSpPr>
          <p:spPr>
            <a:xfrm>
              <a:off x="1344193" y="163926"/>
              <a:ext cx="122483" cy="12042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7816"/>
                  </a:moveTo>
                  <a:lnTo>
                    <a:pt x="21600" y="21600"/>
                  </a:lnTo>
                  <a:cubicBezTo>
                    <a:pt x="21600" y="18995"/>
                    <a:pt x="20214" y="16893"/>
                    <a:pt x="17688" y="15633"/>
                  </a:cubicBezTo>
                  <a:cubicBezTo>
                    <a:pt x="17198" y="15465"/>
                    <a:pt x="16546" y="15212"/>
                    <a:pt x="16057" y="14960"/>
                  </a:cubicBezTo>
                  <a:cubicBezTo>
                    <a:pt x="15568" y="14708"/>
                    <a:pt x="14916" y="14708"/>
                    <a:pt x="14427" y="14456"/>
                  </a:cubicBezTo>
                  <a:lnTo>
                    <a:pt x="14020" y="14456"/>
                  </a:lnTo>
                  <a:cubicBezTo>
                    <a:pt x="13531" y="14456"/>
                    <a:pt x="13042" y="14204"/>
                    <a:pt x="12389" y="14204"/>
                  </a:cubicBezTo>
                  <a:lnTo>
                    <a:pt x="9863" y="14204"/>
                  </a:lnTo>
                  <a:cubicBezTo>
                    <a:pt x="9129" y="14204"/>
                    <a:pt x="8477" y="14204"/>
                    <a:pt x="7988" y="14456"/>
                  </a:cubicBezTo>
                  <a:cubicBezTo>
                    <a:pt x="7825" y="14456"/>
                    <a:pt x="7580" y="14456"/>
                    <a:pt x="7091" y="14708"/>
                  </a:cubicBezTo>
                  <a:cubicBezTo>
                    <a:pt x="6602" y="14708"/>
                    <a:pt x="6195" y="14960"/>
                    <a:pt x="5706" y="14960"/>
                  </a:cubicBezTo>
                  <a:cubicBezTo>
                    <a:pt x="5217" y="14960"/>
                    <a:pt x="4809" y="15212"/>
                    <a:pt x="4320" y="15212"/>
                  </a:cubicBezTo>
                  <a:cubicBezTo>
                    <a:pt x="3912" y="15212"/>
                    <a:pt x="3668" y="15465"/>
                    <a:pt x="3179" y="15465"/>
                  </a:cubicBezTo>
                  <a:cubicBezTo>
                    <a:pt x="2282" y="15633"/>
                    <a:pt x="1304" y="15885"/>
                    <a:pt x="408" y="16137"/>
                  </a:cubicBezTo>
                  <a:cubicBezTo>
                    <a:pt x="163" y="16137"/>
                    <a:pt x="0" y="16389"/>
                    <a:pt x="0" y="16389"/>
                  </a:cubicBezTo>
                  <a:lnTo>
                    <a:pt x="0" y="2605"/>
                  </a:lnTo>
                  <a:lnTo>
                    <a:pt x="163" y="2605"/>
                  </a:lnTo>
                  <a:cubicBezTo>
                    <a:pt x="408" y="2605"/>
                    <a:pt x="408" y="2605"/>
                    <a:pt x="652" y="2353"/>
                  </a:cubicBezTo>
                  <a:cubicBezTo>
                    <a:pt x="1549" y="2185"/>
                    <a:pt x="2527" y="1933"/>
                    <a:pt x="3423" y="1681"/>
                  </a:cubicBezTo>
                  <a:cubicBezTo>
                    <a:pt x="3668" y="1681"/>
                    <a:pt x="3668" y="1429"/>
                    <a:pt x="3912" y="1429"/>
                  </a:cubicBezTo>
                  <a:cubicBezTo>
                    <a:pt x="4075" y="1429"/>
                    <a:pt x="4320" y="1429"/>
                    <a:pt x="4565" y="1177"/>
                  </a:cubicBezTo>
                  <a:cubicBezTo>
                    <a:pt x="5054" y="1177"/>
                    <a:pt x="5461" y="925"/>
                    <a:pt x="5950" y="925"/>
                  </a:cubicBezTo>
                  <a:cubicBezTo>
                    <a:pt x="6195" y="925"/>
                    <a:pt x="6439" y="756"/>
                    <a:pt x="6439" y="756"/>
                  </a:cubicBezTo>
                  <a:cubicBezTo>
                    <a:pt x="6602" y="756"/>
                    <a:pt x="6847" y="756"/>
                    <a:pt x="7336" y="504"/>
                  </a:cubicBezTo>
                  <a:cubicBezTo>
                    <a:pt x="7580" y="504"/>
                    <a:pt x="7825" y="252"/>
                    <a:pt x="8232" y="252"/>
                  </a:cubicBezTo>
                  <a:lnTo>
                    <a:pt x="8722" y="252"/>
                  </a:lnTo>
                  <a:cubicBezTo>
                    <a:pt x="9129" y="252"/>
                    <a:pt x="9863" y="0"/>
                    <a:pt x="10352" y="0"/>
                  </a:cubicBezTo>
                  <a:cubicBezTo>
                    <a:pt x="10352" y="0"/>
                    <a:pt x="10352" y="0"/>
                    <a:pt x="10515" y="0"/>
                  </a:cubicBezTo>
                  <a:lnTo>
                    <a:pt x="13775" y="0"/>
                  </a:lnTo>
                  <a:cubicBezTo>
                    <a:pt x="14264" y="0"/>
                    <a:pt x="14427" y="0"/>
                    <a:pt x="14672" y="252"/>
                  </a:cubicBezTo>
                  <a:lnTo>
                    <a:pt x="15405" y="252"/>
                  </a:lnTo>
                  <a:cubicBezTo>
                    <a:pt x="15813" y="252"/>
                    <a:pt x="16546" y="504"/>
                    <a:pt x="16954" y="756"/>
                  </a:cubicBezTo>
                  <a:cubicBezTo>
                    <a:pt x="17688" y="925"/>
                    <a:pt x="18177" y="1177"/>
                    <a:pt x="18584" y="1429"/>
                  </a:cubicBezTo>
                  <a:cubicBezTo>
                    <a:pt x="20214" y="3110"/>
                    <a:pt x="21600" y="5211"/>
                    <a:pt x="21600" y="7816"/>
                  </a:cubicBez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8" name="Shape 1459"/>
            <p:cNvSpPr/>
            <p:nvPr/>
          </p:nvSpPr>
          <p:spPr>
            <a:xfrm>
              <a:off x="1952768" y="104502"/>
              <a:ext cx="124530" cy="1388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2145"/>
                  </a:lnTo>
                  <a:cubicBezTo>
                    <a:pt x="21600" y="12509"/>
                    <a:pt x="21600" y="12727"/>
                    <a:pt x="21358" y="13164"/>
                  </a:cubicBezTo>
                  <a:cubicBezTo>
                    <a:pt x="21358" y="13382"/>
                    <a:pt x="21358" y="13382"/>
                    <a:pt x="21197" y="13600"/>
                  </a:cubicBezTo>
                  <a:lnTo>
                    <a:pt x="21197" y="14182"/>
                  </a:lnTo>
                  <a:cubicBezTo>
                    <a:pt x="20955" y="14618"/>
                    <a:pt x="20955" y="14836"/>
                    <a:pt x="20713" y="14982"/>
                  </a:cubicBezTo>
                  <a:cubicBezTo>
                    <a:pt x="20713" y="15200"/>
                    <a:pt x="20713" y="15200"/>
                    <a:pt x="20472" y="15200"/>
                  </a:cubicBezTo>
                  <a:cubicBezTo>
                    <a:pt x="20472" y="15200"/>
                    <a:pt x="20472" y="15418"/>
                    <a:pt x="20230" y="15418"/>
                  </a:cubicBezTo>
                  <a:cubicBezTo>
                    <a:pt x="19988" y="15636"/>
                    <a:pt x="19988" y="15636"/>
                    <a:pt x="19988" y="15855"/>
                  </a:cubicBezTo>
                  <a:cubicBezTo>
                    <a:pt x="19827" y="16218"/>
                    <a:pt x="19585" y="16436"/>
                    <a:pt x="19101" y="16655"/>
                  </a:cubicBezTo>
                  <a:lnTo>
                    <a:pt x="17731" y="17891"/>
                  </a:lnTo>
                  <a:cubicBezTo>
                    <a:pt x="17731" y="17891"/>
                    <a:pt x="17731" y="17891"/>
                    <a:pt x="17490" y="18109"/>
                  </a:cubicBezTo>
                  <a:cubicBezTo>
                    <a:pt x="17087" y="18473"/>
                    <a:pt x="16603" y="18691"/>
                    <a:pt x="15958" y="18909"/>
                  </a:cubicBezTo>
                  <a:cubicBezTo>
                    <a:pt x="15716" y="18909"/>
                    <a:pt x="15475" y="19127"/>
                    <a:pt x="15475" y="19127"/>
                  </a:cubicBezTo>
                  <a:cubicBezTo>
                    <a:pt x="15233" y="19345"/>
                    <a:pt x="14991" y="19345"/>
                    <a:pt x="14749" y="19491"/>
                  </a:cubicBezTo>
                  <a:cubicBezTo>
                    <a:pt x="14749" y="19491"/>
                    <a:pt x="14588" y="19491"/>
                    <a:pt x="14588" y="19709"/>
                  </a:cubicBezTo>
                  <a:cubicBezTo>
                    <a:pt x="14104" y="19927"/>
                    <a:pt x="13460" y="20145"/>
                    <a:pt x="12734" y="20364"/>
                  </a:cubicBezTo>
                  <a:cubicBezTo>
                    <a:pt x="12493" y="20364"/>
                    <a:pt x="12493" y="20582"/>
                    <a:pt x="12251" y="20582"/>
                  </a:cubicBezTo>
                  <a:lnTo>
                    <a:pt x="12090" y="20582"/>
                  </a:lnTo>
                  <a:cubicBezTo>
                    <a:pt x="11928" y="20582"/>
                    <a:pt x="11606" y="20727"/>
                    <a:pt x="11364" y="20727"/>
                  </a:cubicBezTo>
                  <a:cubicBezTo>
                    <a:pt x="10961" y="20945"/>
                    <a:pt x="10719" y="20945"/>
                    <a:pt x="10236" y="20945"/>
                  </a:cubicBezTo>
                  <a:lnTo>
                    <a:pt x="9994" y="20945"/>
                  </a:lnTo>
                  <a:cubicBezTo>
                    <a:pt x="9752" y="20945"/>
                    <a:pt x="9591" y="20945"/>
                    <a:pt x="9349" y="21164"/>
                  </a:cubicBezTo>
                  <a:cubicBezTo>
                    <a:pt x="9107" y="21164"/>
                    <a:pt x="8624" y="21382"/>
                    <a:pt x="8382" y="21382"/>
                  </a:cubicBezTo>
                  <a:lnTo>
                    <a:pt x="7979" y="21382"/>
                  </a:lnTo>
                  <a:cubicBezTo>
                    <a:pt x="7737" y="21382"/>
                    <a:pt x="7496" y="21382"/>
                    <a:pt x="7093" y="21600"/>
                  </a:cubicBezTo>
                  <a:lnTo>
                    <a:pt x="1854" y="21600"/>
                  </a:lnTo>
                  <a:cubicBezTo>
                    <a:pt x="1128" y="21600"/>
                    <a:pt x="725" y="21600"/>
                    <a:pt x="0" y="21382"/>
                  </a:cubicBezTo>
                  <a:lnTo>
                    <a:pt x="0" y="9455"/>
                  </a:lnTo>
                  <a:cubicBezTo>
                    <a:pt x="725" y="9455"/>
                    <a:pt x="1370" y="9673"/>
                    <a:pt x="2015" y="9673"/>
                  </a:cubicBezTo>
                  <a:lnTo>
                    <a:pt x="5481" y="9673"/>
                  </a:lnTo>
                  <a:cubicBezTo>
                    <a:pt x="5884" y="9673"/>
                    <a:pt x="6367" y="9673"/>
                    <a:pt x="6851" y="9455"/>
                  </a:cubicBezTo>
                  <a:cubicBezTo>
                    <a:pt x="7093" y="9455"/>
                    <a:pt x="7254" y="9455"/>
                    <a:pt x="7737" y="9236"/>
                  </a:cubicBezTo>
                  <a:cubicBezTo>
                    <a:pt x="8221" y="9236"/>
                    <a:pt x="8624" y="9091"/>
                    <a:pt x="9107" y="9091"/>
                  </a:cubicBezTo>
                  <a:cubicBezTo>
                    <a:pt x="9349" y="9091"/>
                    <a:pt x="9591" y="9091"/>
                    <a:pt x="9752" y="8873"/>
                  </a:cubicBezTo>
                  <a:cubicBezTo>
                    <a:pt x="10236" y="8655"/>
                    <a:pt x="10719" y="8655"/>
                    <a:pt x="11122" y="8436"/>
                  </a:cubicBezTo>
                  <a:cubicBezTo>
                    <a:pt x="11364" y="8436"/>
                    <a:pt x="11606" y="8218"/>
                    <a:pt x="11848" y="8218"/>
                  </a:cubicBezTo>
                  <a:cubicBezTo>
                    <a:pt x="12090" y="8218"/>
                    <a:pt x="12251" y="8000"/>
                    <a:pt x="12251" y="8000"/>
                  </a:cubicBezTo>
                  <a:cubicBezTo>
                    <a:pt x="12976" y="7855"/>
                    <a:pt x="13460" y="7636"/>
                    <a:pt x="14104" y="7418"/>
                  </a:cubicBezTo>
                  <a:cubicBezTo>
                    <a:pt x="14588" y="7200"/>
                    <a:pt x="14749" y="7200"/>
                    <a:pt x="15233" y="6982"/>
                  </a:cubicBezTo>
                  <a:cubicBezTo>
                    <a:pt x="15475" y="6982"/>
                    <a:pt x="15716" y="6764"/>
                    <a:pt x="15716" y="6764"/>
                  </a:cubicBezTo>
                  <a:cubicBezTo>
                    <a:pt x="16119" y="6618"/>
                    <a:pt x="16845" y="6182"/>
                    <a:pt x="17328" y="5964"/>
                  </a:cubicBezTo>
                  <a:cubicBezTo>
                    <a:pt x="17973" y="5600"/>
                    <a:pt x="18457" y="5164"/>
                    <a:pt x="18860" y="4727"/>
                  </a:cubicBezTo>
                  <a:cubicBezTo>
                    <a:pt x="19343" y="4364"/>
                    <a:pt x="19585" y="3927"/>
                    <a:pt x="19988" y="3491"/>
                  </a:cubicBezTo>
                  <a:cubicBezTo>
                    <a:pt x="19988" y="3491"/>
                    <a:pt x="19988" y="3273"/>
                    <a:pt x="20230" y="3273"/>
                  </a:cubicBezTo>
                  <a:cubicBezTo>
                    <a:pt x="20472" y="2909"/>
                    <a:pt x="20713" y="2473"/>
                    <a:pt x="20955" y="2109"/>
                  </a:cubicBezTo>
                  <a:lnTo>
                    <a:pt x="20955" y="1891"/>
                  </a:lnTo>
                  <a:cubicBezTo>
                    <a:pt x="21600" y="1236"/>
                    <a:pt x="21600" y="655"/>
                    <a:pt x="21600" y="0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9" name="Shape 1460"/>
            <p:cNvSpPr/>
            <p:nvPr/>
          </p:nvSpPr>
          <p:spPr>
            <a:xfrm>
              <a:off x="1917934" y="163926"/>
              <a:ext cx="38464" cy="1040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810" y="0"/>
                  </a:moveTo>
                  <a:lnTo>
                    <a:pt x="21600" y="16176"/>
                  </a:lnTo>
                  <a:lnTo>
                    <a:pt x="0" y="21600"/>
                  </a:lnTo>
                  <a:lnTo>
                    <a:pt x="0" y="5812"/>
                  </a:lnTo>
                  <a:lnTo>
                    <a:pt x="2081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0" name="Shape 1461"/>
            <p:cNvSpPr/>
            <p:nvPr/>
          </p:nvSpPr>
          <p:spPr>
            <a:xfrm>
              <a:off x="1199528" y="274575"/>
              <a:ext cx="16394" cy="93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086" y="21600"/>
                  </a:moveTo>
                  <a:cubicBezTo>
                    <a:pt x="3086" y="21387"/>
                    <a:pt x="3086" y="21068"/>
                    <a:pt x="0" y="21068"/>
                  </a:cubicBezTo>
                  <a:cubicBezTo>
                    <a:pt x="0" y="20749"/>
                    <a:pt x="3086" y="20110"/>
                    <a:pt x="3086" y="19791"/>
                  </a:cubicBezTo>
                  <a:lnTo>
                    <a:pt x="3086" y="21600"/>
                  </a:lnTo>
                  <a:close/>
                  <a:moveTo>
                    <a:pt x="3086" y="6065"/>
                  </a:moveTo>
                  <a:lnTo>
                    <a:pt x="3086" y="3618"/>
                  </a:lnTo>
                  <a:cubicBezTo>
                    <a:pt x="3086" y="3299"/>
                    <a:pt x="7714" y="2767"/>
                    <a:pt x="7714" y="2447"/>
                  </a:cubicBezTo>
                  <a:lnTo>
                    <a:pt x="7714" y="1809"/>
                  </a:lnTo>
                  <a:lnTo>
                    <a:pt x="21600" y="0"/>
                  </a:lnTo>
                  <a:lnTo>
                    <a:pt x="21600" y="17450"/>
                  </a:lnTo>
                  <a:lnTo>
                    <a:pt x="7714" y="19259"/>
                  </a:lnTo>
                  <a:cubicBezTo>
                    <a:pt x="7714" y="19578"/>
                    <a:pt x="7714" y="19578"/>
                    <a:pt x="3086" y="19791"/>
                  </a:cubicBezTo>
                  <a:lnTo>
                    <a:pt x="3086" y="6065"/>
                  </a:lnTo>
                  <a:close/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1" name="Shape 1462"/>
            <p:cNvSpPr/>
            <p:nvPr/>
          </p:nvSpPr>
          <p:spPr>
            <a:xfrm>
              <a:off x="954869" y="413913"/>
              <a:ext cx="257718" cy="2023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3457"/>
                  </a:moveTo>
                  <a:lnTo>
                    <a:pt x="21600" y="21600"/>
                  </a:lnTo>
                  <a:lnTo>
                    <a:pt x="0" y="8143"/>
                  </a:lnTo>
                  <a:lnTo>
                    <a:pt x="0" y="0"/>
                  </a:lnTo>
                  <a:lnTo>
                    <a:pt x="21600" y="13457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2" name="Shape 1463"/>
            <p:cNvSpPr/>
            <p:nvPr/>
          </p:nvSpPr>
          <p:spPr>
            <a:xfrm>
              <a:off x="1655652" y="391373"/>
              <a:ext cx="270013" cy="2064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117"/>
                  </a:moveTo>
                  <a:lnTo>
                    <a:pt x="21600" y="12059"/>
                  </a:lnTo>
                  <a:cubicBezTo>
                    <a:pt x="21600" y="10558"/>
                    <a:pt x="20966" y="9299"/>
                    <a:pt x="19809" y="8621"/>
                  </a:cubicBezTo>
                  <a:cubicBezTo>
                    <a:pt x="19585" y="8475"/>
                    <a:pt x="19399" y="8378"/>
                    <a:pt x="19063" y="8233"/>
                  </a:cubicBezTo>
                  <a:cubicBezTo>
                    <a:pt x="18951" y="8088"/>
                    <a:pt x="18877" y="8088"/>
                    <a:pt x="18653" y="8088"/>
                  </a:cubicBezTo>
                  <a:cubicBezTo>
                    <a:pt x="18466" y="8088"/>
                    <a:pt x="18429" y="7943"/>
                    <a:pt x="18317" y="7943"/>
                  </a:cubicBezTo>
                  <a:cubicBezTo>
                    <a:pt x="18131" y="7797"/>
                    <a:pt x="17907" y="7797"/>
                    <a:pt x="17683" y="7797"/>
                  </a:cubicBezTo>
                  <a:lnTo>
                    <a:pt x="17608" y="7797"/>
                  </a:lnTo>
                  <a:cubicBezTo>
                    <a:pt x="17384" y="7797"/>
                    <a:pt x="17049" y="7652"/>
                    <a:pt x="16862" y="7652"/>
                  </a:cubicBezTo>
                  <a:lnTo>
                    <a:pt x="15818" y="7652"/>
                  </a:lnTo>
                  <a:cubicBezTo>
                    <a:pt x="15594" y="7652"/>
                    <a:pt x="15482" y="7652"/>
                    <a:pt x="15258" y="7797"/>
                  </a:cubicBezTo>
                  <a:cubicBezTo>
                    <a:pt x="15072" y="7797"/>
                    <a:pt x="14960" y="7797"/>
                    <a:pt x="14848" y="7943"/>
                  </a:cubicBezTo>
                  <a:cubicBezTo>
                    <a:pt x="14736" y="7943"/>
                    <a:pt x="14549" y="7943"/>
                    <a:pt x="14437" y="8088"/>
                  </a:cubicBezTo>
                  <a:cubicBezTo>
                    <a:pt x="14213" y="8233"/>
                    <a:pt x="14027" y="8233"/>
                    <a:pt x="13691" y="8233"/>
                  </a:cubicBezTo>
                  <a:cubicBezTo>
                    <a:pt x="13579" y="8233"/>
                    <a:pt x="13467" y="8378"/>
                    <a:pt x="13281" y="8378"/>
                  </a:cubicBezTo>
                  <a:cubicBezTo>
                    <a:pt x="12870" y="8475"/>
                    <a:pt x="12423" y="8621"/>
                    <a:pt x="11901" y="8766"/>
                  </a:cubicBezTo>
                  <a:cubicBezTo>
                    <a:pt x="11789" y="8911"/>
                    <a:pt x="11714" y="8911"/>
                    <a:pt x="11602" y="8911"/>
                  </a:cubicBezTo>
                  <a:cubicBezTo>
                    <a:pt x="11266" y="9057"/>
                    <a:pt x="10968" y="9153"/>
                    <a:pt x="10632" y="9299"/>
                  </a:cubicBezTo>
                  <a:cubicBezTo>
                    <a:pt x="10520" y="9299"/>
                    <a:pt x="10446" y="9444"/>
                    <a:pt x="10222" y="9444"/>
                  </a:cubicBezTo>
                  <a:cubicBezTo>
                    <a:pt x="9923" y="9589"/>
                    <a:pt x="9588" y="9880"/>
                    <a:pt x="9177" y="9977"/>
                  </a:cubicBezTo>
                  <a:cubicBezTo>
                    <a:pt x="9065" y="9977"/>
                    <a:pt x="9065" y="10122"/>
                    <a:pt x="8953" y="10122"/>
                  </a:cubicBezTo>
                  <a:cubicBezTo>
                    <a:pt x="8319" y="10558"/>
                    <a:pt x="7573" y="10945"/>
                    <a:pt x="6976" y="11478"/>
                  </a:cubicBezTo>
                  <a:lnTo>
                    <a:pt x="6864" y="11478"/>
                  </a:lnTo>
                  <a:cubicBezTo>
                    <a:pt x="6230" y="12059"/>
                    <a:pt x="5596" y="12447"/>
                    <a:pt x="4962" y="13125"/>
                  </a:cubicBezTo>
                  <a:cubicBezTo>
                    <a:pt x="4738" y="13270"/>
                    <a:pt x="4626" y="13561"/>
                    <a:pt x="4439" y="13706"/>
                  </a:cubicBezTo>
                  <a:cubicBezTo>
                    <a:pt x="4104" y="13948"/>
                    <a:pt x="3917" y="14239"/>
                    <a:pt x="3693" y="14529"/>
                  </a:cubicBezTo>
                  <a:cubicBezTo>
                    <a:pt x="3581" y="14626"/>
                    <a:pt x="3469" y="14771"/>
                    <a:pt x="3283" y="14917"/>
                  </a:cubicBezTo>
                  <a:cubicBezTo>
                    <a:pt x="3059" y="15207"/>
                    <a:pt x="2873" y="15449"/>
                    <a:pt x="2649" y="15740"/>
                  </a:cubicBezTo>
                  <a:cubicBezTo>
                    <a:pt x="2574" y="15885"/>
                    <a:pt x="2425" y="16127"/>
                    <a:pt x="2238" y="16273"/>
                  </a:cubicBezTo>
                  <a:cubicBezTo>
                    <a:pt x="2126" y="16418"/>
                    <a:pt x="2164" y="16418"/>
                    <a:pt x="2015" y="16563"/>
                  </a:cubicBezTo>
                  <a:cubicBezTo>
                    <a:pt x="1828" y="16805"/>
                    <a:pt x="1679" y="17096"/>
                    <a:pt x="1492" y="17387"/>
                  </a:cubicBezTo>
                  <a:lnTo>
                    <a:pt x="1380" y="17532"/>
                  </a:lnTo>
                  <a:cubicBezTo>
                    <a:pt x="1268" y="17629"/>
                    <a:pt x="1268" y="17774"/>
                    <a:pt x="1268" y="17774"/>
                  </a:cubicBezTo>
                  <a:cubicBezTo>
                    <a:pt x="1045" y="18065"/>
                    <a:pt x="970" y="18355"/>
                    <a:pt x="858" y="18597"/>
                  </a:cubicBezTo>
                  <a:cubicBezTo>
                    <a:pt x="746" y="18743"/>
                    <a:pt x="746" y="18985"/>
                    <a:pt x="634" y="19130"/>
                  </a:cubicBezTo>
                  <a:cubicBezTo>
                    <a:pt x="522" y="19227"/>
                    <a:pt x="522" y="19421"/>
                    <a:pt x="448" y="19711"/>
                  </a:cubicBezTo>
                  <a:cubicBezTo>
                    <a:pt x="336" y="19953"/>
                    <a:pt x="336" y="20244"/>
                    <a:pt x="224" y="20389"/>
                  </a:cubicBezTo>
                  <a:cubicBezTo>
                    <a:pt x="224" y="20535"/>
                    <a:pt x="112" y="20535"/>
                    <a:pt x="112" y="20680"/>
                  </a:cubicBezTo>
                  <a:cubicBezTo>
                    <a:pt x="0" y="21067"/>
                    <a:pt x="0" y="21358"/>
                    <a:pt x="0" y="21600"/>
                  </a:cubicBezTo>
                  <a:lnTo>
                    <a:pt x="0" y="13561"/>
                  </a:lnTo>
                  <a:cubicBezTo>
                    <a:pt x="0" y="13270"/>
                    <a:pt x="0" y="12979"/>
                    <a:pt x="112" y="12737"/>
                  </a:cubicBezTo>
                  <a:cubicBezTo>
                    <a:pt x="112" y="12592"/>
                    <a:pt x="112" y="12592"/>
                    <a:pt x="224" y="12447"/>
                  </a:cubicBezTo>
                  <a:cubicBezTo>
                    <a:pt x="224" y="12301"/>
                    <a:pt x="336" y="12059"/>
                    <a:pt x="336" y="11914"/>
                  </a:cubicBezTo>
                  <a:lnTo>
                    <a:pt x="336" y="11769"/>
                  </a:lnTo>
                  <a:cubicBezTo>
                    <a:pt x="448" y="11623"/>
                    <a:pt x="448" y="11478"/>
                    <a:pt x="522" y="11236"/>
                  </a:cubicBezTo>
                  <a:cubicBezTo>
                    <a:pt x="634" y="11091"/>
                    <a:pt x="634" y="10945"/>
                    <a:pt x="634" y="10800"/>
                  </a:cubicBezTo>
                  <a:cubicBezTo>
                    <a:pt x="634" y="10800"/>
                    <a:pt x="634" y="10655"/>
                    <a:pt x="746" y="10655"/>
                  </a:cubicBezTo>
                  <a:cubicBezTo>
                    <a:pt x="858" y="10413"/>
                    <a:pt x="1045" y="10122"/>
                    <a:pt x="1156" y="9880"/>
                  </a:cubicBezTo>
                  <a:cubicBezTo>
                    <a:pt x="1156" y="9735"/>
                    <a:pt x="1268" y="9735"/>
                    <a:pt x="1268" y="9589"/>
                  </a:cubicBezTo>
                  <a:cubicBezTo>
                    <a:pt x="1268" y="9444"/>
                    <a:pt x="1380" y="9444"/>
                    <a:pt x="1380" y="9444"/>
                  </a:cubicBezTo>
                  <a:cubicBezTo>
                    <a:pt x="1492" y="9153"/>
                    <a:pt x="1679" y="8911"/>
                    <a:pt x="1903" y="8621"/>
                  </a:cubicBezTo>
                  <a:cubicBezTo>
                    <a:pt x="2015" y="8475"/>
                    <a:pt x="2052" y="8475"/>
                    <a:pt x="2126" y="8378"/>
                  </a:cubicBezTo>
                  <a:cubicBezTo>
                    <a:pt x="2276" y="8233"/>
                    <a:pt x="2238" y="8185"/>
                    <a:pt x="2313" y="8088"/>
                  </a:cubicBezTo>
                  <a:cubicBezTo>
                    <a:pt x="2425" y="7894"/>
                    <a:pt x="2537" y="7943"/>
                    <a:pt x="2537" y="7797"/>
                  </a:cubicBezTo>
                  <a:cubicBezTo>
                    <a:pt x="2761" y="7555"/>
                    <a:pt x="2947" y="7265"/>
                    <a:pt x="3171" y="6974"/>
                  </a:cubicBezTo>
                  <a:cubicBezTo>
                    <a:pt x="3283" y="6829"/>
                    <a:pt x="3395" y="6732"/>
                    <a:pt x="3581" y="6587"/>
                  </a:cubicBezTo>
                  <a:cubicBezTo>
                    <a:pt x="3805" y="6296"/>
                    <a:pt x="4104" y="6054"/>
                    <a:pt x="4327" y="5763"/>
                  </a:cubicBezTo>
                  <a:cubicBezTo>
                    <a:pt x="4439" y="5618"/>
                    <a:pt x="4551" y="5473"/>
                    <a:pt x="4626" y="5473"/>
                  </a:cubicBezTo>
                  <a:cubicBezTo>
                    <a:pt x="4738" y="5327"/>
                    <a:pt x="4850" y="5327"/>
                    <a:pt x="4850" y="5230"/>
                  </a:cubicBezTo>
                  <a:cubicBezTo>
                    <a:pt x="5484" y="4649"/>
                    <a:pt x="6118" y="4117"/>
                    <a:pt x="6752" y="3584"/>
                  </a:cubicBezTo>
                  <a:lnTo>
                    <a:pt x="6864" y="3584"/>
                  </a:lnTo>
                  <a:cubicBezTo>
                    <a:pt x="7498" y="3003"/>
                    <a:pt x="8133" y="2615"/>
                    <a:pt x="8841" y="2228"/>
                  </a:cubicBezTo>
                  <a:cubicBezTo>
                    <a:pt x="8953" y="2228"/>
                    <a:pt x="8953" y="2228"/>
                    <a:pt x="9065" y="2083"/>
                  </a:cubicBezTo>
                  <a:cubicBezTo>
                    <a:pt x="9364" y="1792"/>
                    <a:pt x="9811" y="1647"/>
                    <a:pt x="10110" y="1501"/>
                  </a:cubicBezTo>
                  <a:cubicBezTo>
                    <a:pt x="10222" y="1404"/>
                    <a:pt x="10334" y="1404"/>
                    <a:pt x="10520" y="1404"/>
                  </a:cubicBezTo>
                  <a:cubicBezTo>
                    <a:pt x="10856" y="1259"/>
                    <a:pt x="11154" y="1114"/>
                    <a:pt x="11490" y="969"/>
                  </a:cubicBezTo>
                  <a:cubicBezTo>
                    <a:pt x="11602" y="969"/>
                    <a:pt x="11602" y="823"/>
                    <a:pt x="11714" y="823"/>
                  </a:cubicBezTo>
                  <a:lnTo>
                    <a:pt x="11789" y="823"/>
                  </a:lnTo>
                  <a:cubicBezTo>
                    <a:pt x="12236" y="678"/>
                    <a:pt x="12647" y="581"/>
                    <a:pt x="13169" y="436"/>
                  </a:cubicBezTo>
                  <a:lnTo>
                    <a:pt x="13281" y="436"/>
                  </a:lnTo>
                  <a:cubicBezTo>
                    <a:pt x="13393" y="436"/>
                    <a:pt x="13467" y="436"/>
                    <a:pt x="13467" y="291"/>
                  </a:cubicBezTo>
                  <a:cubicBezTo>
                    <a:pt x="13691" y="145"/>
                    <a:pt x="14027" y="145"/>
                    <a:pt x="14213" y="145"/>
                  </a:cubicBezTo>
                  <a:lnTo>
                    <a:pt x="14661" y="145"/>
                  </a:lnTo>
                  <a:cubicBezTo>
                    <a:pt x="14848" y="145"/>
                    <a:pt x="14960" y="145"/>
                    <a:pt x="15072" y="0"/>
                  </a:cubicBezTo>
                  <a:lnTo>
                    <a:pt x="16862" y="0"/>
                  </a:lnTo>
                  <a:cubicBezTo>
                    <a:pt x="17049" y="0"/>
                    <a:pt x="17273" y="0"/>
                    <a:pt x="17496" y="145"/>
                  </a:cubicBezTo>
                  <a:lnTo>
                    <a:pt x="17608" y="145"/>
                  </a:lnTo>
                  <a:cubicBezTo>
                    <a:pt x="17795" y="145"/>
                    <a:pt x="18019" y="291"/>
                    <a:pt x="18131" y="291"/>
                  </a:cubicBezTo>
                  <a:lnTo>
                    <a:pt x="18205" y="291"/>
                  </a:lnTo>
                  <a:cubicBezTo>
                    <a:pt x="18317" y="291"/>
                    <a:pt x="18429" y="436"/>
                    <a:pt x="18541" y="436"/>
                  </a:cubicBezTo>
                  <a:cubicBezTo>
                    <a:pt x="18653" y="436"/>
                    <a:pt x="18765" y="581"/>
                    <a:pt x="18839" y="581"/>
                  </a:cubicBezTo>
                  <a:cubicBezTo>
                    <a:pt x="18839" y="581"/>
                    <a:pt x="18839" y="581"/>
                    <a:pt x="18951" y="581"/>
                  </a:cubicBezTo>
                  <a:cubicBezTo>
                    <a:pt x="19175" y="678"/>
                    <a:pt x="19474" y="823"/>
                    <a:pt x="19697" y="969"/>
                  </a:cubicBezTo>
                  <a:cubicBezTo>
                    <a:pt x="20966" y="1501"/>
                    <a:pt x="21488" y="2761"/>
                    <a:pt x="21600" y="4117"/>
                  </a:cubicBez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3" name="Shape 1464"/>
            <p:cNvSpPr/>
            <p:nvPr/>
          </p:nvSpPr>
          <p:spPr>
            <a:xfrm>
              <a:off x="1917934" y="456943"/>
              <a:ext cx="38464" cy="958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194"/>
                  </a:moveTo>
                  <a:lnTo>
                    <a:pt x="21600" y="21600"/>
                  </a:lnTo>
                  <a:lnTo>
                    <a:pt x="0" y="17196"/>
                  </a:lnTo>
                  <a:lnTo>
                    <a:pt x="0" y="0"/>
                  </a:lnTo>
                  <a:lnTo>
                    <a:pt x="21600" y="4194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4" name="Shape 1465"/>
            <p:cNvSpPr/>
            <p:nvPr/>
          </p:nvSpPr>
          <p:spPr>
            <a:xfrm>
              <a:off x="1956866" y="317606"/>
              <a:ext cx="216740" cy="2351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6944"/>
                  </a:lnTo>
                  <a:lnTo>
                    <a:pt x="0" y="21600"/>
                  </a:lnTo>
                  <a:lnTo>
                    <a:pt x="0" y="14528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5" name="Shape 1466"/>
            <p:cNvSpPr/>
            <p:nvPr/>
          </p:nvSpPr>
          <p:spPr>
            <a:xfrm>
              <a:off x="1309359" y="606526"/>
              <a:ext cx="38458" cy="1040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5885"/>
                  </a:lnTo>
                  <a:lnTo>
                    <a:pt x="0" y="21600"/>
                  </a:lnTo>
                  <a:lnTo>
                    <a:pt x="0" y="5715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6" name="Shape 1467"/>
            <p:cNvSpPr/>
            <p:nvPr/>
          </p:nvSpPr>
          <p:spPr>
            <a:xfrm>
              <a:off x="1045028" y="629066"/>
              <a:ext cx="272065" cy="1675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3889"/>
                  </a:moveTo>
                  <a:lnTo>
                    <a:pt x="21600" y="13881"/>
                  </a:lnTo>
                  <a:cubicBezTo>
                    <a:pt x="21600" y="14181"/>
                    <a:pt x="21600" y="14360"/>
                    <a:pt x="21490" y="14719"/>
                  </a:cubicBezTo>
                  <a:cubicBezTo>
                    <a:pt x="21490" y="14899"/>
                    <a:pt x="21490" y="14899"/>
                    <a:pt x="21416" y="15018"/>
                  </a:cubicBezTo>
                  <a:lnTo>
                    <a:pt x="21416" y="15557"/>
                  </a:lnTo>
                  <a:cubicBezTo>
                    <a:pt x="21306" y="15856"/>
                    <a:pt x="21306" y="16035"/>
                    <a:pt x="21195" y="16215"/>
                  </a:cubicBezTo>
                  <a:cubicBezTo>
                    <a:pt x="21195" y="16394"/>
                    <a:pt x="21195" y="16394"/>
                    <a:pt x="21085" y="16394"/>
                  </a:cubicBezTo>
                  <a:cubicBezTo>
                    <a:pt x="21085" y="16394"/>
                    <a:pt x="21085" y="16574"/>
                    <a:pt x="20974" y="16574"/>
                  </a:cubicBezTo>
                  <a:cubicBezTo>
                    <a:pt x="20901" y="16753"/>
                    <a:pt x="20901" y="16753"/>
                    <a:pt x="20901" y="16873"/>
                  </a:cubicBezTo>
                  <a:cubicBezTo>
                    <a:pt x="20790" y="17232"/>
                    <a:pt x="20680" y="17412"/>
                    <a:pt x="20570" y="17591"/>
                  </a:cubicBezTo>
                  <a:lnTo>
                    <a:pt x="20459" y="17711"/>
                  </a:lnTo>
                  <a:cubicBezTo>
                    <a:pt x="20275" y="18070"/>
                    <a:pt x="20055" y="18429"/>
                    <a:pt x="19834" y="18608"/>
                  </a:cubicBezTo>
                  <a:cubicBezTo>
                    <a:pt x="19834" y="18608"/>
                    <a:pt x="19760" y="18608"/>
                    <a:pt x="19760" y="18728"/>
                  </a:cubicBezTo>
                  <a:cubicBezTo>
                    <a:pt x="19539" y="19087"/>
                    <a:pt x="19319" y="19266"/>
                    <a:pt x="19135" y="19446"/>
                  </a:cubicBezTo>
                  <a:cubicBezTo>
                    <a:pt x="19024" y="19446"/>
                    <a:pt x="19024" y="19625"/>
                    <a:pt x="18914" y="19625"/>
                  </a:cubicBezTo>
                  <a:cubicBezTo>
                    <a:pt x="18803" y="19745"/>
                    <a:pt x="18693" y="19745"/>
                    <a:pt x="18509" y="19925"/>
                  </a:cubicBezTo>
                  <a:cubicBezTo>
                    <a:pt x="18509" y="19925"/>
                    <a:pt x="18509" y="19925"/>
                    <a:pt x="18399" y="19925"/>
                  </a:cubicBezTo>
                  <a:cubicBezTo>
                    <a:pt x="18067" y="20284"/>
                    <a:pt x="17663" y="20463"/>
                    <a:pt x="17368" y="20583"/>
                  </a:cubicBezTo>
                  <a:lnTo>
                    <a:pt x="17258" y="20583"/>
                  </a:lnTo>
                  <a:cubicBezTo>
                    <a:pt x="17148" y="20583"/>
                    <a:pt x="17037" y="20762"/>
                    <a:pt x="16927" y="20762"/>
                  </a:cubicBezTo>
                  <a:cubicBezTo>
                    <a:pt x="16743" y="20942"/>
                    <a:pt x="16632" y="20942"/>
                    <a:pt x="16412" y="20942"/>
                  </a:cubicBezTo>
                  <a:cubicBezTo>
                    <a:pt x="16301" y="20942"/>
                    <a:pt x="16301" y="21121"/>
                    <a:pt x="16228" y="21121"/>
                  </a:cubicBezTo>
                  <a:cubicBezTo>
                    <a:pt x="16117" y="21121"/>
                    <a:pt x="16007" y="21121"/>
                    <a:pt x="15896" y="21301"/>
                  </a:cubicBezTo>
                  <a:cubicBezTo>
                    <a:pt x="15786" y="21301"/>
                    <a:pt x="15602" y="21480"/>
                    <a:pt x="15492" y="21480"/>
                  </a:cubicBezTo>
                  <a:lnTo>
                    <a:pt x="14976" y="21480"/>
                  </a:lnTo>
                  <a:cubicBezTo>
                    <a:pt x="14866" y="21480"/>
                    <a:pt x="14645" y="21480"/>
                    <a:pt x="14535" y="21600"/>
                  </a:cubicBezTo>
                  <a:lnTo>
                    <a:pt x="11959" y="21600"/>
                  </a:lnTo>
                  <a:cubicBezTo>
                    <a:pt x="11628" y="21600"/>
                    <a:pt x="11444" y="21600"/>
                    <a:pt x="11113" y="21480"/>
                  </a:cubicBezTo>
                  <a:lnTo>
                    <a:pt x="10818" y="21480"/>
                  </a:lnTo>
                  <a:cubicBezTo>
                    <a:pt x="10414" y="21301"/>
                    <a:pt x="9972" y="21301"/>
                    <a:pt x="9457" y="21121"/>
                  </a:cubicBezTo>
                  <a:lnTo>
                    <a:pt x="9236" y="21121"/>
                  </a:lnTo>
                  <a:cubicBezTo>
                    <a:pt x="8647" y="20942"/>
                    <a:pt x="8022" y="20762"/>
                    <a:pt x="7470" y="20463"/>
                  </a:cubicBezTo>
                  <a:lnTo>
                    <a:pt x="7396" y="20463"/>
                  </a:lnTo>
                  <a:cubicBezTo>
                    <a:pt x="7286" y="20463"/>
                    <a:pt x="7286" y="20284"/>
                    <a:pt x="7175" y="20284"/>
                  </a:cubicBezTo>
                  <a:cubicBezTo>
                    <a:pt x="6881" y="20104"/>
                    <a:pt x="6550" y="19925"/>
                    <a:pt x="6256" y="19745"/>
                  </a:cubicBezTo>
                  <a:cubicBezTo>
                    <a:pt x="6145" y="19625"/>
                    <a:pt x="6035" y="19625"/>
                    <a:pt x="5924" y="19625"/>
                  </a:cubicBezTo>
                  <a:cubicBezTo>
                    <a:pt x="5520" y="19266"/>
                    <a:pt x="5188" y="19087"/>
                    <a:pt x="4784" y="18728"/>
                  </a:cubicBezTo>
                  <a:cubicBezTo>
                    <a:pt x="1766" y="16215"/>
                    <a:pt x="0" y="12984"/>
                    <a:pt x="0" y="9813"/>
                  </a:cubicBezTo>
                  <a:lnTo>
                    <a:pt x="0" y="0"/>
                  </a:lnTo>
                  <a:cubicBezTo>
                    <a:pt x="0" y="3052"/>
                    <a:pt x="1619" y="6402"/>
                    <a:pt x="4784" y="8975"/>
                  </a:cubicBezTo>
                  <a:cubicBezTo>
                    <a:pt x="5152" y="9274"/>
                    <a:pt x="5520" y="9454"/>
                    <a:pt x="5924" y="9813"/>
                  </a:cubicBezTo>
                  <a:cubicBezTo>
                    <a:pt x="6035" y="9992"/>
                    <a:pt x="6145" y="9992"/>
                    <a:pt x="6256" y="9992"/>
                  </a:cubicBezTo>
                  <a:cubicBezTo>
                    <a:pt x="6550" y="10112"/>
                    <a:pt x="6881" y="10291"/>
                    <a:pt x="7175" y="10471"/>
                  </a:cubicBezTo>
                  <a:cubicBezTo>
                    <a:pt x="7286" y="10471"/>
                    <a:pt x="7396" y="10650"/>
                    <a:pt x="7470" y="10650"/>
                  </a:cubicBezTo>
                  <a:cubicBezTo>
                    <a:pt x="8095" y="11009"/>
                    <a:pt x="8721" y="11129"/>
                    <a:pt x="9236" y="11309"/>
                  </a:cubicBezTo>
                  <a:cubicBezTo>
                    <a:pt x="9347" y="11309"/>
                    <a:pt x="9347" y="11488"/>
                    <a:pt x="9457" y="11488"/>
                  </a:cubicBezTo>
                  <a:cubicBezTo>
                    <a:pt x="9862" y="11668"/>
                    <a:pt x="10303" y="11668"/>
                    <a:pt x="10818" y="11847"/>
                  </a:cubicBezTo>
                  <a:lnTo>
                    <a:pt x="11113" y="11847"/>
                  </a:lnTo>
                  <a:cubicBezTo>
                    <a:pt x="11444" y="11847"/>
                    <a:pt x="11628" y="12027"/>
                    <a:pt x="11959" y="12027"/>
                  </a:cubicBezTo>
                  <a:lnTo>
                    <a:pt x="14461" y="12027"/>
                  </a:lnTo>
                  <a:cubicBezTo>
                    <a:pt x="14535" y="12027"/>
                    <a:pt x="14756" y="12027"/>
                    <a:pt x="14866" y="11847"/>
                  </a:cubicBezTo>
                  <a:cubicBezTo>
                    <a:pt x="15087" y="11847"/>
                    <a:pt x="15160" y="11668"/>
                    <a:pt x="15381" y="11668"/>
                  </a:cubicBezTo>
                  <a:cubicBezTo>
                    <a:pt x="15602" y="11668"/>
                    <a:pt x="15676" y="11488"/>
                    <a:pt x="15786" y="11488"/>
                  </a:cubicBezTo>
                  <a:cubicBezTo>
                    <a:pt x="15896" y="11488"/>
                    <a:pt x="16117" y="11309"/>
                    <a:pt x="16228" y="11309"/>
                  </a:cubicBezTo>
                  <a:cubicBezTo>
                    <a:pt x="16412" y="11129"/>
                    <a:pt x="16522" y="11129"/>
                    <a:pt x="16743" y="11129"/>
                  </a:cubicBezTo>
                  <a:cubicBezTo>
                    <a:pt x="16816" y="11129"/>
                    <a:pt x="16927" y="11009"/>
                    <a:pt x="17037" y="11009"/>
                  </a:cubicBezTo>
                  <a:cubicBezTo>
                    <a:pt x="17442" y="10830"/>
                    <a:pt x="17773" y="10650"/>
                    <a:pt x="18067" y="10291"/>
                  </a:cubicBezTo>
                  <a:cubicBezTo>
                    <a:pt x="18178" y="10112"/>
                    <a:pt x="18399" y="10112"/>
                    <a:pt x="18509" y="9992"/>
                  </a:cubicBezTo>
                  <a:cubicBezTo>
                    <a:pt x="18583" y="9992"/>
                    <a:pt x="18583" y="9813"/>
                    <a:pt x="18693" y="9813"/>
                  </a:cubicBezTo>
                  <a:cubicBezTo>
                    <a:pt x="18914" y="9633"/>
                    <a:pt x="19135" y="9274"/>
                    <a:pt x="19319" y="9155"/>
                  </a:cubicBezTo>
                  <a:cubicBezTo>
                    <a:pt x="19650" y="8796"/>
                    <a:pt x="19834" y="8437"/>
                    <a:pt x="20055" y="8137"/>
                  </a:cubicBezTo>
                  <a:lnTo>
                    <a:pt x="20165" y="7958"/>
                  </a:lnTo>
                  <a:cubicBezTo>
                    <a:pt x="20349" y="7599"/>
                    <a:pt x="20459" y="7300"/>
                    <a:pt x="20680" y="6941"/>
                  </a:cubicBezTo>
                  <a:cubicBezTo>
                    <a:pt x="20680" y="6941"/>
                    <a:pt x="20680" y="6761"/>
                    <a:pt x="20790" y="6761"/>
                  </a:cubicBezTo>
                  <a:cubicBezTo>
                    <a:pt x="20901" y="6402"/>
                    <a:pt x="20974" y="6103"/>
                    <a:pt x="21085" y="5744"/>
                  </a:cubicBezTo>
                  <a:lnTo>
                    <a:pt x="21085" y="5565"/>
                  </a:lnTo>
                  <a:cubicBezTo>
                    <a:pt x="21490" y="4727"/>
                    <a:pt x="21490" y="4248"/>
                    <a:pt x="21600" y="3889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7" name="Shape 1468"/>
            <p:cNvSpPr/>
            <p:nvPr/>
          </p:nvSpPr>
          <p:spPr>
            <a:xfrm>
              <a:off x="1346243" y="606526"/>
              <a:ext cx="255671" cy="2023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3457"/>
                  </a:moveTo>
                  <a:lnTo>
                    <a:pt x="21600" y="21600"/>
                  </a:lnTo>
                  <a:lnTo>
                    <a:pt x="0" y="8143"/>
                  </a:lnTo>
                  <a:lnTo>
                    <a:pt x="0" y="0"/>
                  </a:lnTo>
                  <a:lnTo>
                    <a:pt x="21600" y="13457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8" name="Shape 1469"/>
            <p:cNvSpPr/>
            <p:nvPr/>
          </p:nvSpPr>
          <p:spPr>
            <a:xfrm>
              <a:off x="1602376" y="573740"/>
              <a:ext cx="218788" cy="2351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6972"/>
                  </a:lnTo>
                  <a:lnTo>
                    <a:pt x="0" y="21600"/>
                  </a:lnTo>
                  <a:lnTo>
                    <a:pt x="0" y="14585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9" name="Shape 1470"/>
            <p:cNvSpPr/>
            <p:nvPr/>
          </p:nvSpPr>
          <p:spPr>
            <a:xfrm>
              <a:off x="952820" y="0"/>
              <a:ext cx="1220785" cy="7331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9355"/>
                  </a:moveTo>
                  <a:lnTo>
                    <a:pt x="17730" y="14026"/>
                  </a:lnTo>
                  <a:lnTo>
                    <a:pt x="17057" y="13478"/>
                  </a:lnTo>
                  <a:cubicBezTo>
                    <a:pt x="17262" y="12752"/>
                    <a:pt x="17196" y="12094"/>
                    <a:pt x="16777" y="11738"/>
                  </a:cubicBezTo>
                  <a:cubicBezTo>
                    <a:pt x="16054" y="11163"/>
                    <a:pt x="14625" y="11738"/>
                    <a:pt x="13556" y="13026"/>
                  </a:cubicBezTo>
                  <a:cubicBezTo>
                    <a:pt x="12488" y="14341"/>
                    <a:pt x="12209" y="15847"/>
                    <a:pt x="12932" y="16423"/>
                  </a:cubicBezTo>
                  <a:cubicBezTo>
                    <a:pt x="13343" y="16765"/>
                    <a:pt x="14017" y="16697"/>
                    <a:pt x="14690" y="16340"/>
                  </a:cubicBezTo>
                  <a:lnTo>
                    <a:pt x="15364" y="16888"/>
                  </a:lnTo>
                  <a:lnTo>
                    <a:pt x="11494" y="21600"/>
                  </a:lnTo>
                  <a:lnTo>
                    <a:pt x="6943" y="17888"/>
                  </a:lnTo>
                  <a:lnTo>
                    <a:pt x="6285" y="18696"/>
                  </a:lnTo>
                  <a:cubicBezTo>
                    <a:pt x="6515" y="19354"/>
                    <a:pt x="6441" y="20052"/>
                    <a:pt x="6031" y="20559"/>
                  </a:cubicBezTo>
                  <a:cubicBezTo>
                    <a:pt x="5308" y="21408"/>
                    <a:pt x="3862" y="21408"/>
                    <a:pt x="2777" y="20518"/>
                  </a:cubicBezTo>
                  <a:cubicBezTo>
                    <a:pt x="1684" y="19628"/>
                    <a:pt x="1389" y="18244"/>
                    <a:pt x="2112" y="17354"/>
                  </a:cubicBezTo>
                  <a:cubicBezTo>
                    <a:pt x="2522" y="16847"/>
                    <a:pt x="3171" y="16655"/>
                    <a:pt x="3870" y="16738"/>
                  </a:cubicBezTo>
                  <a:lnTo>
                    <a:pt x="4543" y="15916"/>
                  </a:lnTo>
                  <a:lnTo>
                    <a:pt x="0" y="12204"/>
                  </a:lnTo>
                  <a:lnTo>
                    <a:pt x="3870" y="7533"/>
                  </a:lnTo>
                  <a:lnTo>
                    <a:pt x="4543" y="8067"/>
                  </a:lnTo>
                  <a:cubicBezTo>
                    <a:pt x="4330" y="8807"/>
                    <a:pt x="4404" y="9465"/>
                    <a:pt x="4823" y="9807"/>
                  </a:cubicBezTo>
                  <a:cubicBezTo>
                    <a:pt x="5538" y="10396"/>
                    <a:pt x="6967" y="9848"/>
                    <a:pt x="8035" y="8533"/>
                  </a:cubicBezTo>
                  <a:cubicBezTo>
                    <a:pt x="9103" y="7218"/>
                    <a:pt x="9383" y="5712"/>
                    <a:pt x="8660" y="5136"/>
                  </a:cubicBezTo>
                  <a:cubicBezTo>
                    <a:pt x="8241" y="4794"/>
                    <a:pt x="7575" y="4862"/>
                    <a:pt x="6901" y="5219"/>
                  </a:cubicBezTo>
                  <a:lnTo>
                    <a:pt x="6236" y="4671"/>
                  </a:lnTo>
                  <a:lnTo>
                    <a:pt x="10098" y="0"/>
                  </a:lnTo>
                  <a:lnTo>
                    <a:pt x="14641" y="3698"/>
                  </a:lnTo>
                  <a:lnTo>
                    <a:pt x="15315" y="2890"/>
                  </a:lnTo>
                  <a:cubicBezTo>
                    <a:pt x="15085" y="2233"/>
                    <a:pt x="15150" y="1534"/>
                    <a:pt x="15569" y="1041"/>
                  </a:cubicBezTo>
                  <a:cubicBezTo>
                    <a:pt x="16292" y="192"/>
                    <a:pt x="17730" y="192"/>
                    <a:pt x="18815" y="1082"/>
                  </a:cubicBezTo>
                  <a:cubicBezTo>
                    <a:pt x="19907" y="1972"/>
                    <a:pt x="20211" y="3356"/>
                    <a:pt x="19488" y="4246"/>
                  </a:cubicBezTo>
                  <a:cubicBezTo>
                    <a:pt x="19069" y="4753"/>
                    <a:pt x="18420" y="4945"/>
                    <a:pt x="17730" y="4862"/>
                  </a:cubicBezTo>
                  <a:lnTo>
                    <a:pt x="17057" y="5671"/>
                  </a:lnTo>
                  <a:lnTo>
                    <a:pt x="21600" y="9355"/>
                  </a:lnTo>
                </a:path>
              </a:pathLst>
            </a:custGeom>
            <a:solidFill>
              <a:srgbClr val="EAFFE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0" name="Shape 1471"/>
            <p:cNvSpPr/>
            <p:nvPr/>
          </p:nvSpPr>
          <p:spPr>
            <a:xfrm>
              <a:off x="1791232" y="778303"/>
              <a:ext cx="346850" cy="2008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81" h="19646" extrusionOk="0">
                  <a:moveTo>
                    <a:pt x="2849" y="16759"/>
                  </a:moveTo>
                  <a:cubicBezTo>
                    <a:pt x="-949" y="12885"/>
                    <a:pt x="-949" y="6688"/>
                    <a:pt x="2849" y="2905"/>
                  </a:cubicBezTo>
                  <a:cubicBezTo>
                    <a:pt x="6726" y="-968"/>
                    <a:pt x="12897" y="-968"/>
                    <a:pt x="16774" y="2905"/>
                  </a:cubicBezTo>
                  <a:cubicBezTo>
                    <a:pt x="20651" y="6733"/>
                    <a:pt x="20651" y="12931"/>
                    <a:pt x="16774" y="16759"/>
                  </a:cubicBezTo>
                  <a:cubicBezTo>
                    <a:pt x="12897" y="20632"/>
                    <a:pt x="6726" y="20586"/>
                    <a:pt x="2849" y="16759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1" name="Shape 1472"/>
            <p:cNvSpPr/>
            <p:nvPr/>
          </p:nvSpPr>
          <p:spPr>
            <a:xfrm>
              <a:off x="1844191" y="820483"/>
              <a:ext cx="99532" cy="446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882" h="17564" extrusionOk="0">
                  <a:moveTo>
                    <a:pt x="6902" y="1562"/>
                  </a:moveTo>
                  <a:cubicBezTo>
                    <a:pt x="9520" y="2661"/>
                    <a:pt x="14850" y="-3563"/>
                    <a:pt x="19058" y="3210"/>
                  </a:cubicBezTo>
                  <a:cubicBezTo>
                    <a:pt x="20367" y="6139"/>
                    <a:pt x="20367" y="16939"/>
                    <a:pt x="17188" y="17488"/>
                  </a:cubicBezTo>
                  <a:cubicBezTo>
                    <a:pt x="14009" y="18037"/>
                    <a:pt x="13728" y="15474"/>
                    <a:pt x="11390" y="13827"/>
                  </a:cubicBezTo>
                  <a:cubicBezTo>
                    <a:pt x="9053" y="12912"/>
                    <a:pt x="1853" y="11813"/>
                    <a:pt x="263" y="8701"/>
                  </a:cubicBezTo>
                  <a:cubicBezTo>
                    <a:pt x="-1233" y="5590"/>
                    <a:pt x="4003" y="647"/>
                    <a:pt x="6902" y="1562"/>
                  </a:cubicBezTo>
                </a:path>
              </a:pathLst>
            </a:custGeom>
            <a:solidFill>
              <a:srgbClr val="47716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2" name="Shape 1473"/>
            <p:cNvSpPr/>
            <p:nvPr/>
          </p:nvSpPr>
          <p:spPr>
            <a:xfrm>
              <a:off x="1836955" y="647507"/>
              <a:ext cx="136138" cy="1886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193" h="20545" extrusionOk="0">
                  <a:moveTo>
                    <a:pt x="16801" y="7368"/>
                  </a:moveTo>
                  <a:cubicBezTo>
                    <a:pt x="12718" y="7267"/>
                    <a:pt x="9557" y="7671"/>
                    <a:pt x="10282" y="9538"/>
                  </a:cubicBezTo>
                  <a:cubicBezTo>
                    <a:pt x="11006" y="11355"/>
                    <a:pt x="14167" y="19935"/>
                    <a:pt x="14167" y="19935"/>
                  </a:cubicBezTo>
                  <a:cubicBezTo>
                    <a:pt x="11928" y="21600"/>
                    <a:pt x="7121" y="19329"/>
                    <a:pt x="7121" y="19329"/>
                  </a:cubicBezTo>
                  <a:cubicBezTo>
                    <a:pt x="7121" y="19329"/>
                    <a:pt x="2313" y="10800"/>
                    <a:pt x="799" y="8226"/>
                  </a:cubicBezTo>
                  <a:cubicBezTo>
                    <a:pt x="-716" y="5703"/>
                    <a:pt x="74" y="3684"/>
                    <a:pt x="1918" y="2826"/>
                  </a:cubicBezTo>
                  <a:cubicBezTo>
                    <a:pt x="3762" y="1968"/>
                    <a:pt x="14167" y="0"/>
                    <a:pt x="14167" y="0"/>
                  </a:cubicBezTo>
                  <a:cubicBezTo>
                    <a:pt x="19567" y="0"/>
                    <a:pt x="20884" y="7520"/>
                    <a:pt x="16801" y="7368"/>
                  </a:cubicBezTo>
                </a:path>
              </a:pathLst>
            </a:custGeom>
            <a:solidFill>
              <a:srgbClr val="4773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3" name="Shape 1474"/>
            <p:cNvSpPr/>
            <p:nvPr/>
          </p:nvSpPr>
          <p:spPr>
            <a:xfrm>
              <a:off x="2020518" y="870856"/>
              <a:ext cx="78982" cy="949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595" h="20530" extrusionOk="0">
                  <a:moveTo>
                    <a:pt x="4004" y="6229"/>
                  </a:moveTo>
                  <a:cubicBezTo>
                    <a:pt x="5868" y="2813"/>
                    <a:pt x="13653" y="0"/>
                    <a:pt x="13653" y="0"/>
                  </a:cubicBezTo>
                  <a:cubicBezTo>
                    <a:pt x="13653" y="0"/>
                    <a:pt x="20122" y="2813"/>
                    <a:pt x="18258" y="6028"/>
                  </a:cubicBezTo>
                  <a:cubicBezTo>
                    <a:pt x="16394" y="9343"/>
                    <a:pt x="14311" y="8841"/>
                    <a:pt x="13653" y="11654"/>
                  </a:cubicBezTo>
                  <a:cubicBezTo>
                    <a:pt x="12995" y="14467"/>
                    <a:pt x="9048" y="21600"/>
                    <a:pt x="3785" y="20394"/>
                  </a:cubicBezTo>
                  <a:cubicBezTo>
                    <a:pt x="-1478" y="19289"/>
                    <a:pt x="-601" y="15572"/>
                    <a:pt x="2469" y="15371"/>
                  </a:cubicBezTo>
                  <a:cubicBezTo>
                    <a:pt x="5649" y="14768"/>
                    <a:pt x="2250" y="9946"/>
                    <a:pt x="4004" y="6229"/>
                  </a:cubicBezTo>
                </a:path>
              </a:pathLst>
            </a:custGeom>
            <a:solidFill>
              <a:srgbClr val="47716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4" name="Shape 1475"/>
            <p:cNvSpPr/>
            <p:nvPr/>
          </p:nvSpPr>
          <p:spPr>
            <a:xfrm>
              <a:off x="1887198" y="452025"/>
              <a:ext cx="48723" cy="433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005" extrusionOk="0">
                  <a:moveTo>
                    <a:pt x="7873" y="80"/>
                  </a:moveTo>
                  <a:cubicBezTo>
                    <a:pt x="8479" y="-595"/>
                    <a:pt x="19379" y="3230"/>
                    <a:pt x="19379" y="3230"/>
                  </a:cubicBezTo>
                  <a:lnTo>
                    <a:pt x="21600" y="16505"/>
                  </a:lnTo>
                  <a:lnTo>
                    <a:pt x="3432" y="21005"/>
                  </a:lnTo>
                  <a:lnTo>
                    <a:pt x="0" y="7730"/>
                  </a:lnTo>
                  <a:cubicBezTo>
                    <a:pt x="606" y="7055"/>
                    <a:pt x="7873" y="80"/>
                    <a:pt x="7873" y="80"/>
                  </a:cubicBezTo>
                </a:path>
              </a:pathLst>
            </a:custGeom>
            <a:solidFill>
              <a:srgbClr val="FFE98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5" name="Shape 1476"/>
            <p:cNvSpPr/>
            <p:nvPr/>
          </p:nvSpPr>
          <p:spPr>
            <a:xfrm>
              <a:off x="1872855" y="374965"/>
              <a:ext cx="82977" cy="1020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54" h="21178" extrusionOk="0">
                  <a:moveTo>
                    <a:pt x="4126" y="7128"/>
                  </a:moveTo>
                  <a:cubicBezTo>
                    <a:pt x="4490" y="6555"/>
                    <a:pt x="3762" y="6268"/>
                    <a:pt x="2427" y="6555"/>
                  </a:cubicBezTo>
                  <a:cubicBezTo>
                    <a:pt x="1335" y="6268"/>
                    <a:pt x="728" y="5790"/>
                    <a:pt x="0" y="4643"/>
                  </a:cubicBezTo>
                  <a:cubicBezTo>
                    <a:pt x="971" y="3114"/>
                    <a:pt x="2063" y="1967"/>
                    <a:pt x="3034" y="1490"/>
                  </a:cubicBezTo>
                  <a:cubicBezTo>
                    <a:pt x="6189" y="151"/>
                    <a:pt x="9222" y="-422"/>
                    <a:pt x="12620" y="343"/>
                  </a:cubicBezTo>
                  <a:cubicBezTo>
                    <a:pt x="16139" y="916"/>
                    <a:pt x="18445" y="2254"/>
                    <a:pt x="19901" y="4452"/>
                  </a:cubicBezTo>
                  <a:cubicBezTo>
                    <a:pt x="20144" y="4930"/>
                    <a:pt x="20144" y="5504"/>
                    <a:pt x="20508" y="6077"/>
                  </a:cubicBezTo>
                  <a:cubicBezTo>
                    <a:pt x="21600" y="7702"/>
                    <a:pt x="21600" y="9518"/>
                    <a:pt x="21236" y="11429"/>
                  </a:cubicBezTo>
                  <a:cubicBezTo>
                    <a:pt x="20872" y="13819"/>
                    <a:pt x="20265" y="15443"/>
                    <a:pt x="19537" y="16590"/>
                  </a:cubicBezTo>
                  <a:cubicBezTo>
                    <a:pt x="18930" y="17642"/>
                    <a:pt x="18445" y="18215"/>
                    <a:pt x="18081" y="18406"/>
                  </a:cubicBezTo>
                  <a:cubicBezTo>
                    <a:pt x="17474" y="19266"/>
                    <a:pt x="17110" y="19840"/>
                    <a:pt x="16746" y="20031"/>
                  </a:cubicBezTo>
                  <a:cubicBezTo>
                    <a:pt x="16382" y="20031"/>
                    <a:pt x="15411" y="20318"/>
                    <a:pt x="14076" y="20605"/>
                  </a:cubicBezTo>
                  <a:cubicBezTo>
                    <a:pt x="12620" y="20891"/>
                    <a:pt x="11649" y="21178"/>
                    <a:pt x="10921" y="21178"/>
                  </a:cubicBezTo>
                  <a:cubicBezTo>
                    <a:pt x="10921" y="21178"/>
                    <a:pt x="10557" y="20891"/>
                    <a:pt x="9222" y="20891"/>
                  </a:cubicBezTo>
                  <a:cubicBezTo>
                    <a:pt x="7888" y="20891"/>
                    <a:pt x="6796" y="20031"/>
                    <a:pt x="6553" y="18406"/>
                  </a:cubicBezTo>
                  <a:lnTo>
                    <a:pt x="5461" y="16017"/>
                  </a:lnTo>
                  <a:cubicBezTo>
                    <a:pt x="5825" y="15443"/>
                    <a:pt x="6310" y="14583"/>
                    <a:pt x="6553" y="13819"/>
                  </a:cubicBezTo>
                  <a:cubicBezTo>
                    <a:pt x="6917" y="12959"/>
                    <a:pt x="6796" y="12481"/>
                    <a:pt x="6796" y="12003"/>
                  </a:cubicBezTo>
                  <a:cubicBezTo>
                    <a:pt x="6796" y="11429"/>
                    <a:pt x="6553" y="10856"/>
                    <a:pt x="5461" y="10378"/>
                  </a:cubicBezTo>
                  <a:cubicBezTo>
                    <a:pt x="4733" y="9805"/>
                    <a:pt x="4126" y="10091"/>
                    <a:pt x="3398" y="11143"/>
                  </a:cubicBezTo>
                  <a:cubicBezTo>
                    <a:pt x="3398" y="12290"/>
                    <a:pt x="3034" y="13054"/>
                    <a:pt x="3034" y="13628"/>
                  </a:cubicBezTo>
                  <a:lnTo>
                    <a:pt x="1699" y="13628"/>
                  </a:lnTo>
                  <a:cubicBezTo>
                    <a:pt x="1699" y="11716"/>
                    <a:pt x="1335" y="10665"/>
                    <a:pt x="1335" y="10091"/>
                  </a:cubicBezTo>
                  <a:cubicBezTo>
                    <a:pt x="3034" y="8466"/>
                    <a:pt x="3762" y="7702"/>
                    <a:pt x="4126" y="7128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6" name="Shape 1477"/>
            <p:cNvSpPr/>
            <p:nvPr/>
          </p:nvSpPr>
          <p:spPr>
            <a:xfrm>
              <a:off x="1869340" y="397520"/>
              <a:ext cx="29702" cy="855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84" h="21600" extrusionOk="0">
                  <a:moveTo>
                    <a:pt x="3130" y="15580"/>
                  </a:moveTo>
                  <a:cubicBezTo>
                    <a:pt x="229" y="13928"/>
                    <a:pt x="229" y="12275"/>
                    <a:pt x="229" y="9679"/>
                  </a:cubicBezTo>
                  <a:cubicBezTo>
                    <a:pt x="1196" y="7318"/>
                    <a:pt x="1196" y="5902"/>
                    <a:pt x="229" y="5311"/>
                  </a:cubicBezTo>
                  <a:cubicBezTo>
                    <a:pt x="-416" y="4013"/>
                    <a:pt x="229" y="2007"/>
                    <a:pt x="3130" y="0"/>
                  </a:cubicBezTo>
                  <a:cubicBezTo>
                    <a:pt x="4097" y="1298"/>
                    <a:pt x="6677" y="2243"/>
                    <a:pt x="9578" y="2243"/>
                  </a:cubicBezTo>
                  <a:cubicBezTo>
                    <a:pt x="13124" y="2243"/>
                    <a:pt x="14091" y="2597"/>
                    <a:pt x="14091" y="3305"/>
                  </a:cubicBezTo>
                  <a:cubicBezTo>
                    <a:pt x="13124" y="4013"/>
                    <a:pt x="11190" y="5311"/>
                    <a:pt x="6677" y="6964"/>
                  </a:cubicBezTo>
                  <a:cubicBezTo>
                    <a:pt x="6677" y="7672"/>
                    <a:pt x="6677" y="8970"/>
                    <a:pt x="7644" y="11331"/>
                  </a:cubicBezTo>
                  <a:lnTo>
                    <a:pt x="11190" y="11331"/>
                  </a:lnTo>
                  <a:cubicBezTo>
                    <a:pt x="11190" y="10623"/>
                    <a:pt x="12157" y="9679"/>
                    <a:pt x="12157" y="8262"/>
                  </a:cubicBezTo>
                  <a:cubicBezTo>
                    <a:pt x="13124" y="6964"/>
                    <a:pt x="15703" y="6610"/>
                    <a:pt x="17638" y="7318"/>
                  </a:cubicBezTo>
                  <a:cubicBezTo>
                    <a:pt x="19572" y="7908"/>
                    <a:pt x="21184" y="8616"/>
                    <a:pt x="21184" y="9325"/>
                  </a:cubicBezTo>
                  <a:cubicBezTo>
                    <a:pt x="21184" y="9679"/>
                    <a:pt x="21184" y="10623"/>
                    <a:pt x="20539" y="11567"/>
                  </a:cubicBezTo>
                  <a:cubicBezTo>
                    <a:pt x="20539" y="12630"/>
                    <a:pt x="19572" y="13574"/>
                    <a:pt x="17638" y="14282"/>
                  </a:cubicBezTo>
                  <a:lnTo>
                    <a:pt x="20539" y="17233"/>
                  </a:lnTo>
                  <a:cubicBezTo>
                    <a:pt x="19572" y="17587"/>
                    <a:pt x="18605" y="18295"/>
                    <a:pt x="17638" y="19593"/>
                  </a:cubicBezTo>
                  <a:cubicBezTo>
                    <a:pt x="17638" y="19948"/>
                    <a:pt x="16671" y="20302"/>
                    <a:pt x="15703" y="20892"/>
                  </a:cubicBezTo>
                  <a:lnTo>
                    <a:pt x="15059" y="21600"/>
                  </a:lnTo>
                  <a:lnTo>
                    <a:pt x="13124" y="21600"/>
                  </a:lnTo>
                  <a:cubicBezTo>
                    <a:pt x="11190" y="21600"/>
                    <a:pt x="9578" y="21600"/>
                    <a:pt x="7644" y="20892"/>
                  </a:cubicBezTo>
                  <a:cubicBezTo>
                    <a:pt x="5709" y="20302"/>
                    <a:pt x="4097" y="18649"/>
                    <a:pt x="3130" y="1558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7" name="Shape 1478"/>
            <p:cNvSpPr/>
            <p:nvPr/>
          </p:nvSpPr>
          <p:spPr>
            <a:xfrm>
              <a:off x="1934327" y="651605"/>
              <a:ext cx="147069" cy="2495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2919" y="1252"/>
                  </a:lnTo>
                  <a:cubicBezTo>
                    <a:pt x="12919" y="1252"/>
                    <a:pt x="12714" y="9326"/>
                    <a:pt x="12919" y="11830"/>
                  </a:cubicBezTo>
                  <a:lnTo>
                    <a:pt x="21600" y="19460"/>
                  </a:lnTo>
                  <a:cubicBezTo>
                    <a:pt x="21600" y="19460"/>
                    <a:pt x="18114" y="21600"/>
                    <a:pt x="15380" y="21600"/>
                  </a:cubicBezTo>
                  <a:cubicBezTo>
                    <a:pt x="15380" y="21600"/>
                    <a:pt x="7109" y="16351"/>
                    <a:pt x="5947" y="14131"/>
                  </a:cubicBezTo>
                  <a:cubicBezTo>
                    <a:pt x="4580" y="11951"/>
                    <a:pt x="0" y="0"/>
                    <a:pt x="0" y="0"/>
                  </a:cubicBezTo>
                </a:path>
              </a:pathLst>
            </a:custGeom>
            <a:solidFill>
              <a:srgbClr val="52858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8" name="Shape 1479"/>
            <p:cNvSpPr/>
            <p:nvPr/>
          </p:nvSpPr>
          <p:spPr>
            <a:xfrm>
              <a:off x="1788767" y="400912"/>
              <a:ext cx="106166" cy="1334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32" h="21385" extrusionOk="0">
                  <a:moveTo>
                    <a:pt x="18921" y="21385"/>
                  </a:moveTo>
                  <a:cubicBezTo>
                    <a:pt x="18921" y="21385"/>
                    <a:pt x="13410" y="18861"/>
                    <a:pt x="10832" y="17228"/>
                  </a:cubicBezTo>
                  <a:cubicBezTo>
                    <a:pt x="8343" y="15521"/>
                    <a:pt x="3632" y="7133"/>
                    <a:pt x="3632" y="7133"/>
                  </a:cubicBezTo>
                  <a:cubicBezTo>
                    <a:pt x="-1168" y="4387"/>
                    <a:pt x="-812" y="230"/>
                    <a:pt x="2388" y="8"/>
                  </a:cubicBezTo>
                  <a:cubicBezTo>
                    <a:pt x="5676" y="-215"/>
                    <a:pt x="6832" y="4610"/>
                    <a:pt x="6832" y="4610"/>
                  </a:cubicBezTo>
                  <a:cubicBezTo>
                    <a:pt x="9410" y="7133"/>
                    <a:pt x="16432" y="14037"/>
                    <a:pt x="16432" y="14037"/>
                  </a:cubicBezTo>
                  <a:lnTo>
                    <a:pt x="20432" y="14705"/>
                  </a:lnTo>
                  <a:lnTo>
                    <a:pt x="18921" y="21385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9" name="Shape 1480"/>
            <p:cNvSpPr/>
            <p:nvPr/>
          </p:nvSpPr>
          <p:spPr>
            <a:xfrm>
              <a:off x="1872737" y="487679"/>
              <a:ext cx="90592" cy="656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809" h="16554" extrusionOk="0">
                  <a:moveTo>
                    <a:pt x="18643" y="12678"/>
                  </a:moveTo>
                  <a:cubicBezTo>
                    <a:pt x="16415" y="21600"/>
                    <a:pt x="1402" y="12326"/>
                    <a:pt x="1402" y="12326"/>
                  </a:cubicBezTo>
                  <a:cubicBezTo>
                    <a:pt x="1402" y="12326"/>
                    <a:pt x="-826" y="8687"/>
                    <a:pt x="336" y="4696"/>
                  </a:cubicBezTo>
                  <a:cubicBezTo>
                    <a:pt x="1111" y="1057"/>
                    <a:pt x="1692" y="0"/>
                    <a:pt x="1692" y="0"/>
                  </a:cubicBezTo>
                  <a:cubicBezTo>
                    <a:pt x="1692" y="0"/>
                    <a:pt x="20774" y="3639"/>
                    <a:pt x="18643" y="12678"/>
                  </a:cubicBezTo>
                </a:path>
              </a:pathLst>
            </a:custGeom>
            <a:solidFill>
              <a:srgbClr val="47686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0" name="Shape 1481"/>
            <p:cNvSpPr/>
            <p:nvPr/>
          </p:nvSpPr>
          <p:spPr>
            <a:xfrm>
              <a:off x="1874904" y="482162"/>
              <a:ext cx="151166" cy="1932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7909" extrusionOk="0">
                  <a:moveTo>
                    <a:pt x="15600" y="2804"/>
                  </a:moveTo>
                  <a:cubicBezTo>
                    <a:pt x="18800" y="5741"/>
                    <a:pt x="21600" y="17189"/>
                    <a:pt x="21600" y="17189"/>
                  </a:cubicBezTo>
                  <a:cubicBezTo>
                    <a:pt x="14467" y="19263"/>
                    <a:pt x="3933" y="16196"/>
                    <a:pt x="3933" y="16196"/>
                  </a:cubicBezTo>
                  <a:lnTo>
                    <a:pt x="0" y="3279"/>
                  </a:lnTo>
                  <a:cubicBezTo>
                    <a:pt x="3733" y="-2337"/>
                    <a:pt x="13133" y="471"/>
                    <a:pt x="15600" y="2804"/>
                  </a:cubicBezTo>
                </a:path>
              </a:pathLst>
            </a:custGeom>
            <a:solidFill>
              <a:srgbClr val="477A7D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1" name="Shape 1482"/>
            <p:cNvSpPr/>
            <p:nvPr/>
          </p:nvSpPr>
          <p:spPr>
            <a:xfrm>
              <a:off x="1711533" y="468366"/>
              <a:ext cx="154713" cy="926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44" h="20017" extrusionOk="0">
                  <a:moveTo>
                    <a:pt x="20444" y="20017"/>
                  </a:moveTo>
                  <a:cubicBezTo>
                    <a:pt x="20444" y="20017"/>
                    <a:pt x="15794" y="19815"/>
                    <a:pt x="13346" y="18907"/>
                  </a:cubicBezTo>
                  <a:cubicBezTo>
                    <a:pt x="11082" y="17796"/>
                    <a:pt x="4535" y="9217"/>
                    <a:pt x="4535" y="9217"/>
                  </a:cubicBezTo>
                  <a:cubicBezTo>
                    <a:pt x="374" y="8107"/>
                    <a:pt x="-1156" y="2353"/>
                    <a:pt x="924" y="436"/>
                  </a:cubicBezTo>
                  <a:cubicBezTo>
                    <a:pt x="3005" y="-1583"/>
                    <a:pt x="5758" y="4069"/>
                    <a:pt x="5758" y="4069"/>
                  </a:cubicBezTo>
                  <a:cubicBezTo>
                    <a:pt x="8328" y="6088"/>
                    <a:pt x="15794" y="11841"/>
                    <a:pt x="15794" y="11841"/>
                  </a:cubicBezTo>
                  <a:lnTo>
                    <a:pt x="18731" y="10327"/>
                  </a:lnTo>
                  <a:lnTo>
                    <a:pt x="20444" y="20017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2" name="Shape 1483"/>
            <p:cNvSpPr/>
            <p:nvPr/>
          </p:nvSpPr>
          <p:spPr>
            <a:xfrm>
              <a:off x="1847496" y="505717"/>
              <a:ext cx="92559" cy="600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004" h="16752" extrusionOk="0">
                  <a:moveTo>
                    <a:pt x="19930" y="6532"/>
                  </a:moveTo>
                  <a:cubicBezTo>
                    <a:pt x="21324" y="17138"/>
                    <a:pt x="2511" y="16750"/>
                    <a:pt x="2511" y="16750"/>
                  </a:cubicBezTo>
                  <a:cubicBezTo>
                    <a:pt x="2511" y="16750"/>
                    <a:pt x="819" y="12999"/>
                    <a:pt x="222" y="8343"/>
                  </a:cubicBezTo>
                  <a:cubicBezTo>
                    <a:pt x="-276" y="3945"/>
                    <a:pt x="222" y="1746"/>
                    <a:pt x="222" y="1746"/>
                  </a:cubicBezTo>
                  <a:cubicBezTo>
                    <a:pt x="222" y="1746"/>
                    <a:pt x="18537" y="-4462"/>
                    <a:pt x="19930" y="6532"/>
                  </a:cubicBezTo>
                </a:path>
              </a:pathLst>
            </a:custGeom>
            <a:solidFill>
              <a:srgbClr val="475F5A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sp>
        <p:nvSpPr>
          <p:cNvPr id="393" name="Shape 1488"/>
          <p:cNvSpPr/>
          <p:nvPr/>
        </p:nvSpPr>
        <p:spPr>
          <a:xfrm>
            <a:off x="5440796" y="2297783"/>
            <a:ext cx="2494766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400">
                <a:solidFill>
                  <a:srgbClr val="726658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1. Executive </a:t>
            </a:r>
            <a:r>
              <a:rPr lang="en-US" altLang="de-DE" dirty="0"/>
              <a:t>Summary</a:t>
            </a:r>
          </a:p>
        </p:txBody>
      </p:sp>
      <p:sp>
        <p:nvSpPr>
          <p:cNvPr id="394" name="Shape 1489"/>
          <p:cNvSpPr/>
          <p:nvPr/>
        </p:nvSpPr>
        <p:spPr>
          <a:xfrm>
            <a:off x="1351884" y="4779082"/>
            <a:ext cx="2043460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400">
                <a:solidFill>
                  <a:srgbClr val="726658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5. Marketing </a:t>
            </a:r>
            <a:r>
              <a:rPr lang="en-US" altLang="de-DE" dirty="0"/>
              <a:t>Plan</a:t>
            </a:r>
          </a:p>
        </p:txBody>
      </p:sp>
      <p:sp>
        <p:nvSpPr>
          <p:cNvPr id="395" name="Shape 1392"/>
          <p:cNvSpPr/>
          <p:nvPr/>
        </p:nvSpPr>
        <p:spPr>
          <a:xfrm>
            <a:off x="5877113" y="1779946"/>
            <a:ext cx="348337" cy="3497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19101"/>
                </a:lnTo>
                <a:cubicBezTo>
                  <a:pt x="21600" y="20532"/>
                  <a:pt x="20507" y="21600"/>
                  <a:pt x="19090" y="21600"/>
                </a:cubicBezTo>
                <a:lnTo>
                  <a:pt x="2510" y="21600"/>
                </a:lnTo>
                <a:cubicBezTo>
                  <a:pt x="1093" y="21600"/>
                  <a:pt x="0" y="20472"/>
                  <a:pt x="0" y="19101"/>
                </a:cubicBezTo>
                <a:lnTo>
                  <a:pt x="0" y="6146"/>
                </a:lnTo>
                <a:lnTo>
                  <a:pt x="3320" y="6146"/>
                </a:lnTo>
                <a:lnTo>
                  <a:pt x="3320" y="0"/>
                </a:lnTo>
                <a:lnTo>
                  <a:pt x="21600" y="0"/>
                </a:lnTo>
                <a:close/>
                <a:moveTo>
                  <a:pt x="4919" y="1592"/>
                </a:moveTo>
                <a:lnTo>
                  <a:pt x="4919" y="17691"/>
                </a:lnTo>
                <a:cubicBezTo>
                  <a:pt x="4919" y="18134"/>
                  <a:pt x="4555" y="18477"/>
                  <a:pt x="4109" y="18477"/>
                </a:cubicBezTo>
                <a:cubicBezTo>
                  <a:pt x="3644" y="18477"/>
                  <a:pt x="3320" y="18134"/>
                  <a:pt x="3320" y="17691"/>
                </a:cubicBezTo>
                <a:lnTo>
                  <a:pt x="3320" y="7737"/>
                </a:lnTo>
                <a:lnTo>
                  <a:pt x="1539" y="7737"/>
                </a:lnTo>
                <a:lnTo>
                  <a:pt x="1539" y="19101"/>
                </a:lnTo>
                <a:cubicBezTo>
                  <a:pt x="1539" y="19625"/>
                  <a:pt x="2004" y="20008"/>
                  <a:pt x="2510" y="20008"/>
                </a:cubicBezTo>
                <a:lnTo>
                  <a:pt x="19151" y="20008"/>
                </a:lnTo>
                <a:cubicBezTo>
                  <a:pt x="19657" y="20008"/>
                  <a:pt x="20061" y="19625"/>
                  <a:pt x="20061" y="19101"/>
                </a:cubicBezTo>
                <a:lnTo>
                  <a:pt x="20061" y="1592"/>
                </a:lnTo>
                <a:lnTo>
                  <a:pt x="4919" y="1592"/>
                </a:lnTo>
                <a:close/>
                <a:moveTo>
                  <a:pt x="18462" y="3123"/>
                </a:moveTo>
                <a:lnTo>
                  <a:pt x="6518" y="3123"/>
                </a:lnTo>
                <a:lnTo>
                  <a:pt x="6518" y="9269"/>
                </a:lnTo>
                <a:lnTo>
                  <a:pt x="18462" y="9269"/>
                </a:lnTo>
                <a:lnTo>
                  <a:pt x="18462" y="3123"/>
                </a:lnTo>
                <a:close/>
                <a:moveTo>
                  <a:pt x="11539" y="10981"/>
                </a:moveTo>
                <a:lnTo>
                  <a:pt x="6518" y="10981"/>
                </a:lnTo>
                <a:lnTo>
                  <a:pt x="6518" y="12513"/>
                </a:lnTo>
                <a:lnTo>
                  <a:pt x="11539" y="12513"/>
                </a:lnTo>
                <a:lnTo>
                  <a:pt x="11539" y="10981"/>
                </a:lnTo>
                <a:close/>
                <a:moveTo>
                  <a:pt x="13482" y="12513"/>
                </a:moveTo>
                <a:lnTo>
                  <a:pt x="18462" y="12513"/>
                </a:lnTo>
                <a:lnTo>
                  <a:pt x="18462" y="10981"/>
                </a:lnTo>
                <a:lnTo>
                  <a:pt x="13482" y="10981"/>
                </a:lnTo>
                <a:lnTo>
                  <a:pt x="13482" y="12513"/>
                </a:lnTo>
                <a:close/>
                <a:moveTo>
                  <a:pt x="11539" y="13923"/>
                </a:moveTo>
                <a:lnTo>
                  <a:pt x="6518" y="13923"/>
                </a:lnTo>
                <a:lnTo>
                  <a:pt x="6518" y="15475"/>
                </a:lnTo>
                <a:lnTo>
                  <a:pt x="11539" y="15475"/>
                </a:lnTo>
                <a:lnTo>
                  <a:pt x="11539" y="13923"/>
                </a:lnTo>
                <a:close/>
                <a:moveTo>
                  <a:pt x="13482" y="15475"/>
                </a:moveTo>
                <a:lnTo>
                  <a:pt x="18462" y="15475"/>
                </a:lnTo>
                <a:lnTo>
                  <a:pt x="18462" y="13923"/>
                </a:lnTo>
                <a:lnTo>
                  <a:pt x="13482" y="13923"/>
                </a:lnTo>
                <a:lnTo>
                  <a:pt x="13482" y="15475"/>
                </a:lnTo>
                <a:close/>
                <a:moveTo>
                  <a:pt x="13482" y="18537"/>
                </a:moveTo>
                <a:lnTo>
                  <a:pt x="18462" y="18537"/>
                </a:lnTo>
                <a:lnTo>
                  <a:pt x="18462" y="17006"/>
                </a:lnTo>
                <a:lnTo>
                  <a:pt x="13482" y="17006"/>
                </a:lnTo>
                <a:lnTo>
                  <a:pt x="13482" y="18537"/>
                </a:lnTo>
                <a:close/>
                <a:moveTo>
                  <a:pt x="11539" y="17006"/>
                </a:moveTo>
                <a:lnTo>
                  <a:pt x="6518" y="17006"/>
                </a:lnTo>
                <a:lnTo>
                  <a:pt x="6518" y="18537"/>
                </a:lnTo>
                <a:lnTo>
                  <a:pt x="11539" y="18537"/>
                </a:lnTo>
                <a:lnTo>
                  <a:pt x="11539" y="17006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96" name="Shape 2963"/>
          <p:cNvSpPr/>
          <p:nvPr/>
        </p:nvSpPr>
        <p:spPr>
          <a:xfrm>
            <a:off x="6298067" y="3151061"/>
            <a:ext cx="326048" cy="4102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881" y="14735"/>
                </a:moveTo>
                <a:cubicBezTo>
                  <a:pt x="13821" y="14394"/>
                  <a:pt x="13370" y="14214"/>
                  <a:pt x="13370" y="13819"/>
                </a:cubicBezTo>
                <a:cubicBezTo>
                  <a:pt x="13370" y="13478"/>
                  <a:pt x="13709" y="13190"/>
                  <a:pt x="14543" y="13190"/>
                </a:cubicBezTo>
                <a:cubicBezTo>
                  <a:pt x="15309" y="13190"/>
                  <a:pt x="15918" y="13370"/>
                  <a:pt x="16211" y="13478"/>
                </a:cubicBezTo>
                <a:lnTo>
                  <a:pt x="16617" y="12309"/>
                </a:lnTo>
                <a:cubicBezTo>
                  <a:pt x="16234" y="12184"/>
                  <a:pt x="15783" y="12076"/>
                  <a:pt x="15152" y="12040"/>
                </a:cubicBezTo>
                <a:lnTo>
                  <a:pt x="15152" y="11088"/>
                </a:lnTo>
                <a:lnTo>
                  <a:pt x="13077" y="11088"/>
                </a:lnTo>
                <a:lnTo>
                  <a:pt x="13077" y="12184"/>
                </a:lnTo>
                <a:cubicBezTo>
                  <a:pt x="12018" y="12471"/>
                  <a:pt x="11409" y="13136"/>
                  <a:pt x="11409" y="13963"/>
                </a:cubicBezTo>
                <a:cubicBezTo>
                  <a:pt x="11409" y="14879"/>
                  <a:pt x="12288" y="15490"/>
                  <a:pt x="13663" y="15886"/>
                </a:cubicBezTo>
                <a:cubicBezTo>
                  <a:pt x="14633" y="16155"/>
                  <a:pt x="15016" y="16389"/>
                  <a:pt x="15016" y="16784"/>
                </a:cubicBezTo>
                <a:cubicBezTo>
                  <a:pt x="15016" y="17215"/>
                  <a:pt x="14565" y="17485"/>
                  <a:pt x="13754" y="17485"/>
                </a:cubicBezTo>
                <a:cubicBezTo>
                  <a:pt x="12965" y="17485"/>
                  <a:pt x="12198" y="17269"/>
                  <a:pt x="11702" y="17090"/>
                </a:cubicBezTo>
                <a:lnTo>
                  <a:pt x="11364" y="18294"/>
                </a:lnTo>
                <a:cubicBezTo>
                  <a:pt x="11702" y="18473"/>
                  <a:pt x="12401" y="18599"/>
                  <a:pt x="13100" y="18671"/>
                </a:cubicBezTo>
                <a:lnTo>
                  <a:pt x="13100" y="19587"/>
                </a:lnTo>
                <a:lnTo>
                  <a:pt x="15174" y="19587"/>
                </a:lnTo>
                <a:lnTo>
                  <a:pt x="15174" y="18509"/>
                </a:lnTo>
                <a:cubicBezTo>
                  <a:pt x="16347" y="18168"/>
                  <a:pt x="16910" y="17503"/>
                  <a:pt x="16910" y="16676"/>
                </a:cubicBezTo>
                <a:cubicBezTo>
                  <a:pt x="16978" y="15706"/>
                  <a:pt x="16301" y="15149"/>
                  <a:pt x="14881" y="14735"/>
                </a:cubicBezTo>
                <a:close/>
                <a:moveTo>
                  <a:pt x="18646" y="5984"/>
                </a:moveTo>
                <a:lnTo>
                  <a:pt x="18646" y="7188"/>
                </a:lnTo>
                <a:lnTo>
                  <a:pt x="9605" y="7188"/>
                </a:lnTo>
                <a:lnTo>
                  <a:pt x="9605" y="5984"/>
                </a:lnTo>
                <a:lnTo>
                  <a:pt x="18646" y="5984"/>
                </a:lnTo>
                <a:close/>
                <a:moveTo>
                  <a:pt x="18646" y="3576"/>
                </a:moveTo>
                <a:lnTo>
                  <a:pt x="18646" y="4798"/>
                </a:lnTo>
                <a:lnTo>
                  <a:pt x="9605" y="4798"/>
                </a:lnTo>
                <a:lnTo>
                  <a:pt x="9605" y="3576"/>
                </a:lnTo>
                <a:lnTo>
                  <a:pt x="18646" y="3576"/>
                </a:lnTo>
                <a:close/>
                <a:moveTo>
                  <a:pt x="21600" y="3235"/>
                </a:moveTo>
                <a:cubicBezTo>
                  <a:pt x="21555" y="1509"/>
                  <a:pt x="19841" y="144"/>
                  <a:pt x="17767" y="36"/>
                </a:cubicBezTo>
                <a:cubicBezTo>
                  <a:pt x="17699" y="36"/>
                  <a:pt x="17587" y="18"/>
                  <a:pt x="17519" y="18"/>
                </a:cubicBezTo>
                <a:cubicBezTo>
                  <a:pt x="17519" y="18"/>
                  <a:pt x="4149" y="0"/>
                  <a:pt x="4104" y="0"/>
                </a:cubicBezTo>
                <a:cubicBezTo>
                  <a:pt x="3224" y="0"/>
                  <a:pt x="2435" y="180"/>
                  <a:pt x="1781" y="557"/>
                </a:cubicBezTo>
                <a:cubicBezTo>
                  <a:pt x="1240" y="863"/>
                  <a:pt x="767" y="1276"/>
                  <a:pt x="451" y="1761"/>
                </a:cubicBezTo>
                <a:cubicBezTo>
                  <a:pt x="158" y="2192"/>
                  <a:pt x="0" y="2713"/>
                  <a:pt x="0" y="3253"/>
                </a:cubicBezTo>
                <a:lnTo>
                  <a:pt x="0" y="3342"/>
                </a:lnTo>
                <a:cubicBezTo>
                  <a:pt x="0" y="5139"/>
                  <a:pt x="1804" y="6613"/>
                  <a:pt x="4104" y="6613"/>
                </a:cubicBezTo>
                <a:cubicBezTo>
                  <a:pt x="5073" y="6613"/>
                  <a:pt x="5975" y="6325"/>
                  <a:pt x="6674" y="5858"/>
                </a:cubicBezTo>
                <a:lnTo>
                  <a:pt x="6674" y="21600"/>
                </a:lnTo>
                <a:lnTo>
                  <a:pt x="21600" y="21600"/>
                </a:lnTo>
                <a:lnTo>
                  <a:pt x="21600" y="3235"/>
                </a:lnTo>
                <a:close/>
                <a:moveTo>
                  <a:pt x="20112" y="3576"/>
                </a:moveTo>
                <a:lnTo>
                  <a:pt x="20112" y="20378"/>
                </a:lnTo>
                <a:lnTo>
                  <a:pt x="8162" y="20378"/>
                </a:lnTo>
                <a:cubicBezTo>
                  <a:pt x="8162" y="20378"/>
                  <a:pt x="8185" y="3342"/>
                  <a:pt x="8185" y="3253"/>
                </a:cubicBezTo>
                <a:cubicBezTo>
                  <a:pt x="8185" y="2498"/>
                  <a:pt x="7824" y="1761"/>
                  <a:pt x="7238" y="1204"/>
                </a:cubicBezTo>
                <a:lnTo>
                  <a:pt x="17564" y="1204"/>
                </a:lnTo>
                <a:cubicBezTo>
                  <a:pt x="19007" y="1420"/>
                  <a:pt x="20089" y="2408"/>
                  <a:pt x="20112" y="3576"/>
                </a:cubicBezTo>
                <a:close/>
                <a:moveTo>
                  <a:pt x="18646" y="8374"/>
                </a:moveTo>
                <a:lnTo>
                  <a:pt x="18646" y="9596"/>
                </a:lnTo>
                <a:lnTo>
                  <a:pt x="9605" y="9596"/>
                </a:lnTo>
                <a:lnTo>
                  <a:pt x="9605" y="8374"/>
                </a:lnTo>
                <a:lnTo>
                  <a:pt x="18646" y="8374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pSp>
        <p:nvGrpSpPr>
          <p:cNvPr id="397" name="bcgIcons_BarChartAnalysis">
            <a:extLst>
              <a:ext uri="{FF2B5EF4-FFF2-40B4-BE49-F238E27FC236}">
                <a16:creationId xmlns:a16="http://schemas.microsoft.com/office/drawing/2014/main" id="{32B50B14-3FFD-46C4-A9BB-B1DAD5BF33D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99180" y="4252467"/>
            <a:ext cx="453154" cy="491372"/>
            <a:chOff x="1682" y="0"/>
            <a:chExt cx="4316" cy="4320"/>
          </a:xfrm>
        </p:grpSpPr>
        <p:sp>
          <p:nvSpPr>
            <p:cNvPr id="398" name="AutoShape 13">
              <a:extLst>
                <a:ext uri="{FF2B5EF4-FFF2-40B4-BE49-F238E27FC236}">
                  <a16:creationId xmlns:a16="http://schemas.microsoft.com/office/drawing/2014/main" id="{2EA7B8A2-9428-4CA9-8BF1-97C056515EC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9" name="Freeform 28">
              <a:extLst>
                <a:ext uri="{FF2B5EF4-FFF2-40B4-BE49-F238E27FC236}">
                  <a16:creationId xmlns:a16="http://schemas.microsoft.com/office/drawing/2014/main" id="{E4E9C908-2225-4935-BE9B-CED0E639FE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1" y="855"/>
              <a:ext cx="2739" cy="2209"/>
            </a:xfrm>
            <a:custGeom>
              <a:avLst/>
              <a:gdLst>
                <a:gd name="T0" fmla="*/ 312 w 1462"/>
                <a:gd name="T1" fmla="*/ 609 h 1178"/>
                <a:gd name="T2" fmla="*/ 312 w 1462"/>
                <a:gd name="T3" fmla="*/ 1020 h 1178"/>
                <a:gd name="T4" fmla="*/ 303 w 1462"/>
                <a:gd name="T5" fmla="*/ 1030 h 1178"/>
                <a:gd name="T6" fmla="*/ 9 w 1462"/>
                <a:gd name="T7" fmla="*/ 1030 h 1178"/>
                <a:gd name="T8" fmla="*/ 0 w 1462"/>
                <a:gd name="T9" fmla="*/ 1020 h 1178"/>
                <a:gd name="T10" fmla="*/ 0 w 1462"/>
                <a:gd name="T11" fmla="*/ 609 h 1178"/>
                <a:gd name="T12" fmla="*/ 9 w 1462"/>
                <a:gd name="T13" fmla="*/ 600 h 1178"/>
                <a:gd name="T14" fmla="*/ 303 w 1462"/>
                <a:gd name="T15" fmla="*/ 600 h 1178"/>
                <a:gd name="T16" fmla="*/ 312 w 1462"/>
                <a:gd name="T17" fmla="*/ 609 h 1178"/>
                <a:gd name="T18" fmla="*/ 1453 w 1462"/>
                <a:gd name="T19" fmla="*/ 0 h 1178"/>
                <a:gd name="T20" fmla="*/ 1160 w 1462"/>
                <a:gd name="T21" fmla="*/ 0 h 1178"/>
                <a:gd name="T22" fmla="*/ 1150 w 1462"/>
                <a:gd name="T23" fmla="*/ 10 h 1178"/>
                <a:gd name="T24" fmla="*/ 1150 w 1462"/>
                <a:gd name="T25" fmla="*/ 420 h 1178"/>
                <a:gd name="T26" fmla="*/ 1286 w 1462"/>
                <a:gd name="T27" fmla="*/ 519 h 1178"/>
                <a:gd name="T28" fmla="*/ 1382 w 1462"/>
                <a:gd name="T29" fmla="*/ 1030 h 1178"/>
                <a:gd name="T30" fmla="*/ 1453 w 1462"/>
                <a:gd name="T31" fmla="*/ 1030 h 1178"/>
                <a:gd name="T32" fmla="*/ 1462 w 1462"/>
                <a:gd name="T33" fmla="*/ 1020 h 1178"/>
                <a:gd name="T34" fmla="*/ 1462 w 1462"/>
                <a:gd name="T35" fmla="*/ 10 h 1178"/>
                <a:gd name="T36" fmla="*/ 1453 w 1462"/>
                <a:gd name="T37" fmla="*/ 0 h 1178"/>
                <a:gd name="T38" fmla="*/ 735 w 1462"/>
                <a:gd name="T39" fmla="*/ 593 h 1178"/>
                <a:gd name="T40" fmla="*/ 715 w 1462"/>
                <a:gd name="T41" fmla="*/ 611 h 1178"/>
                <a:gd name="T42" fmla="*/ 706 w 1462"/>
                <a:gd name="T43" fmla="*/ 1077 h 1178"/>
                <a:gd name="T44" fmla="*/ 735 w 1462"/>
                <a:gd name="T45" fmla="*/ 1104 h 1178"/>
                <a:gd name="T46" fmla="*/ 735 w 1462"/>
                <a:gd name="T47" fmla="*/ 593 h 1178"/>
                <a:gd name="T48" fmla="*/ 944 w 1462"/>
                <a:gd name="T49" fmla="*/ 519 h 1178"/>
                <a:gd name="T50" fmla="*/ 838 w 1462"/>
                <a:gd name="T51" fmla="*/ 536 h 1178"/>
                <a:gd name="T52" fmla="*/ 838 w 1462"/>
                <a:gd name="T53" fmla="*/ 1161 h 1178"/>
                <a:gd name="T54" fmla="*/ 944 w 1462"/>
                <a:gd name="T55" fmla="*/ 1178 h 1178"/>
                <a:gd name="T56" fmla="*/ 1144 w 1462"/>
                <a:gd name="T57" fmla="*/ 1110 h 1178"/>
                <a:gd name="T58" fmla="*/ 1146 w 1462"/>
                <a:gd name="T59" fmla="*/ 1109 h 1178"/>
                <a:gd name="T60" fmla="*/ 1172 w 1462"/>
                <a:gd name="T61" fmla="*/ 1086 h 1178"/>
                <a:gd name="T62" fmla="*/ 1200 w 1462"/>
                <a:gd name="T63" fmla="*/ 1056 h 1178"/>
                <a:gd name="T64" fmla="*/ 1181 w 1462"/>
                <a:gd name="T65" fmla="*/ 620 h 1178"/>
                <a:gd name="T66" fmla="*/ 944 w 1462"/>
                <a:gd name="T67" fmla="*/ 519 h 1178"/>
                <a:gd name="T68" fmla="*/ 944 w 1462"/>
                <a:gd name="T69" fmla="*/ 374 h 1178"/>
                <a:gd name="T70" fmla="*/ 1079 w 1462"/>
                <a:gd name="T71" fmla="*/ 393 h 1178"/>
                <a:gd name="T72" fmla="*/ 1079 w 1462"/>
                <a:gd name="T73" fmla="*/ 253 h 1178"/>
                <a:gd name="T74" fmla="*/ 1069 w 1462"/>
                <a:gd name="T75" fmla="*/ 243 h 1178"/>
                <a:gd name="T76" fmla="*/ 776 w 1462"/>
                <a:gd name="T77" fmla="*/ 243 h 1178"/>
                <a:gd name="T78" fmla="*/ 766 w 1462"/>
                <a:gd name="T79" fmla="*/ 253 h 1178"/>
                <a:gd name="T80" fmla="*/ 766 w 1462"/>
                <a:gd name="T81" fmla="*/ 408 h 1178"/>
                <a:gd name="T82" fmla="*/ 944 w 1462"/>
                <a:gd name="T83" fmla="*/ 374 h 1178"/>
                <a:gd name="T84" fmla="*/ 614 w 1462"/>
                <a:gd name="T85" fmla="*/ 506 h 1178"/>
                <a:gd name="T86" fmla="*/ 696 w 1462"/>
                <a:gd name="T87" fmla="*/ 443 h 1178"/>
                <a:gd name="T88" fmla="*/ 696 w 1462"/>
                <a:gd name="T89" fmla="*/ 89 h 1178"/>
                <a:gd name="T90" fmla="*/ 686 w 1462"/>
                <a:gd name="T91" fmla="*/ 73 h 1178"/>
                <a:gd name="T92" fmla="*/ 393 w 1462"/>
                <a:gd name="T93" fmla="*/ 73 h 1178"/>
                <a:gd name="T94" fmla="*/ 383 w 1462"/>
                <a:gd name="T95" fmla="*/ 89 h 1178"/>
                <a:gd name="T96" fmla="*/ 383 w 1462"/>
                <a:gd name="T97" fmla="*/ 1015 h 1178"/>
                <a:gd name="T98" fmla="*/ 393 w 1462"/>
                <a:gd name="T99" fmla="*/ 1030 h 1178"/>
                <a:gd name="T100" fmla="*/ 505 w 1462"/>
                <a:gd name="T101" fmla="*/ 1030 h 1178"/>
                <a:gd name="T102" fmla="*/ 614 w 1462"/>
                <a:gd name="T103" fmla="*/ 506 h 1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62" h="1178">
                  <a:moveTo>
                    <a:pt x="312" y="609"/>
                  </a:moveTo>
                  <a:cubicBezTo>
                    <a:pt x="312" y="1020"/>
                    <a:pt x="312" y="1020"/>
                    <a:pt x="312" y="1020"/>
                  </a:cubicBezTo>
                  <a:cubicBezTo>
                    <a:pt x="312" y="1026"/>
                    <a:pt x="308" y="1030"/>
                    <a:pt x="303" y="1030"/>
                  </a:cubicBezTo>
                  <a:cubicBezTo>
                    <a:pt x="9" y="1030"/>
                    <a:pt x="9" y="1030"/>
                    <a:pt x="9" y="1030"/>
                  </a:cubicBezTo>
                  <a:cubicBezTo>
                    <a:pt x="4" y="1030"/>
                    <a:pt x="0" y="1026"/>
                    <a:pt x="0" y="1020"/>
                  </a:cubicBezTo>
                  <a:cubicBezTo>
                    <a:pt x="0" y="609"/>
                    <a:pt x="0" y="609"/>
                    <a:pt x="0" y="609"/>
                  </a:cubicBezTo>
                  <a:cubicBezTo>
                    <a:pt x="0" y="604"/>
                    <a:pt x="4" y="600"/>
                    <a:pt x="9" y="600"/>
                  </a:cubicBezTo>
                  <a:cubicBezTo>
                    <a:pt x="303" y="600"/>
                    <a:pt x="303" y="600"/>
                    <a:pt x="303" y="600"/>
                  </a:cubicBezTo>
                  <a:cubicBezTo>
                    <a:pt x="308" y="600"/>
                    <a:pt x="312" y="604"/>
                    <a:pt x="312" y="609"/>
                  </a:cubicBezTo>
                  <a:close/>
                  <a:moveTo>
                    <a:pt x="1453" y="0"/>
                  </a:moveTo>
                  <a:cubicBezTo>
                    <a:pt x="1160" y="0"/>
                    <a:pt x="1160" y="0"/>
                    <a:pt x="1160" y="0"/>
                  </a:cubicBezTo>
                  <a:cubicBezTo>
                    <a:pt x="1154" y="0"/>
                    <a:pt x="1150" y="4"/>
                    <a:pt x="1150" y="10"/>
                  </a:cubicBezTo>
                  <a:cubicBezTo>
                    <a:pt x="1150" y="420"/>
                    <a:pt x="1150" y="420"/>
                    <a:pt x="1150" y="420"/>
                  </a:cubicBezTo>
                  <a:cubicBezTo>
                    <a:pt x="1200" y="444"/>
                    <a:pt x="1246" y="478"/>
                    <a:pt x="1286" y="519"/>
                  </a:cubicBezTo>
                  <a:cubicBezTo>
                    <a:pt x="1419" y="658"/>
                    <a:pt x="1453" y="859"/>
                    <a:pt x="1382" y="1030"/>
                  </a:cubicBezTo>
                  <a:cubicBezTo>
                    <a:pt x="1453" y="1030"/>
                    <a:pt x="1453" y="1030"/>
                    <a:pt x="1453" y="1030"/>
                  </a:cubicBezTo>
                  <a:cubicBezTo>
                    <a:pt x="1458" y="1030"/>
                    <a:pt x="1462" y="1026"/>
                    <a:pt x="1462" y="1020"/>
                  </a:cubicBezTo>
                  <a:cubicBezTo>
                    <a:pt x="1462" y="10"/>
                    <a:pt x="1462" y="10"/>
                    <a:pt x="1462" y="10"/>
                  </a:cubicBezTo>
                  <a:cubicBezTo>
                    <a:pt x="1462" y="4"/>
                    <a:pt x="1458" y="0"/>
                    <a:pt x="1453" y="0"/>
                  </a:cubicBezTo>
                  <a:close/>
                  <a:moveTo>
                    <a:pt x="735" y="593"/>
                  </a:moveTo>
                  <a:cubicBezTo>
                    <a:pt x="728" y="599"/>
                    <a:pt x="721" y="605"/>
                    <a:pt x="715" y="611"/>
                  </a:cubicBezTo>
                  <a:cubicBezTo>
                    <a:pt x="584" y="737"/>
                    <a:pt x="580" y="946"/>
                    <a:pt x="706" y="1077"/>
                  </a:cubicBezTo>
                  <a:cubicBezTo>
                    <a:pt x="715" y="1087"/>
                    <a:pt x="725" y="1095"/>
                    <a:pt x="735" y="1104"/>
                  </a:cubicBezTo>
                  <a:lnTo>
                    <a:pt x="735" y="593"/>
                  </a:lnTo>
                  <a:close/>
                  <a:moveTo>
                    <a:pt x="944" y="519"/>
                  </a:moveTo>
                  <a:cubicBezTo>
                    <a:pt x="907" y="519"/>
                    <a:pt x="872" y="525"/>
                    <a:pt x="838" y="536"/>
                  </a:cubicBezTo>
                  <a:cubicBezTo>
                    <a:pt x="838" y="1161"/>
                    <a:pt x="838" y="1161"/>
                    <a:pt x="838" y="1161"/>
                  </a:cubicBezTo>
                  <a:cubicBezTo>
                    <a:pt x="872" y="1172"/>
                    <a:pt x="907" y="1178"/>
                    <a:pt x="944" y="1178"/>
                  </a:cubicBezTo>
                  <a:cubicBezTo>
                    <a:pt x="1016" y="1178"/>
                    <a:pt x="1087" y="1154"/>
                    <a:pt x="1144" y="1110"/>
                  </a:cubicBezTo>
                  <a:cubicBezTo>
                    <a:pt x="1146" y="1109"/>
                    <a:pt x="1146" y="1109"/>
                    <a:pt x="1146" y="1109"/>
                  </a:cubicBezTo>
                  <a:cubicBezTo>
                    <a:pt x="1153" y="1103"/>
                    <a:pt x="1162" y="1096"/>
                    <a:pt x="1172" y="1086"/>
                  </a:cubicBezTo>
                  <a:cubicBezTo>
                    <a:pt x="1182" y="1077"/>
                    <a:pt x="1191" y="1067"/>
                    <a:pt x="1200" y="1056"/>
                  </a:cubicBezTo>
                  <a:cubicBezTo>
                    <a:pt x="1304" y="927"/>
                    <a:pt x="1296" y="740"/>
                    <a:pt x="1181" y="620"/>
                  </a:cubicBezTo>
                  <a:cubicBezTo>
                    <a:pt x="1119" y="555"/>
                    <a:pt x="1034" y="519"/>
                    <a:pt x="944" y="519"/>
                  </a:cubicBezTo>
                  <a:close/>
                  <a:moveTo>
                    <a:pt x="944" y="374"/>
                  </a:moveTo>
                  <a:cubicBezTo>
                    <a:pt x="990" y="374"/>
                    <a:pt x="1036" y="380"/>
                    <a:pt x="1079" y="393"/>
                  </a:cubicBezTo>
                  <a:cubicBezTo>
                    <a:pt x="1079" y="253"/>
                    <a:pt x="1079" y="253"/>
                    <a:pt x="1079" y="253"/>
                  </a:cubicBezTo>
                  <a:cubicBezTo>
                    <a:pt x="1079" y="247"/>
                    <a:pt x="1075" y="243"/>
                    <a:pt x="1069" y="243"/>
                  </a:cubicBezTo>
                  <a:cubicBezTo>
                    <a:pt x="776" y="243"/>
                    <a:pt x="776" y="243"/>
                    <a:pt x="776" y="243"/>
                  </a:cubicBezTo>
                  <a:cubicBezTo>
                    <a:pt x="771" y="243"/>
                    <a:pt x="766" y="247"/>
                    <a:pt x="766" y="253"/>
                  </a:cubicBezTo>
                  <a:cubicBezTo>
                    <a:pt x="766" y="408"/>
                    <a:pt x="766" y="408"/>
                    <a:pt x="766" y="408"/>
                  </a:cubicBezTo>
                  <a:cubicBezTo>
                    <a:pt x="822" y="385"/>
                    <a:pt x="882" y="374"/>
                    <a:pt x="944" y="374"/>
                  </a:cubicBezTo>
                  <a:close/>
                  <a:moveTo>
                    <a:pt x="614" y="506"/>
                  </a:moveTo>
                  <a:cubicBezTo>
                    <a:pt x="639" y="482"/>
                    <a:pt x="667" y="461"/>
                    <a:pt x="696" y="443"/>
                  </a:cubicBezTo>
                  <a:cubicBezTo>
                    <a:pt x="696" y="89"/>
                    <a:pt x="696" y="89"/>
                    <a:pt x="696" y="89"/>
                  </a:cubicBezTo>
                  <a:cubicBezTo>
                    <a:pt x="696" y="80"/>
                    <a:pt x="691" y="73"/>
                    <a:pt x="686" y="73"/>
                  </a:cubicBezTo>
                  <a:cubicBezTo>
                    <a:pt x="393" y="73"/>
                    <a:pt x="393" y="73"/>
                    <a:pt x="393" y="73"/>
                  </a:cubicBezTo>
                  <a:cubicBezTo>
                    <a:pt x="387" y="73"/>
                    <a:pt x="383" y="80"/>
                    <a:pt x="383" y="89"/>
                  </a:cubicBezTo>
                  <a:cubicBezTo>
                    <a:pt x="383" y="1015"/>
                    <a:pt x="383" y="1015"/>
                    <a:pt x="383" y="1015"/>
                  </a:cubicBezTo>
                  <a:cubicBezTo>
                    <a:pt x="383" y="1023"/>
                    <a:pt x="387" y="1030"/>
                    <a:pt x="393" y="1030"/>
                  </a:cubicBezTo>
                  <a:cubicBezTo>
                    <a:pt x="505" y="1030"/>
                    <a:pt x="505" y="1030"/>
                    <a:pt x="505" y="1030"/>
                  </a:cubicBezTo>
                  <a:cubicBezTo>
                    <a:pt x="433" y="855"/>
                    <a:pt x="470" y="645"/>
                    <a:pt x="614" y="50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0" name="Freeform 29">
              <a:extLst>
                <a:ext uri="{FF2B5EF4-FFF2-40B4-BE49-F238E27FC236}">
                  <a16:creationId xmlns:a16="http://schemas.microsoft.com/office/drawing/2014/main" id="{07385039-B208-433D-97C3-719751E80D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63" y="667"/>
              <a:ext cx="3560" cy="3417"/>
            </a:xfrm>
            <a:custGeom>
              <a:avLst/>
              <a:gdLst>
                <a:gd name="T0" fmla="*/ 734 w 1900"/>
                <a:gd name="T1" fmla="*/ 1246 h 1822"/>
                <a:gd name="T2" fmla="*/ 1284 w 1900"/>
                <a:gd name="T3" fmla="*/ 1303 h 1822"/>
                <a:gd name="T4" fmla="*/ 1385 w 1900"/>
                <a:gd name="T5" fmla="*/ 1407 h 1822"/>
                <a:gd name="T6" fmla="*/ 1401 w 1900"/>
                <a:gd name="T7" fmla="*/ 1407 h 1822"/>
                <a:gd name="T8" fmla="*/ 1493 w 1900"/>
                <a:gd name="T9" fmla="*/ 1320 h 1822"/>
                <a:gd name="T10" fmla="*/ 1493 w 1900"/>
                <a:gd name="T11" fmla="*/ 1303 h 1822"/>
                <a:gd name="T12" fmla="*/ 1392 w 1900"/>
                <a:gd name="T13" fmla="*/ 1198 h 1822"/>
                <a:gd name="T14" fmla="*/ 1353 w 1900"/>
                <a:gd name="T15" fmla="*/ 651 h 1822"/>
                <a:gd name="T16" fmla="*/ 746 w 1900"/>
                <a:gd name="T17" fmla="*/ 639 h 1822"/>
                <a:gd name="T18" fmla="*/ 734 w 1900"/>
                <a:gd name="T19" fmla="*/ 1246 h 1822"/>
                <a:gd name="T20" fmla="*/ 1272 w 1900"/>
                <a:gd name="T21" fmla="*/ 1246 h 1822"/>
                <a:gd name="T22" fmla="*/ 773 w 1900"/>
                <a:gd name="T23" fmla="*/ 1209 h 1822"/>
                <a:gd name="T24" fmla="*/ 783 w 1900"/>
                <a:gd name="T25" fmla="*/ 678 h 1822"/>
                <a:gd name="T26" fmla="*/ 1314 w 1900"/>
                <a:gd name="T27" fmla="*/ 688 h 1822"/>
                <a:gd name="T28" fmla="*/ 1336 w 1900"/>
                <a:gd name="T29" fmla="*/ 1185 h 1822"/>
                <a:gd name="T30" fmla="*/ 1304 w 1900"/>
                <a:gd name="T31" fmla="*/ 1219 h 1822"/>
                <a:gd name="T32" fmla="*/ 1272 w 1900"/>
                <a:gd name="T33" fmla="*/ 1246 h 1822"/>
                <a:gd name="T34" fmla="*/ 1765 w 1900"/>
                <a:gd name="T35" fmla="*/ 1822 h 1822"/>
                <a:gd name="T36" fmla="*/ 1727 w 1900"/>
                <a:gd name="T37" fmla="*/ 1807 h 1822"/>
                <a:gd name="T38" fmla="*/ 1417 w 1900"/>
                <a:gd name="T39" fmla="*/ 1484 h 1822"/>
                <a:gd name="T40" fmla="*/ 1418 w 1900"/>
                <a:gd name="T41" fmla="*/ 1453 h 1822"/>
                <a:gd name="T42" fmla="*/ 1541 w 1900"/>
                <a:gd name="T43" fmla="*/ 1334 h 1822"/>
                <a:gd name="T44" fmla="*/ 1557 w 1900"/>
                <a:gd name="T45" fmla="*/ 1327 h 1822"/>
                <a:gd name="T46" fmla="*/ 1572 w 1900"/>
                <a:gd name="T47" fmla="*/ 1334 h 1822"/>
                <a:gd name="T48" fmla="*/ 1882 w 1900"/>
                <a:gd name="T49" fmla="*/ 1659 h 1822"/>
                <a:gd name="T50" fmla="*/ 1891 w 1900"/>
                <a:gd name="T51" fmla="*/ 1721 h 1822"/>
                <a:gd name="T52" fmla="*/ 1851 w 1900"/>
                <a:gd name="T53" fmla="*/ 1781 h 1822"/>
                <a:gd name="T54" fmla="*/ 1789 w 1900"/>
                <a:gd name="T55" fmla="*/ 1819 h 1822"/>
                <a:gd name="T56" fmla="*/ 1765 w 1900"/>
                <a:gd name="T57" fmla="*/ 1822 h 1822"/>
                <a:gd name="T58" fmla="*/ 1464 w 1900"/>
                <a:gd name="T59" fmla="*/ 1469 h 1822"/>
                <a:gd name="T60" fmla="*/ 1759 w 1900"/>
                <a:gd name="T61" fmla="*/ 1777 h 1822"/>
                <a:gd name="T62" fmla="*/ 1777 w 1900"/>
                <a:gd name="T63" fmla="*/ 1777 h 1822"/>
                <a:gd name="T64" fmla="*/ 1820 w 1900"/>
                <a:gd name="T65" fmla="*/ 1749 h 1822"/>
                <a:gd name="T66" fmla="*/ 1849 w 1900"/>
                <a:gd name="T67" fmla="*/ 1707 h 1822"/>
                <a:gd name="T68" fmla="*/ 1851 w 1900"/>
                <a:gd name="T69" fmla="*/ 1689 h 1822"/>
                <a:gd name="T70" fmla="*/ 1556 w 1900"/>
                <a:gd name="T71" fmla="*/ 1381 h 1822"/>
                <a:gd name="T72" fmla="*/ 1464 w 1900"/>
                <a:gd name="T73" fmla="*/ 1469 h 1822"/>
                <a:gd name="T74" fmla="*/ 1640 w 1900"/>
                <a:gd name="T75" fmla="*/ 0 h 1822"/>
                <a:gd name="T76" fmla="*/ 22 w 1900"/>
                <a:gd name="T77" fmla="*/ 0 h 1822"/>
                <a:gd name="T78" fmla="*/ 0 w 1900"/>
                <a:gd name="T79" fmla="*/ 22 h 1822"/>
                <a:gd name="T80" fmla="*/ 0 w 1900"/>
                <a:gd name="T81" fmla="*/ 1208 h 1822"/>
                <a:gd name="T82" fmla="*/ 22 w 1900"/>
                <a:gd name="T83" fmla="*/ 1230 h 1822"/>
                <a:gd name="T84" fmla="*/ 661 w 1900"/>
                <a:gd name="T85" fmla="*/ 1230 h 1822"/>
                <a:gd name="T86" fmla="*/ 633 w 1900"/>
                <a:gd name="T87" fmla="*/ 1186 h 1822"/>
                <a:gd name="T88" fmla="*/ 44 w 1900"/>
                <a:gd name="T89" fmla="*/ 1186 h 1822"/>
                <a:gd name="T90" fmla="*/ 44 w 1900"/>
                <a:gd name="T91" fmla="*/ 44 h 1822"/>
                <a:gd name="T92" fmla="*/ 1618 w 1900"/>
                <a:gd name="T93" fmla="*/ 44 h 1822"/>
                <a:gd name="T94" fmla="*/ 1618 w 1900"/>
                <a:gd name="T95" fmla="*/ 1186 h 1822"/>
                <a:gd name="T96" fmla="*/ 1454 w 1900"/>
                <a:gd name="T97" fmla="*/ 1186 h 1822"/>
                <a:gd name="T98" fmla="*/ 1451 w 1900"/>
                <a:gd name="T99" fmla="*/ 1192 h 1822"/>
                <a:gd name="T100" fmla="*/ 1487 w 1900"/>
                <a:gd name="T101" fmla="*/ 1230 h 1822"/>
                <a:gd name="T102" fmla="*/ 1640 w 1900"/>
                <a:gd name="T103" fmla="*/ 1230 h 1822"/>
                <a:gd name="T104" fmla="*/ 1662 w 1900"/>
                <a:gd name="T105" fmla="*/ 1208 h 1822"/>
                <a:gd name="T106" fmla="*/ 1662 w 1900"/>
                <a:gd name="T107" fmla="*/ 22 h 1822"/>
                <a:gd name="T108" fmla="*/ 1640 w 1900"/>
                <a:gd name="T109" fmla="*/ 0 h 18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900" h="1822">
                  <a:moveTo>
                    <a:pt x="734" y="1246"/>
                  </a:moveTo>
                  <a:cubicBezTo>
                    <a:pt x="881" y="1399"/>
                    <a:pt x="1115" y="1418"/>
                    <a:pt x="1284" y="1303"/>
                  </a:cubicBezTo>
                  <a:cubicBezTo>
                    <a:pt x="1284" y="1303"/>
                    <a:pt x="1284" y="1303"/>
                    <a:pt x="1385" y="1407"/>
                  </a:cubicBezTo>
                  <a:cubicBezTo>
                    <a:pt x="1389" y="1412"/>
                    <a:pt x="1397" y="1412"/>
                    <a:pt x="1401" y="1407"/>
                  </a:cubicBezTo>
                  <a:cubicBezTo>
                    <a:pt x="1401" y="1407"/>
                    <a:pt x="1401" y="1407"/>
                    <a:pt x="1493" y="1320"/>
                  </a:cubicBezTo>
                  <a:cubicBezTo>
                    <a:pt x="1498" y="1315"/>
                    <a:pt x="1498" y="1308"/>
                    <a:pt x="1493" y="1303"/>
                  </a:cubicBezTo>
                  <a:cubicBezTo>
                    <a:pt x="1493" y="1303"/>
                    <a:pt x="1493" y="1303"/>
                    <a:pt x="1392" y="1198"/>
                  </a:cubicBezTo>
                  <a:cubicBezTo>
                    <a:pt x="1510" y="1033"/>
                    <a:pt x="1498" y="802"/>
                    <a:pt x="1353" y="651"/>
                  </a:cubicBezTo>
                  <a:cubicBezTo>
                    <a:pt x="1188" y="480"/>
                    <a:pt x="917" y="475"/>
                    <a:pt x="746" y="639"/>
                  </a:cubicBezTo>
                  <a:cubicBezTo>
                    <a:pt x="576" y="803"/>
                    <a:pt x="571" y="1075"/>
                    <a:pt x="734" y="1246"/>
                  </a:cubicBezTo>
                  <a:close/>
                  <a:moveTo>
                    <a:pt x="1272" y="1246"/>
                  </a:moveTo>
                  <a:cubicBezTo>
                    <a:pt x="1123" y="1361"/>
                    <a:pt x="907" y="1348"/>
                    <a:pt x="773" y="1209"/>
                  </a:cubicBezTo>
                  <a:cubicBezTo>
                    <a:pt x="630" y="1060"/>
                    <a:pt x="634" y="821"/>
                    <a:pt x="783" y="678"/>
                  </a:cubicBezTo>
                  <a:cubicBezTo>
                    <a:pt x="932" y="534"/>
                    <a:pt x="1171" y="539"/>
                    <a:pt x="1314" y="688"/>
                  </a:cubicBezTo>
                  <a:cubicBezTo>
                    <a:pt x="1447" y="826"/>
                    <a:pt x="1453" y="1040"/>
                    <a:pt x="1336" y="1185"/>
                  </a:cubicBezTo>
                  <a:cubicBezTo>
                    <a:pt x="1326" y="1197"/>
                    <a:pt x="1315" y="1208"/>
                    <a:pt x="1304" y="1219"/>
                  </a:cubicBezTo>
                  <a:cubicBezTo>
                    <a:pt x="1294" y="1229"/>
                    <a:pt x="1284" y="1238"/>
                    <a:pt x="1272" y="1246"/>
                  </a:cubicBezTo>
                  <a:close/>
                  <a:moveTo>
                    <a:pt x="1765" y="1822"/>
                  </a:moveTo>
                  <a:cubicBezTo>
                    <a:pt x="1750" y="1822"/>
                    <a:pt x="1736" y="1817"/>
                    <a:pt x="1727" y="1807"/>
                  </a:cubicBezTo>
                  <a:cubicBezTo>
                    <a:pt x="1417" y="1484"/>
                    <a:pt x="1417" y="1484"/>
                    <a:pt x="1417" y="1484"/>
                  </a:cubicBezTo>
                  <a:cubicBezTo>
                    <a:pt x="1409" y="1475"/>
                    <a:pt x="1409" y="1461"/>
                    <a:pt x="1418" y="1453"/>
                  </a:cubicBezTo>
                  <a:cubicBezTo>
                    <a:pt x="1541" y="1334"/>
                    <a:pt x="1541" y="1334"/>
                    <a:pt x="1541" y="1334"/>
                  </a:cubicBezTo>
                  <a:cubicBezTo>
                    <a:pt x="1545" y="1330"/>
                    <a:pt x="1551" y="1327"/>
                    <a:pt x="1557" y="1327"/>
                  </a:cubicBezTo>
                  <a:cubicBezTo>
                    <a:pt x="1563" y="1328"/>
                    <a:pt x="1568" y="1330"/>
                    <a:pt x="1572" y="1334"/>
                  </a:cubicBezTo>
                  <a:cubicBezTo>
                    <a:pt x="1882" y="1659"/>
                    <a:pt x="1882" y="1659"/>
                    <a:pt x="1882" y="1659"/>
                  </a:cubicBezTo>
                  <a:cubicBezTo>
                    <a:pt x="1896" y="1673"/>
                    <a:pt x="1900" y="1696"/>
                    <a:pt x="1891" y="1721"/>
                  </a:cubicBezTo>
                  <a:cubicBezTo>
                    <a:pt x="1884" y="1742"/>
                    <a:pt x="1870" y="1763"/>
                    <a:pt x="1851" y="1781"/>
                  </a:cubicBezTo>
                  <a:cubicBezTo>
                    <a:pt x="1832" y="1799"/>
                    <a:pt x="1810" y="1813"/>
                    <a:pt x="1789" y="1819"/>
                  </a:cubicBezTo>
                  <a:cubicBezTo>
                    <a:pt x="1781" y="1821"/>
                    <a:pt x="1773" y="1822"/>
                    <a:pt x="1765" y="1822"/>
                  </a:cubicBezTo>
                  <a:close/>
                  <a:moveTo>
                    <a:pt x="1464" y="1469"/>
                  </a:moveTo>
                  <a:cubicBezTo>
                    <a:pt x="1759" y="1777"/>
                    <a:pt x="1759" y="1777"/>
                    <a:pt x="1759" y="1777"/>
                  </a:cubicBezTo>
                  <a:cubicBezTo>
                    <a:pt x="1760" y="1778"/>
                    <a:pt x="1766" y="1780"/>
                    <a:pt x="1777" y="1777"/>
                  </a:cubicBezTo>
                  <a:cubicBezTo>
                    <a:pt x="1791" y="1773"/>
                    <a:pt x="1806" y="1763"/>
                    <a:pt x="1820" y="1749"/>
                  </a:cubicBezTo>
                  <a:cubicBezTo>
                    <a:pt x="1834" y="1736"/>
                    <a:pt x="1845" y="1721"/>
                    <a:pt x="1849" y="1707"/>
                  </a:cubicBezTo>
                  <a:cubicBezTo>
                    <a:pt x="1853" y="1696"/>
                    <a:pt x="1852" y="1690"/>
                    <a:pt x="1851" y="1689"/>
                  </a:cubicBezTo>
                  <a:cubicBezTo>
                    <a:pt x="1556" y="1381"/>
                    <a:pt x="1556" y="1381"/>
                    <a:pt x="1556" y="1381"/>
                  </a:cubicBezTo>
                  <a:lnTo>
                    <a:pt x="1464" y="1469"/>
                  </a:lnTo>
                  <a:close/>
                  <a:moveTo>
                    <a:pt x="1640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1208"/>
                    <a:pt x="0" y="1208"/>
                    <a:pt x="0" y="1208"/>
                  </a:cubicBezTo>
                  <a:cubicBezTo>
                    <a:pt x="0" y="1220"/>
                    <a:pt x="10" y="1230"/>
                    <a:pt x="22" y="1230"/>
                  </a:cubicBezTo>
                  <a:cubicBezTo>
                    <a:pt x="661" y="1230"/>
                    <a:pt x="661" y="1230"/>
                    <a:pt x="661" y="1230"/>
                  </a:cubicBezTo>
                  <a:cubicBezTo>
                    <a:pt x="651" y="1216"/>
                    <a:pt x="641" y="1201"/>
                    <a:pt x="633" y="1186"/>
                  </a:cubicBezTo>
                  <a:cubicBezTo>
                    <a:pt x="44" y="1186"/>
                    <a:pt x="44" y="1186"/>
                    <a:pt x="44" y="1186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1618" y="44"/>
                    <a:pt x="1618" y="44"/>
                    <a:pt x="1618" y="44"/>
                  </a:cubicBezTo>
                  <a:cubicBezTo>
                    <a:pt x="1618" y="1186"/>
                    <a:pt x="1618" y="1186"/>
                    <a:pt x="1618" y="1186"/>
                  </a:cubicBezTo>
                  <a:cubicBezTo>
                    <a:pt x="1454" y="1186"/>
                    <a:pt x="1454" y="1186"/>
                    <a:pt x="1454" y="1186"/>
                  </a:cubicBezTo>
                  <a:cubicBezTo>
                    <a:pt x="1453" y="1188"/>
                    <a:pt x="1452" y="1190"/>
                    <a:pt x="1451" y="1192"/>
                  </a:cubicBezTo>
                  <a:cubicBezTo>
                    <a:pt x="1487" y="1230"/>
                    <a:pt x="1487" y="1230"/>
                    <a:pt x="1487" y="1230"/>
                  </a:cubicBezTo>
                  <a:cubicBezTo>
                    <a:pt x="1640" y="1230"/>
                    <a:pt x="1640" y="1230"/>
                    <a:pt x="1640" y="1230"/>
                  </a:cubicBezTo>
                  <a:cubicBezTo>
                    <a:pt x="1652" y="1230"/>
                    <a:pt x="1662" y="1220"/>
                    <a:pt x="1662" y="1208"/>
                  </a:cubicBezTo>
                  <a:cubicBezTo>
                    <a:pt x="1662" y="22"/>
                    <a:pt x="1662" y="22"/>
                    <a:pt x="1662" y="22"/>
                  </a:cubicBezTo>
                  <a:cubicBezTo>
                    <a:pt x="1662" y="10"/>
                    <a:pt x="1652" y="0"/>
                    <a:pt x="164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401" name="Shape 2872"/>
          <p:cNvSpPr/>
          <p:nvPr/>
        </p:nvSpPr>
        <p:spPr>
          <a:xfrm>
            <a:off x="4579270" y="4909175"/>
            <a:ext cx="69757" cy="6975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744"/>
                  <a:pt x="21168" y="14472"/>
                  <a:pt x="20088" y="16200"/>
                </a:cubicBezTo>
                <a:cubicBezTo>
                  <a:pt x="19116" y="17928"/>
                  <a:pt x="17928" y="19008"/>
                  <a:pt x="16200" y="20088"/>
                </a:cubicBezTo>
                <a:cubicBezTo>
                  <a:pt x="14472" y="21060"/>
                  <a:pt x="12744" y="21600"/>
                  <a:pt x="10800" y="21600"/>
                </a:cubicBezTo>
                <a:cubicBezTo>
                  <a:pt x="8856" y="21600"/>
                  <a:pt x="7128" y="21060"/>
                  <a:pt x="5400" y="20088"/>
                </a:cubicBezTo>
                <a:cubicBezTo>
                  <a:pt x="3672" y="19008"/>
                  <a:pt x="2484" y="17928"/>
                  <a:pt x="1404" y="16200"/>
                </a:cubicBezTo>
                <a:cubicBezTo>
                  <a:pt x="432" y="14472"/>
                  <a:pt x="0" y="12744"/>
                  <a:pt x="0" y="10800"/>
                </a:cubicBezTo>
                <a:cubicBezTo>
                  <a:pt x="0" y="8856"/>
                  <a:pt x="432" y="7128"/>
                  <a:pt x="1404" y="5400"/>
                </a:cubicBezTo>
                <a:cubicBezTo>
                  <a:pt x="2484" y="3672"/>
                  <a:pt x="3672" y="2376"/>
                  <a:pt x="5400" y="1404"/>
                </a:cubicBezTo>
                <a:cubicBezTo>
                  <a:pt x="7128" y="324"/>
                  <a:pt x="8856" y="0"/>
                  <a:pt x="10800" y="0"/>
                </a:cubicBezTo>
                <a:cubicBezTo>
                  <a:pt x="12744" y="0"/>
                  <a:pt x="14472" y="324"/>
                  <a:pt x="16200" y="1404"/>
                </a:cubicBezTo>
                <a:cubicBezTo>
                  <a:pt x="17928" y="2376"/>
                  <a:pt x="19116" y="3672"/>
                  <a:pt x="20088" y="5400"/>
                </a:cubicBezTo>
                <a:cubicBezTo>
                  <a:pt x="21168" y="7128"/>
                  <a:pt x="21600" y="8856"/>
                  <a:pt x="21600" y="1080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2" name="Shape 2873"/>
          <p:cNvSpPr/>
          <p:nvPr/>
        </p:nvSpPr>
        <p:spPr>
          <a:xfrm>
            <a:off x="4528770" y="4986902"/>
            <a:ext cx="172076" cy="3379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36" h="21600" extrusionOk="0">
                <a:moveTo>
                  <a:pt x="5236" y="0"/>
                </a:moveTo>
                <a:lnTo>
                  <a:pt x="16036" y="0"/>
                </a:lnTo>
                <a:cubicBezTo>
                  <a:pt x="19060" y="0"/>
                  <a:pt x="21436" y="1236"/>
                  <a:pt x="21436" y="2758"/>
                </a:cubicBezTo>
                <a:lnTo>
                  <a:pt x="21436" y="9509"/>
                </a:lnTo>
                <a:cubicBezTo>
                  <a:pt x="21436" y="10039"/>
                  <a:pt x="20615" y="10480"/>
                  <a:pt x="19492" y="10480"/>
                </a:cubicBezTo>
                <a:cubicBezTo>
                  <a:pt x="18412" y="10480"/>
                  <a:pt x="17591" y="10061"/>
                  <a:pt x="17591" y="9509"/>
                </a:cubicBezTo>
                <a:lnTo>
                  <a:pt x="17591" y="3332"/>
                </a:lnTo>
                <a:cubicBezTo>
                  <a:pt x="17591" y="3199"/>
                  <a:pt x="17375" y="3067"/>
                  <a:pt x="17073" y="3067"/>
                </a:cubicBezTo>
                <a:cubicBezTo>
                  <a:pt x="16814" y="3067"/>
                  <a:pt x="16554" y="3155"/>
                  <a:pt x="16554" y="3332"/>
                </a:cubicBezTo>
                <a:lnTo>
                  <a:pt x="16554" y="20034"/>
                </a:lnTo>
                <a:cubicBezTo>
                  <a:pt x="16554" y="20872"/>
                  <a:pt x="15345" y="21556"/>
                  <a:pt x="13876" y="21556"/>
                </a:cubicBezTo>
                <a:cubicBezTo>
                  <a:pt x="12450" y="21556"/>
                  <a:pt x="11241" y="20894"/>
                  <a:pt x="11241" y="20034"/>
                </a:cubicBezTo>
                <a:lnTo>
                  <a:pt x="11241" y="10546"/>
                </a:lnTo>
                <a:cubicBezTo>
                  <a:pt x="11241" y="10414"/>
                  <a:pt x="11025" y="10282"/>
                  <a:pt x="10722" y="10282"/>
                </a:cubicBezTo>
                <a:cubicBezTo>
                  <a:pt x="10463" y="10282"/>
                  <a:pt x="10204" y="10370"/>
                  <a:pt x="10204" y="10546"/>
                </a:cubicBezTo>
                <a:lnTo>
                  <a:pt x="10204" y="20100"/>
                </a:lnTo>
                <a:cubicBezTo>
                  <a:pt x="10204" y="20916"/>
                  <a:pt x="9038" y="21600"/>
                  <a:pt x="7569" y="21600"/>
                </a:cubicBezTo>
                <a:cubicBezTo>
                  <a:pt x="6143" y="21600"/>
                  <a:pt x="4890" y="20938"/>
                  <a:pt x="4890" y="20100"/>
                </a:cubicBezTo>
                <a:lnTo>
                  <a:pt x="4890" y="3354"/>
                </a:lnTo>
                <a:cubicBezTo>
                  <a:pt x="4890" y="3221"/>
                  <a:pt x="4718" y="3089"/>
                  <a:pt x="4372" y="3089"/>
                </a:cubicBezTo>
                <a:cubicBezTo>
                  <a:pt x="4113" y="3089"/>
                  <a:pt x="3854" y="3199"/>
                  <a:pt x="3854" y="3354"/>
                </a:cubicBezTo>
                <a:lnTo>
                  <a:pt x="3854" y="9553"/>
                </a:lnTo>
                <a:cubicBezTo>
                  <a:pt x="3854" y="10083"/>
                  <a:pt x="3033" y="10546"/>
                  <a:pt x="1953" y="10546"/>
                </a:cubicBezTo>
                <a:cubicBezTo>
                  <a:pt x="873" y="10546"/>
                  <a:pt x="9" y="10105"/>
                  <a:pt x="9" y="9553"/>
                </a:cubicBezTo>
                <a:lnTo>
                  <a:pt x="9" y="2780"/>
                </a:lnTo>
                <a:cubicBezTo>
                  <a:pt x="-164" y="1236"/>
                  <a:pt x="2255" y="0"/>
                  <a:pt x="5236" y="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3" name="Shape 2874"/>
          <p:cNvSpPr/>
          <p:nvPr/>
        </p:nvSpPr>
        <p:spPr>
          <a:xfrm>
            <a:off x="4387241" y="4909175"/>
            <a:ext cx="69758" cy="6975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744"/>
                  <a:pt x="21168" y="14472"/>
                  <a:pt x="20088" y="16200"/>
                </a:cubicBezTo>
                <a:cubicBezTo>
                  <a:pt x="19116" y="17928"/>
                  <a:pt x="17928" y="19008"/>
                  <a:pt x="16200" y="20088"/>
                </a:cubicBezTo>
                <a:cubicBezTo>
                  <a:pt x="14472" y="21060"/>
                  <a:pt x="12744" y="21600"/>
                  <a:pt x="10800" y="21600"/>
                </a:cubicBezTo>
                <a:cubicBezTo>
                  <a:pt x="8856" y="21600"/>
                  <a:pt x="7128" y="21060"/>
                  <a:pt x="5400" y="20088"/>
                </a:cubicBezTo>
                <a:cubicBezTo>
                  <a:pt x="3672" y="19008"/>
                  <a:pt x="2592" y="17928"/>
                  <a:pt x="1512" y="16200"/>
                </a:cubicBezTo>
                <a:cubicBezTo>
                  <a:pt x="540" y="14472"/>
                  <a:pt x="0" y="12744"/>
                  <a:pt x="0" y="10800"/>
                </a:cubicBezTo>
                <a:cubicBezTo>
                  <a:pt x="0" y="8856"/>
                  <a:pt x="540" y="7128"/>
                  <a:pt x="1512" y="5400"/>
                </a:cubicBezTo>
                <a:cubicBezTo>
                  <a:pt x="2592" y="3672"/>
                  <a:pt x="3672" y="2376"/>
                  <a:pt x="5400" y="1404"/>
                </a:cubicBezTo>
                <a:cubicBezTo>
                  <a:pt x="7128" y="324"/>
                  <a:pt x="8856" y="0"/>
                  <a:pt x="10800" y="0"/>
                </a:cubicBezTo>
                <a:cubicBezTo>
                  <a:pt x="12744" y="0"/>
                  <a:pt x="14472" y="324"/>
                  <a:pt x="16200" y="1404"/>
                </a:cubicBezTo>
                <a:cubicBezTo>
                  <a:pt x="17928" y="2376"/>
                  <a:pt x="19116" y="3672"/>
                  <a:pt x="20088" y="5400"/>
                </a:cubicBezTo>
                <a:cubicBezTo>
                  <a:pt x="21168" y="7128"/>
                  <a:pt x="21600" y="8856"/>
                  <a:pt x="21600" y="1080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4" name="Shape 2875"/>
          <p:cNvSpPr/>
          <p:nvPr/>
        </p:nvSpPr>
        <p:spPr>
          <a:xfrm>
            <a:off x="4337051" y="4986902"/>
            <a:ext cx="171767" cy="3379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397" h="21600" extrusionOk="0">
                <a:moveTo>
                  <a:pt x="5197" y="0"/>
                </a:moveTo>
                <a:lnTo>
                  <a:pt x="15997" y="0"/>
                </a:lnTo>
                <a:cubicBezTo>
                  <a:pt x="19021" y="0"/>
                  <a:pt x="21397" y="1236"/>
                  <a:pt x="21397" y="2758"/>
                </a:cubicBezTo>
                <a:lnTo>
                  <a:pt x="21397" y="9509"/>
                </a:lnTo>
                <a:cubicBezTo>
                  <a:pt x="21397" y="10039"/>
                  <a:pt x="20619" y="10480"/>
                  <a:pt x="19496" y="10480"/>
                </a:cubicBezTo>
                <a:cubicBezTo>
                  <a:pt x="18416" y="10480"/>
                  <a:pt x="17552" y="10061"/>
                  <a:pt x="17552" y="9509"/>
                </a:cubicBezTo>
                <a:lnTo>
                  <a:pt x="17552" y="3332"/>
                </a:lnTo>
                <a:cubicBezTo>
                  <a:pt x="17552" y="3199"/>
                  <a:pt x="17336" y="3067"/>
                  <a:pt x="17034" y="3067"/>
                </a:cubicBezTo>
                <a:cubicBezTo>
                  <a:pt x="16775" y="3067"/>
                  <a:pt x="16515" y="3155"/>
                  <a:pt x="16515" y="3332"/>
                </a:cubicBezTo>
                <a:lnTo>
                  <a:pt x="16515" y="20034"/>
                </a:lnTo>
                <a:cubicBezTo>
                  <a:pt x="16515" y="20872"/>
                  <a:pt x="15349" y="21556"/>
                  <a:pt x="13880" y="21556"/>
                </a:cubicBezTo>
                <a:cubicBezTo>
                  <a:pt x="12455" y="21556"/>
                  <a:pt x="11202" y="20894"/>
                  <a:pt x="11202" y="20034"/>
                </a:cubicBezTo>
                <a:lnTo>
                  <a:pt x="11202" y="10546"/>
                </a:lnTo>
                <a:cubicBezTo>
                  <a:pt x="11202" y="10414"/>
                  <a:pt x="11029" y="10282"/>
                  <a:pt x="10683" y="10282"/>
                </a:cubicBezTo>
                <a:cubicBezTo>
                  <a:pt x="10424" y="10282"/>
                  <a:pt x="10165" y="10370"/>
                  <a:pt x="10165" y="10546"/>
                </a:cubicBezTo>
                <a:lnTo>
                  <a:pt x="10165" y="20100"/>
                </a:lnTo>
                <a:cubicBezTo>
                  <a:pt x="10165" y="20916"/>
                  <a:pt x="8999" y="21600"/>
                  <a:pt x="7530" y="21600"/>
                </a:cubicBezTo>
                <a:cubicBezTo>
                  <a:pt x="6061" y="21600"/>
                  <a:pt x="4895" y="20938"/>
                  <a:pt x="4895" y="20100"/>
                </a:cubicBezTo>
                <a:lnTo>
                  <a:pt x="4895" y="3354"/>
                </a:lnTo>
                <a:cubicBezTo>
                  <a:pt x="4895" y="3221"/>
                  <a:pt x="4679" y="3089"/>
                  <a:pt x="4376" y="3089"/>
                </a:cubicBezTo>
                <a:cubicBezTo>
                  <a:pt x="4117" y="3089"/>
                  <a:pt x="3858" y="3199"/>
                  <a:pt x="3858" y="3354"/>
                </a:cubicBezTo>
                <a:lnTo>
                  <a:pt x="3858" y="9553"/>
                </a:lnTo>
                <a:cubicBezTo>
                  <a:pt x="3858" y="10083"/>
                  <a:pt x="2994" y="10546"/>
                  <a:pt x="1914" y="10546"/>
                </a:cubicBezTo>
                <a:cubicBezTo>
                  <a:pt x="834" y="10546"/>
                  <a:pt x="13" y="10105"/>
                  <a:pt x="13" y="9553"/>
                </a:cubicBezTo>
                <a:lnTo>
                  <a:pt x="13" y="2780"/>
                </a:lnTo>
                <a:cubicBezTo>
                  <a:pt x="-203" y="1236"/>
                  <a:pt x="2216" y="0"/>
                  <a:pt x="5197" y="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5" name="Shape 2876"/>
          <p:cNvSpPr/>
          <p:nvPr/>
        </p:nvSpPr>
        <p:spPr>
          <a:xfrm>
            <a:off x="4771298" y="4909175"/>
            <a:ext cx="68239" cy="6975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744"/>
                  <a:pt x="21166" y="14472"/>
                  <a:pt x="20189" y="16200"/>
                </a:cubicBezTo>
                <a:cubicBezTo>
                  <a:pt x="19212" y="17928"/>
                  <a:pt x="17910" y="19008"/>
                  <a:pt x="16173" y="20088"/>
                </a:cubicBezTo>
                <a:cubicBezTo>
                  <a:pt x="14545" y="21060"/>
                  <a:pt x="12917" y="21600"/>
                  <a:pt x="10854" y="21600"/>
                </a:cubicBezTo>
                <a:cubicBezTo>
                  <a:pt x="8901" y="21600"/>
                  <a:pt x="7164" y="21060"/>
                  <a:pt x="5427" y="20088"/>
                </a:cubicBezTo>
                <a:cubicBezTo>
                  <a:pt x="3690" y="19008"/>
                  <a:pt x="2388" y="17928"/>
                  <a:pt x="1411" y="16200"/>
                </a:cubicBezTo>
                <a:cubicBezTo>
                  <a:pt x="434" y="14472"/>
                  <a:pt x="0" y="12744"/>
                  <a:pt x="0" y="10800"/>
                </a:cubicBezTo>
                <a:cubicBezTo>
                  <a:pt x="0" y="8856"/>
                  <a:pt x="434" y="7128"/>
                  <a:pt x="1411" y="5400"/>
                </a:cubicBezTo>
                <a:cubicBezTo>
                  <a:pt x="2388" y="3672"/>
                  <a:pt x="3690" y="2376"/>
                  <a:pt x="5427" y="1404"/>
                </a:cubicBezTo>
                <a:cubicBezTo>
                  <a:pt x="7164" y="324"/>
                  <a:pt x="8792" y="0"/>
                  <a:pt x="10854" y="0"/>
                </a:cubicBezTo>
                <a:cubicBezTo>
                  <a:pt x="12808" y="0"/>
                  <a:pt x="14545" y="324"/>
                  <a:pt x="16173" y="1404"/>
                </a:cubicBezTo>
                <a:cubicBezTo>
                  <a:pt x="17910" y="2376"/>
                  <a:pt x="19212" y="3672"/>
                  <a:pt x="20189" y="5400"/>
                </a:cubicBezTo>
                <a:cubicBezTo>
                  <a:pt x="21166" y="7128"/>
                  <a:pt x="21600" y="8856"/>
                  <a:pt x="21600" y="1080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6" name="Shape 2877"/>
          <p:cNvSpPr/>
          <p:nvPr/>
        </p:nvSpPr>
        <p:spPr>
          <a:xfrm>
            <a:off x="4721998" y="4986902"/>
            <a:ext cx="170878" cy="3379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75" h="21600" extrusionOk="0">
                <a:moveTo>
                  <a:pt x="5199" y="0"/>
                </a:moveTo>
                <a:lnTo>
                  <a:pt x="16064" y="0"/>
                </a:lnTo>
                <a:cubicBezTo>
                  <a:pt x="19051" y="0"/>
                  <a:pt x="21475" y="1236"/>
                  <a:pt x="21475" y="2758"/>
                </a:cubicBezTo>
                <a:lnTo>
                  <a:pt x="21475" y="9509"/>
                </a:lnTo>
                <a:cubicBezTo>
                  <a:pt x="21475" y="10039"/>
                  <a:pt x="20609" y="10480"/>
                  <a:pt x="19527" y="10480"/>
                </a:cubicBezTo>
                <a:cubicBezTo>
                  <a:pt x="18445" y="10480"/>
                  <a:pt x="17622" y="10061"/>
                  <a:pt x="17622" y="9509"/>
                </a:cubicBezTo>
                <a:lnTo>
                  <a:pt x="17622" y="3332"/>
                </a:lnTo>
                <a:cubicBezTo>
                  <a:pt x="17622" y="3199"/>
                  <a:pt x="17406" y="3067"/>
                  <a:pt x="17103" y="3067"/>
                </a:cubicBezTo>
                <a:cubicBezTo>
                  <a:pt x="16843" y="3067"/>
                  <a:pt x="16584" y="3155"/>
                  <a:pt x="16584" y="3332"/>
                </a:cubicBezTo>
                <a:lnTo>
                  <a:pt x="16584" y="20034"/>
                </a:lnTo>
                <a:cubicBezTo>
                  <a:pt x="16584" y="20872"/>
                  <a:pt x="15372" y="21556"/>
                  <a:pt x="13900" y="21556"/>
                </a:cubicBezTo>
                <a:cubicBezTo>
                  <a:pt x="12471" y="21556"/>
                  <a:pt x="11259" y="20894"/>
                  <a:pt x="11259" y="20034"/>
                </a:cubicBezTo>
                <a:lnTo>
                  <a:pt x="11259" y="10546"/>
                </a:lnTo>
                <a:cubicBezTo>
                  <a:pt x="11259" y="10414"/>
                  <a:pt x="11043" y="10282"/>
                  <a:pt x="10740" y="10282"/>
                </a:cubicBezTo>
                <a:cubicBezTo>
                  <a:pt x="10480" y="10282"/>
                  <a:pt x="10220" y="10370"/>
                  <a:pt x="10220" y="10546"/>
                </a:cubicBezTo>
                <a:lnTo>
                  <a:pt x="10220" y="20100"/>
                </a:lnTo>
                <a:cubicBezTo>
                  <a:pt x="10220" y="20916"/>
                  <a:pt x="9052" y="21600"/>
                  <a:pt x="7580" y="21600"/>
                </a:cubicBezTo>
                <a:cubicBezTo>
                  <a:pt x="6152" y="21600"/>
                  <a:pt x="4896" y="20938"/>
                  <a:pt x="4896" y="20100"/>
                </a:cubicBezTo>
                <a:lnTo>
                  <a:pt x="4896" y="3354"/>
                </a:lnTo>
                <a:cubicBezTo>
                  <a:pt x="4896" y="3221"/>
                  <a:pt x="4680" y="3089"/>
                  <a:pt x="4377" y="3089"/>
                </a:cubicBezTo>
                <a:cubicBezTo>
                  <a:pt x="4117" y="3089"/>
                  <a:pt x="3857" y="3199"/>
                  <a:pt x="3857" y="3354"/>
                </a:cubicBezTo>
                <a:lnTo>
                  <a:pt x="3857" y="9553"/>
                </a:lnTo>
                <a:cubicBezTo>
                  <a:pt x="3857" y="10083"/>
                  <a:pt x="3078" y="10546"/>
                  <a:pt x="1953" y="10546"/>
                </a:cubicBezTo>
                <a:cubicBezTo>
                  <a:pt x="871" y="10546"/>
                  <a:pt x="5" y="10105"/>
                  <a:pt x="5" y="9553"/>
                </a:cubicBezTo>
                <a:lnTo>
                  <a:pt x="5" y="2780"/>
                </a:lnTo>
                <a:cubicBezTo>
                  <a:pt x="-125" y="1236"/>
                  <a:pt x="2299" y="0"/>
                  <a:pt x="5199" y="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13" name="Shape 1393"/>
          <p:cNvSpPr/>
          <p:nvPr/>
        </p:nvSpPr>
        <p:spPr>
          <a:xfrm>
            <a:off x="2188637" y="462870"/>
            <a:ext cx="4482800" cy="38779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endParaRPr lang="en-US" altLang="de-DE" sz="2800" b="1" dirty="0">
              <a:solidFill>
                <a:srgbClr val="B52227"/>
              </a:solidFill>
              <a:latin typeface="Calibri" pitchFamily="34" charset="0"/>
              <a:ea typeface="+mj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25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Business Plan Development </a:t>
            </a:r>
          </a:p>
        </p:txBody>
      </p:sp>
    </p:spTree>
    <p:extLst>
      <p:ext uri="{BB962C8B-B14F-4D97-AF65-F5344CB8AC3E}">
        <p14:creationId xmlns:p14="http://schemas.microsoft.com/office/powerpoint/2010/main" val="310581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" name="Shape 1369"/>
          <p:cNvSpPr/>
          <p:nvPr/>
        </p:nvSpPr>
        <p:spPr>
          <a:xfrm flipH="1">
            <a:off x="5041681" y="2129272"/>
            <a:ext cx="684360" cy="681478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85" name="Shape 1370"/>
          <p:cNvSpPr/>
          <p:nvPr/>
        </p:nvSpPr>
        <p:spPr>
          <a:xfrm>
            <a:off x="5690023" y="2094694"/>
            <a:ext cx="70269" cy="702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750"/>
                </a:moveTo>
                <a:cubicBezTo>
                  <a:pt x="21600" y="12759"/>
                  <a:pt x="21196" y="14467"/>
                  <a:pt x="20187" y="16175"/>
                </a:cubicBezTo>
                <a:cubicBezTo>
                  <a:pt x="19178" y="17883"/>
                  <a:pt x="18067" y="19088"/>
                  <a:pt x="16250" y="20093"/>
                </a:cubicBezTo>
                <a:cubicBezTo>
                  <a:pt x="14535" y="21098"/>
                  <a:pt x="12819" y="21600"/>
                  <a:pt x="10800" y="21600"/>
                </a:cubicBezTo>
                <a:cubicBezTo>
                  <a:pt x="8781" y="21600"/>
                  <a:pt x="7065" y="21098"/>
                  <a:pt x="5350" y="20093"/>
                </a:cubicBezTo>
                <a:cubicBezTo>
                  <a:pt x="3634" y="19088"/>
                  <a:pt x="2422" y="17883"/>
                  <a:pt x="1413" y="16175"/>
                </a:cubicBezTo>
                <a:cubicBezTo>
                  <a:pt x="404" y="14467"/>
                  <a:pt x="0" y="12659"/>
                  <a:pt x="0" y="10750"/>
                </a:cubicBezTo>
                <a:cubicBezTo>
                  <a:pt x="0" y="8740"/>
                  <a:pt x="404" y="7133"/>
                  <a:pt x="1413" y="5425"/>
                </a:cubicBezTo>
                <a:cubicBezTo>
                  <a:pt x="2422" y="3717"/>
                  <a:pt x="3634" y="2311"/>
                  <a:pt x="5350" y="1407"/>
                </a:cubicBezTo>
                <a:cubicBezTo>
                  <a:pt x="7065" y="402"/>
                  <a:pt x="8781" y="0"/>
                  <a:pt x="10800" y="0"/>
                </a:cubicBezTo>
                <a:cubicBezTo>
                  <a:pt x="12819" y="0"/>
                  <a:pt x="14535" y="402"/>
                  <a:pt x="16250" y="1407"/>
                </a:cubicBezTo>
                <a:cubicBezTo>
                  <a:pt x="18067" y="2311"/>
                  <a:pt x="19178" y="3717"/>
                  <a:pt x="20187" y="5425"/>
                </a:cubicBezTo>
                <a:cubicBezTo>
                  <a:pt x="21196" y="7133"/>
                  <a:pt x="21600" y="8841"/>
                  <a:pt x="21600" y="10750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86" name="Shape 1372"/>
          <p:cNvSpPr/>
          <p:nvPr/>
        </p:nvSpPr>
        <p:spPr>
          <a:xfrm>
            <a:off x="5953281" y="3638664"/>
            <a:ext cx="2265414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2. Business </a:t>
            </a:r>
            <a:r>
              <a:rPr lang="en-US" altLang="de-DE" dirty="0"/>
              <a:t>Concept</a:t>
            </a:r>
          </a:p>
        </p:txBody>
      </p:sp>
      <p:sp>
        <p:nvSpPr>
          <p:cNvPr id="287" name="Shape 1373"/>
          <p:cNvSpPr/>
          <p:nvPr/>
        </p:nvSpPr>
        <p:spPr>
          <a:xfrm flipH="1">
            <a:off x="5221777" y="3244418"/>
            <a:ext cx="965307" cy="1441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88" name="Shape 1374"/>
          <p:cNvSpPr/>
          <p:nvPr/>
        </p:nvSpPr>
        <p:spPr>
          <a:xfrm>
            <a:off x="6151064" y="3209839"/>
            <a:ext cx="70269" cy="702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51"/>
                </a:moveTo>
                <a:cubicBezTo>
                  <a:pt x="21600" y="12879"/>
                  <a:pt x="21196" y="14501"/>
                  <a:pt x="20187" y="16225"/>
                </a:cubicBezTo>
                <a:cubicBezTo>
                  <a:pt x="19178" y="17949"/>
                  <a:pt x="17966" y="19166"/>
                  <a:pt x="16250" y="20180"/>
                </a:cubicBezTo>
                <a:cubicBezTo>
                  <a:pt x="14535" y="21194"/>
                  <a:pt x="12819" y="21600"/>
                  <a:pt x="10800" y="21600"/>
                </a:cubicBezTo>
                <a:cubicBezTo>
                  <a:pt x="8781" y="21600"/>
                  <a:pt x="7065" y="21194"/>
                  <a:pt x="5350" y="20180"/>
                </a:cubicBezTo>
                <a:cubicBezTo>
                  <a:pt x="3634" y="19166"/>
                  <a:pt x="2422" y="17949"/>
                  <a:pt x="1413" y="16225"/>
                </a:cubicBezTo>
                <a:cubicBezTo>
                  <a:pt x="404" y="14501"/>
                  <a:pt x="0" y="12879"/>
                  <a:pt x="0" y="10851"/>
                </a:cubicBezTo>
                <a:cubicBezTo>
                  <a:pt x="0" y="8823"/>
                  <a:pt x="404" y="7200"/>
                  <a:pt x="1413" y="5476"/>
                </a:cubicBezTo>
                <a:cubicBezTo>
                  <a:pt x="2422" y="3651"/>
                  <a:pt x="3634" y="2434"/>
                  <a:pt x="5350" y="1420"/>
                </a:cubicBezTo>
                <a:cubicBezTo>
                  <a:pt x="7065" y="406"/>
                  <a:pt x="8781" y="0"/>
                  <a:pt x="10800" y="0"/>
                </a:cubicBezTo>
                <a:cubicBezTo>
                  <a:pt x="12819" y="0"/>
                  <a:pt x="14535" y="406"/>
                  <a:pt x="16250" y="1420"/>
                </a:cubicBezTo>
                <a:cubicBezTo>
                  <a:pt x="17966" y="2434"/>
                  <a:pt x="19178" y="3651"/>
                  <a:pt x="20187" y="5476"/>
                </a:cubicBezTo>
                <a:cubicBezTo>
                  <a:pt x="21196" y="7200"/>
                  <a:pt x="21600" y="8823"/>
                  <a:pt x="21600" y="10851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89" name="Shape 1376"/>
          <p:cNvSpPr/>
          <p:nvPr/>
        </p:nvSpPr>
        <p:spPr>
          <a:xfrm>
            <a:off x="5448015" y="4718442"/>
            <a:ext cx="2116413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3. Market </a:t>
            </a:r>
            <a:r>
              <a:rPr lang="en-US" altLang="de-DE" dirty="0"/>
              <a:t>Analysis</a:t>
            </a:r>
          </a:p>
        </p:txBody>
      </p:sp>
      <p:sp>
        <p:nvSpPr>
          <p:cNvPr id="290" name="Shape 1377"/>
          <p:cNvSpPr/>
          <p:nvPr/>
        </p:nvSpPr>
        <p:spPr>
          <a:xfrm flipH="1" flipV="1">
            <a:off x="5041681" y="3676644"/>
            <a:ext cx="684360" cy="684360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91" name="Shape 1378"/>
          <p:cNvSpPr/>
          <p:nvPr/>
        </p:nvSpPr>
        <p:spPr>
          <a:xfrm>
            <a:off x="5690023" y="4323544"/>
            <a:ext cx="70269" cy="7027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819"/>
                  <a:pt x="21196" y="14535"/>
                  <a:pt x="20187" y="16250"/>
                </a:cubicBezTo>
                <a:cubicBezTo>
                  <a:pt x="19178" y="17966"/>
                  <a:pt x="18067" y="19178"/>
                  <a:pt x="16250" y="20187"/>
                </a:cubicBezTo>
                <a:cubicBezTo>
                  <a:pt x="14535" y="21196"/>
                  <a:pt x="12819" y="21600"/>
                  <a:pt x="10800" y="21600"/>
                </a:cubicBezTo>
                <a:cubicBezTo>
                  <a:pt x="8781" y="21600"/>
                  <a:pt x="7065" y="21196"/>
                  <a:pt x="5350" y="20187"/>
                </a:cubicBezTo>
                <a:cubicBezTo>
                  <a:pt x="3634" y="19178"/>
                  <a:pt x="2422" y="17966"/>
                  <a:pt x="1413" y="16250"/>
                </a:cubicBezTo>
                <a:cubicBezTo>
                  <a:pt x="404" y="14535"/>
                  <a:pt x="0" y="12819"/>
                  <a:pt x="0" y="10800"/>
                </a:cubicBezTo>
                <a:cubicBezTo>
                  <a:pt x="0" y="8781"/>
                  <a:pt x="404" y="7166"/>
                  <a:pt x="1413" y="5350"/>
                </a:cubicBezTo>
                <a:cubicBezTo>
                  <a:pt x="2422" y="3634"/>
                  <a:pt x="3634" y="2422"/>
                  <a:pt x="5350" y="1413"/>
                </a:cubicBezTo>
                <a:cubicBezTo>
                  <a:pt x="7065" y="404"/>
                  <a:pt x="8781" y="0"/>
                  <a:pt x="10800" y="0"/>
                </a:cubicBezTo>
                <a:cubicBezTo>
                  <a:pt x="12819" y="0"/>
                  <a:pt x="14535" y="404"/>
                  <a:pt x="16250" y="1413"/>
                </a:cubicBezTo>
                <a:cubicBezTo>
                  <a:pt x="18067" y="2422"/>
                  <a:pt x="19178" y="3634"/>
                  <a:pt x="20187" y="5350"/>
                </a:cubicBezTo>
                <a:cubicBezTo>
                  <a:pt x="21196" y="7166"/>
                  <a:pt x="21600" y="8781"/>
                  <a:pt x="21600" y="10800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92" name="Shape 1380"/>
          <p:cNvSpPr/>
          <p:nvPr/>
        </p:nvSpPr>
        <p:spPr>
          <a:xfrm>
            <a:off x="3411426" y="5411949"/>
            <a:ext cx="2501775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4. Management </a:t>
            </a:r>
            <a:r>
              <a:rPr lang="en-US" altLang="de-DE" dirty="0"/>
              <a:t>Team </a:t>
            </a:r>
          </a:p>
        </p:txBody>
      </p:sp>
      <p:sp>
        <p:nvSpPr>
          <p:cNvPr id="293" name="Shape 1381"/>
          <p:cNvSpPr/>
          <p:nvPr/>
        </p:nvSpPr>
        <p:spPr>
          <a:xfrm flipV="1">
            <a:off x="4610895" y="3856740"/>
            <a:ext cx="1442" cy="965307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94" name="Shape 1382"/>
          <p:cNvSpPr/>
          <p:nvPr/>
        </p:nvSpPr>
        <p:spPr>
          <a:xfrm>
            <a:off x="4576318" y="4815760"/>
            <a:ext cx="70269" cy="702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819"/>
                  <a:pt x="21196" y="14535"/>
                  <a:pt x="20187" y="16250"/>
                </a:cubicBezTo>
                <a:cubicBezTo>
                  <a:pt x="19178" y="17966"/>
                  <a:pt x="17966" y="19178"/>
                  <a:pt x="16250" y="20187"/>
                </a:cubicBezTo>
                <a:cubicBezTo>
                  <a:pt x="14434" y="21196"/>
                  <a:pt x="12819" y="21600"/>
                  <a:pt x="10800" y="21600"/>
                </a:cubicBezTo>
                <a:cubicBezTo>
                  <a:pt x="8781" y="21600"/>
                  <a:pt x="7065" y="21196"/>
                  <a:pt x="5350" y="20187"/>
                </a:cubicBezTo>
                <a:cubicBezTo>
                  <a:pt x="3634" y="19178"/>
                  <a:pt x="2422" y="17966"/>
                  <a:pt x="1413" y="16250"/>
                </a:cubicBezTo>
                <a:cubicBezTo>
                  <a:pt x="404" y="14535"/>
                  <a:pt x="0" y="12819"/>
                  <a:pt x="0" y="10800"/>
                </a:cubicBezTo>
                <a:cubicBezTo>
                  <a:pt x="0" y="8781"/>
                  <a:pt x="404" y="7166"/>
                  <a:pt x="1413" y="5350"/>
                </a:cubicBezTo>
                <a:cubicBezTo>
                  <a:pt x="2422" y="3634"/>
                  <a:pt x="3634" y="2422"/>
                  <a:pt x="5350" y="1413"/>
                </a:cubicBezTo>
                <a:cubicBezTo>
                  <a:pt x="7065" y="404"/>
                  <a:pt x="8781" y="0"/>
                  <a:pt x="10800" y="0"/>
                </a:cubicBezTo>
                <a:cubicBezTo>
                  <a:pt x="12819" y="0"/>
                  <a:pt x="14434" y="404"/>
                  <a:pt x="16250" y="1413"/>
                </a:cubicBezTo>
                <a:cubicBezTo>
                  <a:pt x="17966" y="2422"/>
                  <a:pt x="19178" y="3634"/>
                  <a:pt x="20187" y="5350"/>
                </a:cubicBezTo>
                <a:cubicBezTo>
                  <a:pt x="21196" y="7166"/>
                  <a:pt x="21600" y="8781"/>
                  <a:pt x="21600" y="10800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95" name="Shape 1386"/>
          <p:cNvSpPr/>
          <p:nvPr/>
        </p:nvSpPr>
        <p:spPr>
          <a:xfrm flipV="1">
            <a:off x="3495750" y="3676644"/>
            <a:ext cx="681478" cy="684360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96" name="Shape 1387"/>
          <p:cNvSpPr/>
          <p:nvPr/>
        </p:nvSpPr>
        <p:spPr>
          <a:xfrm>
            <a:off x="3461173" y="4323544"/>
            <a:ext cx="70269" cy="7027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819"/>
                  <a:pt x="21196" y="14535"/>
                  <a:pt x="20187" y="16250"/>
                </a:cubicBezTo>
                <a:cubicBezTo>
                  <a:pt x="19178" y="17966"/>
                  <a:pt x="17966" y="19178"/>
                  <a:pt x="16250" y="20187"/>
                </a:cubicBezTo>
                <a:cubicBezTo>
                  <a:pt x="14434" y="21196"/>
                  <a:pt x="12819" y="21600"/>
                  <a:pt x="10800" y="21600"/>
                </a:cubicBezTo>
                <a:cubicBezTo>
                  <a:pt x="8781" y="21600"/>
                  <a:pt x="7065" y="21196"/>
                  <a:pt x="5350" y="20187"/>
                </a:cubicBezTo>
                <a:cubicBezTo>
                  <a:pt x="3634" y="19178"/>
                  <a:pt x="2422" y="17966"/>
                  <a:pt x="1413" y="16250"/>
                </a:cubicBezTo>
                <a:cubicBezTo>
                  <a:pt x="404" y="14535"/>
                  <a:pt x="0" y="12819"/>
                  <a:pt x="0" y="10800"/>
                </a:cubicBezTo>
                <a:cubicBezTo>
                  <a:pt x="0" y="8781"/>
                  <a:pt x="404" y="7166"/>
                  <a:pt x="1413" y="5350"/>
                </a:cubicBezTo>
                <a:cubicBezTo>
                  <a:pt x="2422" y="3634"/>
                  <a:pt x="3634" y="2422"/>
                  <a:pt x="5350" y="1413"/>
                </a:cubicBezTo>
                <a:cubicBezTo>
                  <a:pt x="7065" y="404"/>
                  <a:pt x="8781" y="0"/>
                  <a:pt x="10800" y="0"/>
                </a:cubicBezTo>
                <a:cubicBezTo>
                  <a:pt x="12819" y="0"/>
                  <a:pt x="14434" y="404"/>
                  <a:pt x="16250" y="1413"/>
                </a:cubicBezTo>
                <a:cubicBezTo>
                  <a:pt x="17966" y="2422"/>
                  <a:pt x="19178" y="3634"/>
                  <a:pt x="20187" y="5350"/>
                </a:cubicBezTo>
                <a:cubicBezTo>
                  <a:pt x="21196" y="7166"/>
                  <a:pt x="21600" y="8781"/>
                  <a:pt x="21600" y="10800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97" name="Shape 1388"/>
          <p:cNvSpPr/>
          <p:nvPr/>
        </p:nvSpPr>
        <p:spPr>
          <a:xfrm>
            <a:off x="3045566" y="4336472"/>
            <a:ext cx="349778" cy="30943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484"/>
                </a:moveTo>
                <a:lnTo>
                  <a:pt x="21600" y="20116"/>
                </a:lnTo>
                <a:cubicBezTo>
                  <a:pt x="21600" y="20938"/>
                  <a:pt x="21036" y="21600"/>
                  <a:pt x="20290" y="21600"/>
                </a:cubicBezTo>
                <a:lnTo>
                  <a:pt x="1310" y="21600"/>
                </a:lnTo>
                <a:cubicBezTo>
                  <a:pt x="564" y="21600"/>
                  <a:pt x="0" y="20938"/>
                  <a:pt x="0" y="20116"/>
                </a:cubicBezTo>
                <a:lnTo>
                  <a:pt x="0" y="1484"/>
                </a:lnTo>
                <a:cubicBezTo>
                  <a:pt x="0" y="639"/>
                  <a:pt x="564" y="0"/>
                  <a:pt x="1310" y="0"/>
                </a:cubicBezTo>
                <a:lnTo>
                  <a:pt x="20290" y="0"/>
                </a:lnTo>
                <a:cubicBezTo>
                  <a:pt x="20975" y="0"/>
                  <a:pt x="21600" y="708"/>
                  <a:pt x="21600" y="1484"/>
                </a:cubicBezTo>
                <a:close/>
                <a:moveTo>
                  <a:pt x="16200" y="2009"/>
                </a:moveTo>
                <a:cubicBezTo>
                  <a:pt x="16200" y="2512"/>
                  <a:pt x="16603" y="2968"/>
                  <a:pt x="17066" y="2968"/>
                </a:cubicBezTo>
                <a:cubicBezTo>
                  <a:pt x="17510" y="2968"/>
                  <a:pt x="17913" y="2512"/>
                  <a:pt x="17913" y="2009"/>
                </a:cubicBezTo>
                <a:cubicBezTo>
                  <a:pt x="17913" y="1484"/>
                  <a:pt x="17510" y="1027"/>
                  <a:pt x="17066" y="1027"/>
                </a:cubicBezTo>
                <a:cubicBezTo>
                  <a:pt x="16603" y="1027"/>
                  <a:pt x="16200" y="1416"/>
                  <a:pt x="16200" y="2009"/>
                </a:cubicBezTo>
                <a:close/>
                <a:moveTo>
                  <a:pt x="13822" y="2009"/>
                </a:moveTo>
                <a:cubicBezTo>
                  <a:pt x="13822" y="2512"/>
                  <a:pt x="14205" y="2968"/>
                  <a:pt x="14669" y="2968"/>
                </a:cubicBezTo>
                <a:cubicBezTo>
                  <a:pt x="15132" y="2968"/>
                  <a:pt x="15515" y="2512"/>
                  <a:pt x="15515" y="2009"/>
                </a:cubicBezTo>
                <a:cubicBezTo>
                  <a:pt x="15515" y="1484"/>
                  <a:pt x="15132" y="1027"/>
                  <a:pt x="14669" y="1027"/>
                </a:cubicBezTo>
                <a:cubicBezTo>
                  <a:pt x="14205" y="1027"/>
                  <a:pt x="13822" y="1416"/>
                  <a:pt x="13822" y="2009"/>
                </a:cubicBezTo>
                <a:close/>
                <a:moveTo>
                  <a:pt x="20290" y="3927"/>
                </a:moveTo>
                <a:lnTo>
                  <a:pt x="1310" y="3927"/>
                </a:lnTo>
                <a:lnTo>
                  <a:pt x="1310" y="20230"/>
                </a:lnTo>
                <a:lnTo>
                  <a:pt x="20290" y="20230"/>
                </a:lnTo>
                <a:lnTo>
                  <a:pt x="20290" y="3927"/>
                </a:lnTo>
                <a:close/>
                <a:moveTo>
                  <a:pt x="20290" y="2009"/>
                </a:moveTo>
                <a:cubicBezTo>
                  <a:pt x="20290" y="1484"/>
                  <a:pt x="19887" y="1027"/>
                  <a:pt x="19444" y="1027"/>
                </a:cubicBezTo>
                <a:cubicBezTo>
                  <a:pt x="18981" y="1027"/>
                  <a:pt x="18598" y="1484"/>
                  <a:pt x="18598" y="2009"/>
                </a:cubicBezTo>
                <a:cubicBezTo>
                  <a:pt x="18598" y="2512"/>
                  <a:pt x="18981" y="2968"/>
                  <a:pt x="19444" y="2968"/>
                </a:cubicBezTo>
                <a:cubicBezTo>
                  <a:pt x="19887" y="2968"/>
                  <a:pt x="20290" y="2512"/>
                  <a:pt x="20290" y="2009"/>
                </a:cubicBezTo>
                <a:close/>
                <a:moveTo>
                  <a:pt x="8019" y="6896"/>
                </a:moveTo>
                <a:lnTo>
                  <a:pt x="14669" y="6896"/>
                </a:lnTo>
                <a:lnTo>
                  <a:pt x="14669" y="5480"/>
                </a:lnTo>
                <a:lnTo>
                  <a:pt x="8019" y="5480"/>
                </a:lnTo>
                <a:lnTo>
                  <a:pt x="8019" y="6896"/>
                </a:lnTo>
                <a:close/>
                <a:moveTo>
                  <a:pt x="10639" y="10115"/>
                </a:moveTo>
                <a:lnTo>
                  <a:pt x="19041" y="10115"/>
                </a:lnTo>
                <a:lnTo>
                  <a:pt x="19041" y="8699"/>
                </a:lnTo>
                <a:lnTo>
                  <a:pt x="10639" y="8699"/>
                </a:lnTo>
                <a:lnTo>
                  <a:pt x="10639" y="10115"/>
                </a:lnTo>
                <a:close/>
                <a:moveTo>
                  <a:pt x="10639" y="12946"/>
                </a:moveTo>
                <a:lnTo>
                  <a:pt x="19041" y="12946"/>
                </a:lnTo>
                <a:lnTo>
                  <a:pt x="19041" y="11531"/>
                </a:lnTo>
                <a:lnTo>
                  <a:pt x="10639" y="11531"/>
                </a:lnTo>
                <a:lnTo>
                  <a:pt x="10639" y="12946"/>
                </a:lnTo>
                <a:close/>
                <a:moveTo>
                  <a:pt x="10639" y="15800"/>
                </a:moveTo>
                <a:lnTo>
                  <a:pt x="19041" y="15800"/>
                </a:lnTo>
                <a:lnTo>
                  <a:pt x="19041" y="14385"/>
                </a:lnTo>
                <a:lnTo>
                  <a:pt x="10639" y="14385"/>
                </a:lnTo>
                <a:lnTo>
                  <a:pt x="10639" y="15800"/>
                </a:lnTo>
                <a:close/>
                <a:moveTo>
                  <a:pt x="2438" y="18632"/>
                </a:moveTo>
                <a:lnTo>
                  <a:pt x="19001" y="18632"/>
                </a:lnTo>
                <a:lnTo>
                  <a:pt x="19001" y="17216"/>
                </a:lnTo>
                <a:lnTo>
                  <a:pt x="2438" y="17216"/>
                </a:lnTo>
                <a:lnTo>
                  <a:pt x="2438" y="18632"/>
                </a:lnTo>
                <a:close/>
                <a:moveTo>
                  <a:pt x="2438" y="15732"/>
                </a:moveTo>
                <a:lnTo>
                  <a:pt x="8362" y="15732"/>
                </a:lnTo>
                <a:lnTo>
                  <a:pt x="8362" y="8768"/>
                </a:lnTo>
                <a:lnTo>
                  <a:pt x="2438" y="8768"/>
                </a:lnTo>
                <a:lnTo>
                  <a:pt x="2438" y="15732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98" name="Shape 1389"/>
          <p:cNvSpPr/>
          <p:nvPr/>
        </p:nvSpPr>
        <p:spPr>
          <a:xfrm>
            <a:off x="755576" y="3631154"/>
            <a:ext cx="1963555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6. Financial </a:t>
            </a:r>
            <a:r>
              <a:rPr lang="en-US" altLang="de-DE" dirty="0"/>
              <a:t>Plan</a:t>
            </a:r>
          </a:p>
        </p:txBody>
      </p:sp>
      <p:sp>
        <p:nvSpPr>
          <p:cNvPr id="299" name="Shape 1390"/>
          <p:cNvSpPr/>
          <p:nvPr/>
        </p:nvSpPr>
        <p:spPr>
          <a:xfrm>
            <a:off x="3033268" y="3244418"/>
            <a:ext cx="963866" cy="1441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300" name="Shape 1391"/>
          <p:cNvSpPr/>
          <p:nvPr/>
        </p:nvSpPr>
        <p:spPr>
          <a:xfrm>
            <a:off x="2998690" y="3209839"/>
            <a:ext cx="70269" cy="702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51"/>
                </a:moveTo>
                <a:cubicBezTo>
                  <a:pt x="21600" y="12879"/>
                  <a:pt x="21196" y="14501"/>
                  <a:pt x="20187" y="16225"/>
                </a:cubicBezTo>
                <a:cubicBezTo>
                  <a:pt x="19178" y="17949"/>
                  <a:pt x="17966" y="19166"/>
                  <a:pt x="16250" y="20180"/>
                </a:cubicBezTo>
                <a:cubicBezTo>
                  <a:pt x="14535" y="21194"/>
                  <a:pt x="12819" y="21600"/>
                  <a:pt x="10800" y="21600"/>
                </a:cubicBezTo>
                <a:cubicBezTo>
                  <a:pt x="8781" y="21600"/>
                  <a:pt x="7065" y="21194"/>
                  <a:pt x="5350" y="20180"/>
                </a:cubicBezTo>
                <a:cubicBezTo>
                  <a:pt x="3533" y="19166"/>
                  <a:pt x="2422" y="17949"/>
                  <a:pt x="1413" y="16225"/>
                </a:cubicBezTo>
                <a:cubicBezTo>
                  <a:pt x="404" y="14501"/>
                  <a:pt x="0" y="12879"/>
                  <a:pt x="0" y="10851"/>
                </a:cubicBezTo>
                <a:cubicBezTo>
                  <a:pt x="0" y="8823"/>
                  <a:pt x="404" y="7200"/>
                  <a:pt x="1413" y="5476"/>
                </a:cubicBezTo>
                <a:cubicBezTo>
                  <a:pt x="2422" y="3651"/>
                  <a:pt x="3533" y="2434"/>
                  <a:pt x="5350" y="1420"/>
                </a:cubicBezTo>
                <a:cubicBezTo>
                  <a:pt x="7065" y="406"/>
                  <a:pt x="8781" y="0"/>
                  <a:pt x="10800" y="0"/>
                </a:cubicBezTo>
                <a:cubicBezTo>
                  <a:pt x="12819" y="0"/>
                  <a:pt x="14535" y="406"/>
                  <a:pt x="16250" y="1420"/>
                </a:cubicBezTo>
                <a:cubicBezTo>
                  <a:pt x="17966" y="2434"/>
                  <a:pt x="19178" y="3651"/>
                  <a:pt x="20187" y="5476"/>
                </a:cubicBezTo>
                <a:cubicBezTo>
                  <a:pt x="21196" y="7200"/>
                  <a:pt x="21600" y="8823"/>
                  <a:pt x="21600" y="10851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04" name="Shape 1396"/>
          <p:cNvSpPr/>
          <p:nvPr/>
        </p:nvSpPr>
        <p:spPr>
          <a:xfrm>
            <a:off x="3557703" y="2191225"/>
            <a:ext cx="2106060" cy="21060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2"/>
                </a:moveTo>
                <a:cubicBezTo>
                  <a:pt x="21600" y="12786"/>
                  <a:pt x="21148" y="14482"/>
                  <a:pt x="20152" y="16201"/>
                </a:cubicBezTo>
                <a:cubicBezTo>
                  <a:pt x="19157" y="17923"/>
                  <a:pt x="17920" y="19160"/>
                  <a:pt x="16197" y="20152"/>
                </a:cubicBezTo>
                <a:cubicBezTo>
                  <a:pt x="14478" y="21148"/>
                  <a:pt x="12786" y="21600"/>
                  <a:pt x="10802" y="21600"/>
                </a:cubicBezTo>
                <a:cubicBezTo>
                  <a:pt x="8814" y="21600"/>
                  <a:pt x="7118" y="21148"/>
                  <a:pt x="5399" y="20152"/>
                </a:cubicBezTo>
                <a:cubicBezTo>
                  <a:pt x="3677" y="19160"/>
                  <a:pt x="2440" y="17923"/>
                  <a:pt x="1448" y="16201"/>
                </a:cubicBezTo>
                <a:cubicBezTo>
                  <a:pt x="452" y="14482"/>
                  <a:pt x="0" y="12786"/>
                  <a:pt x="0" y="10802"/>
                </a:cubicBezTo>
                <a:cubicBezTo>
                  <a:pt x="0" y="8814"/>
                  <a:pt x="452" y="7125"/>
                  <a:pt x="1448" y="5403"/>
                </a:cubicBezTo>
                <a:cubicBezTo>
                  <a:pt x="2440" y="3680"/>
                  <a:pt x="3677" y="2440"/>
                  <a:pt x="5399" y="1448"/>
                </a:cubicBezTo>
                <a:cubicBezTo>
                  <a:pt x="7118" y="452"/>
                  <a:pt x="8814" y="0"/>
                  <a:pt x="10802" y="0"/>
                </a:cubicBezTo>
                <a:cubicBezTo>
                  <a:pt x="12786" y="0"/>
                  <a:pt x="14478" y="452"/>
                  <a:pt x="16197" y="1448"/>
                </a:cubicBezTo>
                <a:cubicBezTo>
                  <a:pt x="17920" y="2440"/>
                  <a:pt x="19157" y="3680"/>
                  <a:pt x="20152" y="5403"/>
                </a:cubicBezTo>
                <a:cubicBezTo>
                  <a:pt x="21148" y="7125"/>
                  <a:pt x="21600" y="8814"/>
                  <a:pt x="21600" y="10802"/>
                </a:cubicBezTo>
              </a:path>
            </a:pathLst>
          </a:custGeom>
          <a:solidFill>
            <a:schemeClr val="tx2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pSp>
        <p:nvGrpSpPr>
          <p:cNvPr id="305" name="Group 1484"/>
          <p:cNvGrpSpPr/>
          <p:nvPr/>
        </p:nvGrpSpPr>
        <p:grpSpPr>
          <a:xfrm>
            <a:off x="3832889" y="2668116"/>
            <a:ext cx="1569599" cy="1196741"/>
            <a:chOff x="0" y="0"/>
            <a:chExt cx="2232318" cy="1702030"/>
          </a:xfrm>
        </p:grpSpPr>
        <p:sp>
          <p:nvSpPr>
            <p:cNvPr id="306" name="Shape 1397"/>
            <p:cNvSpPr/>
            <p:nvPr/>
          </p:nvSpPr>
          <p:spPr>
            <a:xfrm>
              <a:off x="1096685" y="1529186"/>
              <a:ext cx="299890" cy="1728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63" h="19639" extrusionOk="0">
                  <a:moveTo>
                    <a:pt x="2906" y="16748"/>
                  </a:moveTo>
                  <a:cubicBezTo>
                    <a:pt x="-969" y="12892"/>
                    <a:pt x="-969" y="6608"/>
                    <a:pt x="2906" y="2911"/>
                  </a:cubicBezTo>
                  <a:cubicBezTo>
                    <a:pt x="6689" y="-997"/>
                    <a:pt x="12912" y="-944"/>
                    <a:pt x="16756" y="2911"/>
                  </a:cubicBezTo>
                  <a:cubicBezTo>
                    <a:pt x="20631" y="6819"/>
                    <a:pt x="20631" y="12892"/>
                    <a:pt x="16756" y="16748"/>
                  </a:cubicBezTo>
                  <a:cubicBezTo>
                    <a:pt x="13004" y="20603"/>
                    <a:pt x="6780" y="20603"/>
                    <a:pt x="2906" y="16748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7" name="Shape 1398"/>
            <p:cNvSpPr/>
            <p:nvPr/>
          </p:nvSpPr>
          <p:spPr>
            <a:xfrm>
              <a:off x="0" y="866759"/>
              <a:ext cx="1251521" cy="7269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00" y="19462"/>
                  </a:moveTo>
                  <a:cubicBezTo>
                    <a:pt x="18434" y="20510"/>
                    <a:pt x="16983" y="20828"/>
                    <a:pt x="16262" y="20124"/>
                  </a:cubicBezTo>
                  <a:cubicBezTo>
                    <a:pt x="15853" y="19697"/>
                    <a:pt x="15765" y="19076"/>
                    <a:pt x="15990" y="18372"/>
                  </a:cubicBezTo>
                  <a:lnTo>
                    <a:pt x="15316" y="17710"/>
                  </a:lnTo>
                  <a:lnTo>
                    <a:pt x="11421" y="21600"/>
                  </a:lnTo>
                  <a:lnTo>
                    <a:pt x="6901" y="17117"/>
                  </a:lnTo>
                  <a:lnTo>
                    <a:pt x="7558" y="16469"/>
                  </a:lnTo>
                  <a:cubicBezTo>
                    <a:pt x="8255" y="16690"/>
                    <a:pt x="8913" y="16621"/>
                    <a:pt x="9321" y="16193"/>
                  </a:cubicBezTo>
                  <a:cubicBezTo>
                    <a:pt x="10043" y="15490"/>
                    <a:pt x="9730" y="14014"/>
                    <a:pt x="8664" y="12966"/>
                  </a:cubicBezTo>
                  <a:cubicBezTo>
                    <a:pt x="7574" y="11903"/>
                    <a:pt x="6131" y="11600"/>
                    <a:pt x="5426" y="12303"/>
                  </a:cubicBezTo>
                  <a:cubicBezTo>
                    <a:pt x="5025" y="12731"/>
                    <a:pt x="4953" y="13393"/>
                    <a:pt x="5154" y="14055"/>
                  </a:cubicBezTo>
                  <a:lnTo>
                    <a:pt x="4520" y="14676"/>
                  </a:lnTo>
                  <a:lnTo>
                    <a:pt x="0" y="10193"/>
                  </a:lnTo>
                  <a:lnTo>
                    <a:pt x="3887" y="6303"/>
                  </a:lnTo>
                  <a:lnTo>
                    <a:pt x="3214" y="5641"/>
                  </a:lnTo>
                  <a:cubicBezTo>
                    <a:pt x="2509" y="5876"/>
                    <a:pt x="1851" y="5793"/>
                    <a:pt x="1451" y="5366"/>
                  </a:cubicBezTo>
                  <a:cubicBezTo>
                    <a:pt x="721" y="4662"/>
                    <a:pt x="1018" y="3186"/>
                    <a:pt x="2084" y="2138"/>
                  </a:cubicBezTo>
                  <a:cubicBezTo>
                    <a:pt x="3142" y="1090"/>
                    <a:pt x="4593" y="772"/>
                    <a:pt x="5314" y="1476"/>
                  </a:cubicBezTo>
                  <a:cubicBezTo>
                    <a:pt x="5723" y="1903"/>
                    <a:pt x="5811" y="2566"/>
                    <a:pt x="5586" y="3228"/>
                  </a:cubicBezTo>
                  <a:lnTo>
                    <a:pt x="6268" y="3890"/>
                  </a:lnTo>
                  <a:lnTo>
                    <a:pt x="10155" y="0"/>
                  </a:lnTo>
                  <a:lnTo>
                    <a:pt x="14683" y="4469"/>
                  </a:lnTo>
                  <a:lnTo>
                    <a:pt x="14026" y="5131"/>
                  </a:lnTo>
                  <a:cubicBezTo>
                    <a:pt x="13321" y="4897"/>
                    <a:pt x="12663" y="4979"/>
                    <a:pt x="12263" y="5407"/>
                  </a:cubicBezTo>
                  <a:cubicBezTo>
                    <a:pt x="11557" y="6110"/>
                    <a:pt x="11854" y="7586"/>
                    <a:pt x="12912" y="8634"/>
                  </a:cubicBezTo>
                  <a:cubicBezTo>
                    <a:pt x="14002" y="9683"/>
                    <a:pt x="15453" y="10000"/>
                    <a:pt x="16150" y="9297"/>
                  </a:cubicBezTo>
                  <a:cubicBezTo>
                    <a:pt x="16559" y="8869"/>
                    <a:pt x="16623" y="8248"/>
                    <a:pt x="16422" y="7545"/>
                  </a:cubicBezTo>
                  <a:lnTo>
                    <a:pt x="17080" y="6883"/>
                  </a:lnTo>
                  <a:lnTo>
                    <a:pt x="21600" y="11366"/>
                  </a:lnTo>
                  <a:lnTo>
                    <a:pt x="17713" y="15255"/>
                  </a:lnTo>
                  <a:lnTo>
                    <a:pt x="18386" y="15917"/>
                  </a:lnTo>
                  <a:cubicBezTo>
                    <a:pt x="19091" y="15683"/>
                    <a:pt x="19749" y="15766"/>
                    <a:pt x="20157" y="16193"/>
                  </a:cubicBezTo>
                  <a:cubicBezTo>
                    <a:pt x="20879" y="16924"/>
                    <a:pt x="20582" y="18372"/>
                    <a:pt x="19500" y="19462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8" name="Shape 1399"/>
            <p:cNvSpPr/>
            <p:nvPr/>
          </p:nvSpPr>
          <p:spPr>
            <a:xfrm>
              <a:off x="1100353" y="940525"/>
              <a:ext cx="38475" cy="97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086" y="16639"/>
                  </a:lnTo>
                  <a:lnTo>
                    <a:pt x="0" y="21600"/>
                  </a:lnTo>
                  <a:lnTo>
                    <a:pt x="0" y="4961"/>
                  </a:lnTo>
                  <a:lnTo>
                    <a:pt x="21600" y="0"/>
                  </a:lnTo>
                </a:path>
              </a:pathLst>
            </a:custGeom>
            <a:solidFill>
              <a:srgbClr val="4751A3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9" name="Shape 1400"/>
            <p:cNvSpPr/>
            <p:nvPr/>
          </p:nvSpPr>
          <p:spPr>
            <a:xfrm>
              <a:off x="829875" y="930280"/>
              <a:ext cx="280259" cy="1839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6781"/>
                  </a:moveTo>
                  <a:lnTo>
                    <a:pt x="21600" y="15749"/>
                  </a:lnTo>
                  <a:cubicBezTo>
                    <a:pt x="21600" y="16077"/>
                    <a:pt x="21600" y="16241"/>
                    <a:pt x="21492" y="16514"/>
                  </a:cubicBezTo>
                  <a:cubicBezTo>
                    <a:pt x="21492" y="16678"/>
                    <a:pt x="21492" y="16678"/>
                    <a:pt x="21385" y="16843"/>
                  </a:cubicBezTo>
                  <a:lnTo>
                    <a:pt x="21385" y="17007"/>
                  </a:lnTo>
                  <a:cubicBezTo>
                    <a:pt x="21385" y="17007"/>
                    <a:pt x="21385" y="17116"/>
                    <a:pt x="21277" y="17116"/>
                  </a:cubicBezTo>
                  <a:cubicBezTo>
                    <a:pt x="21169" y="17280"/>
                    <a:pt x="21169" y="17608"/>
                    <a:pt x="21062" y="17772"/>
                  </a:cubicBezTo>
                  <a:cubicBezTo>
                    <a:pt x="21062" y="17772"/>
                    <a:pt x="21062" y="17936"/>
                    <a:pt x="20990" y="17936"/>
                  </a:cubicBezTo>
                  <a:cubicBezTo>
                    <a:pt x="20990" y="18046"/>
                    <a:pt x="20990" y="18046"/>
                    <a:pt x="20882" y="18046"/>
                  </a:cubicBezTo>
                  <a:cubicBezTo>
                    <a:pt x="20775" y="18210"/>
                    <a:pt x="20775" y="18210"/>
                    <a:pt x="20775" y="18374"/>
                  </a:cubicBezTo>
                  <a:cubicBezTo>
                    <a:pt x="20667" y="18538"/>
                    <a:pt x="20559" y="18866"/>
                    <a:pt x="20380" y="18975"/>
                  </a:cubicBezTo>
                  <a:cubicBezTo>
                    <a:pt x="20380" y="18975"/>
                    <a:pt x="20272" y="18975"/>
                    <a:pt x="20272" y="19139"/>
                  </a:cubicBezTo>
                  <a:cubicBezTo>
                    <a:pt x="20057" y="19467"/>
                    <a:pt x="19878" y="19631"/>
                    <a:pt x="19662" y="19905"/>
                  </a:cubicBezTo>
                  <a:cubicBezTo>
                    <a:pt x="19662" y="19905"/>
                    <a:pt x="19555" y="19905"/>
                    <a:pt x="19555" y="20069"/>
                  </a:cubicBezTo>
                  <a:cubicBezTo>
                    <a:pt x="19340" y="20233"/>
                    <a:pt x="19160" y="20397"/>
                    <a:pt x="18945" y="20561"/>
                  </a:cubicBezTo>
                  <a:cubicBezTo>
                    <a:pt x="18837" y="20561"/>
                    <a:pt x="18765" y="20670"/>
                    <a:pt x="18765" y="20670"/>
                  </a:cubicBezTo>
                  <a:cubicBezTo>
                    <a:pt x="18658" y="20834"/>
                    <a:pt x="18443" y="20834"/>
                    <a:pt x="18335" y="20998"/>
                  </a:cubicBezTo>
                  <a:cubicBezTo>
                    <a:pt x="18335" y="20998"/>
                    <a:pt x="18335" y="20998"/>
                    <a:pt x="18227" y="20998"/>
                  </a:cubicBezTo>
                  <a:cubicBezTo>
                    <a:pt x="17940" y="21163"/>
                    <a:pt x="17546" y="21327"/>
                    <a:pt x="17223" y="21491"/>
                  </a:cubicBezTo>
                  <a:lnTo>
                    <a:pt x="16828" y="21491"/>
                  </a:lnTo>
                  <a:cubicBezTo>
                    <a:pt x="16613" y="21491"/>
                    <a:pt x="16505" y="21600"/>
                    <a:pt x="16326" y="21600"/>
                  </a:cubicBezTo>
                  <a:lnTo>
                    <a:pt x="12989" y="21600"/>
                  </a:lnTo>
                  <a:cubicBezTo>
                    <a:pt x="12773" y="21600"/>
                    <a:pt x="12558" y="21491"/>
                    <a:pt x="12379" y="21491"/>
                  </a:cubicBezTo>
                  <a:lnTo>
                    <a:pt x="11948" y="21491"/>
                  </a:lnTo>
                  <a:cubicBezTo>
                    <a:pt x="11661" y="21491"/>
                    <a:pt x="11446" y="21327"/>
                    <a:pt x="11159" y="21327"/>
                  </a:cubicBezTo>
                  <a:cubicBezTo>
                    <a:pt x="11051" y="21327"/>
                    <a:pt x="10944" y="21327"/>
                    <a:pt x="10836" y="21163"/>
                  </a:cubicBezTo>
                  <a:lnTo>
                    <a:pt x="10764" y="21163"/>
                  </a:lnTo>
                  <a:cubicBezTo>
                    <a:pt x="10334" y="20998"/>
                    <a:pt x="9831" y="20834"/>
                    <a:pt x="9437" y="20670"/>
                  </a:cubicBezTo>
                  <a:lnTo>
                    <a:pt x="9329" y="20670"/>
                  </a:lnTo>
                  <a:cubicBezTo>
                    <a:pt x="9221" y="20670"/>
                    <a:pt x="9221" y="20561"/>
                    <a:pt x="9221" y="20561"/>
                  </a:cubicBezTo>
                  <a:cubicBezTo>
                    <a:pt x="8611" y="20233"/>
                    <a:pt x="8001" y="19905"/>
                    <a:pt x="7391" y="19631"/>
                  </a:cubicBezTo>
                  <a:lnTo>
                    <a:pt x="7320" y="19631"/>
                  </a:lnTo>
                  <a:cubicBezTo>
                    <a:pt x="7212" y="19631"/>
                    <a:pt x="7212" y="19467"/>
                    <a:pt x="7104" y="19467"/>
                  </a:cubicBezTo>
                  <a:cubicBezTo>
                    <a:pt x="6817" y="19303"/>
                    <a:pt x="6494" y="18975"/>
                    <a:pt x="6207" y="18866"/>
                  </a:cubicBezTo>
                  <a:cubicBezTo>
                    <a:pt x="6100" y="18702"/>
                    <a:pt x="5992" y="18702"/>
                    <a:pt x="5884" y="18538"/>
                  </a:cubicBezTo>
                  <a:cubicBezTo>
                    <a:pt x="5490" y="18210"/>
                    <a:pt x="5095" y="17936"/>
                    <a:pt x="4772" y="17608"/>
                  </a:cubicBezTo>
                  <a:cubicBezTo>
                    <a:pt x="1722" y="14983"/>
                    <a:pt x="0" y="11593"/>
                    <a:pt x="0" y="8804"/>
                  </a:cubicBezTo>
                  <a:lnTo>
                    <a:pt x="0" y="0"/>
                  </a:lnTo>
                  <a:cubicBezTo>
                    <a:pt x="0" y="2789"/>
                    <a:pt x="1650" y="6015"/>
                    <a:pt x="4772" y="8804"/>
                  </a:cubicBezTo>
                  <a:cubicBezTo>
                    <a:pt x="5167" y="9132"/>
                    <a:pt x="5490" y="9406"/>
                    <a:pt x="5884" y="9734"/>
                  </a:cubicBezTo>
                  <a:cubicBezTo>
                    <a:pt x="5992" y="9898"/>
                    <a:pt x="6100" y="9898"/>
                    <a:pt x="6207" y="10062"/>
                  </a:cubicBezTo>
                  <a:cubicBezTo>
                    <a:pt x="6494" y="10335"/>
                    <a:pt x="6817" y="10499"/>
                    <a:pt x="7104" y="10663"/>
                  </a:cubicBezTo>
                  <a:cubicBezTo>
                    <a:pt x="7212" y="10663"/>
                    <a:pt x="7320" y="10827"/>
                    <a:pt x="7391" y="10827"/>
                  </a:cubicBezTo>
                  <a:cubicBezTo>
                    <a:pt x="8001" y="11101"/>
                    <a:pt x="8611" y="11429"/>
                    <a:pt x="9221" y="11757"/>
                  </a:cubicBezTo>
                  <a:cubicBezTo>
                    <a:pt x="9329" y="11757"/>
                    <a:pt x="9329" y="11921"/>
                    <a:pt x="9437" y="11921"/>
                  </a:cubicBezTo>
                  <a:cubicBezTo>
                    <a:pt x="9831" y="12030"/>
                    <a:pt x="10334" y="12194"/>
                    <a:pt x="10764" y="12358"/>
                  </a:cubicBezTo>
                  <a:cubicBezTo>
                    <a:pt x="10836" y="12358"/>
                    <a:pt x="10944" y="12523"/>
                    <a:pt x="11051" y="12523"/>
                  </a:cubicBezTo>
                  <a:cubicBezTo>
                    <a:pt x="11374" y="12687"/>
                    <a:pt x="11553" y="12687"/>
                    <a:pt x="11876" y="12687"/>
                  </a:cubicBezTo>
                  <a:cubicBezTo>
                    <a:pt x="11948" y="12687"/>
                    <a:pt x="12163" y="12687"/>
                    <a:pt x="12271" y="12796"/>
                  </a:cubicBezTo>
                  <a:cubicBezTo>
                    <a:pt x="12486" y="12796"/>
                    <a:pt x="12666" y="12960"/>
                    <a:pt x="12881" y="12960"/>
                  </a:cubicBezTo>
                  <a:cubicBezTo>
                    <a:pt x="13096" y="12960"/>
                    <a:pt x="13168" y="13124"/>
                    <a:pt x="13276" y="13124"/>
                  </a:cubicBezTo>
                  <a:lnTo>
                    <a:pt x="15608" y="13124"/>
                  </a:lnTo>
                  <a:cubicBezTo>
                    <a:pt x="15823" y="13124"/>
                    <a:pt x="15895" y="13124"/>
                    <a:pt x="16003" y="12960"/>
                  </a:cubicBezTo>
                  <a:cubicBezTo>
                    <a:pt x="16074" y="12796"/>
                    <a:pt x="16326" y="12796"/>
                    <a:pt x="16505" y="12796"/>
                  </a:cubicBezTo>
                  <a:cubicBezTo>
                    <a:pt x="16613" y="12796"/>
                    <a:pt x="16828" y="12796"/>
                    <a:pt x="16936" y="12687"/>
                  </a:cubicBezTo>
                  <a:cubicBezTo>
                    <a:pt x="17330" y="12523"/>
                    <a:pt x="17653" y="12358"/>
                    <a:pt x="17940" y="12194"/>
                  </a:cubicBezTo>
                  <a:cubicBezTo>
                    <a:pt x="18155" y="12030"/>
                    <a:pt x="18227" y="12030"/>
                    <a:pt x="18335" y="11921"/>
                  </a:cubicBezTo>
                  <a:cubicBezTo>
                    <a:pt x="18443" y="11921"/>
                    <a:pt x="18443" y="11757"/>
                    <a:pt x="18550" y="11757"/>
                  </a:cubicBezTo>
                  <a:cubicBezTo>
                    <a:pt x="18765" y="11593"/>
                    <a:pt x="18945" y="11429"/>
                    <a:pt x="19160" y="11265"/>
                  </a:cubicBezTo>
                  <a:cubicBezTo>
                    <a:pt x="19447" y="10991"/>
                    <a:pt x="19662" y="10827"/>
                    <a:pt x="19878" y="10499"/>
                  </a:cubicBezTo>
                  <a:cubicBezTo>
                    <a:pt x="19878" y="10499"/>
                    <a:pt x="19950" y="10499"/>
                    <a:pt x="19950" y="10335"/>
                  </a:cubicBezTo>
                  <a:cubicBezTo>
                    <a:pt x="20165" y="10062"/>
                    <a:pt x="20380" y="9734"/>
                    <a:pt x="20488" y="9406"/>
                  </a:cubicBezTo>
                  <a:cubicBezTo>
                    <a:pt x="20488" y="9296"/>
                    <a:pt x="20488" y="9296"/>
                    <a:pt x="20559" y="9296"/>
                  </a:cubicBezTo>
                  <a:cubicBezTo>
                    <a:pt x="20667" y="8968"/>
                    <a:pt x="20775" y="8640"/>
                    <a:pt x="20882" y="8367"/>
                  </a:cubicBezTo>
                  <a:lnTo>
                    <a:pt x="20882" y="8203"/>
                  </a:lnTo>
                  <a:cubicBezTo>
                    <a:pt x="21385" y="7601"/>
                    <a:pt x="21492" y="7273"/>
                    <a:pt x="21600" y="6781"/>
                  </a:cubicBezTo>
                </a:path>
              </a:pathLst>
            </a:custGeom>
            <a:solidFill>
              <a:srgbClr val="474E8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0" name="Shape 1401"/>
            <p:cNvSpPr/>
            <p:nvPr/>
          </p:nvSpPr>
          <p:spPr>
            <a:xfrm>
              <a:off x="131140" y="563495"/>
              <a:ext cx="40506" cy="978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961"/>
                  </a:moveTo>
                  <a:lnTo>
                    <a:pt x="21600" y="21600"/>
                  </a:lnTo>
                  <a:lnTo>
                    <a:pt x="0" y="16329"/>
                  </a:lnTo>
                  <a:lnTo>
                    <a:pt x="0" y="0"/>
                  </a:lnTo>
                  <a:lnTo>
                    <a:pt x="21600" y="4961"/>
                  </a:lnTo>
                </a:path>
              </a:pathLst>
            </a:custGeom>
            <a:solidFill>
              <a:srgbClr val="DE1C3A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1" name="Shape 1402"/>
            <p:cNvSpPr/>
            <p:nvPr/>
          </p:nvSpPr>
          <p:spPr>
            <a:xfrm>
              <a:off x="149582" y="982562"/>
              <a:ext cx="91744" cy="423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525" extrusionOk="0">
                  <a:moveTo>
                    <a:pt x="11403" y="1514"/>
                  </a:moveTo>
                  <a:cubicBezTo>
                    <a:pt x="14254" y="5789"/>
                    <a:pt x="16995" y="5789"/>
                    <a:pt x="19736" y="10964"/>
                  </a:cubicBezTo>
                  <a:cubicBezTo>
                    <a:pt x="20065" y="11639"/>
                    <a:pt x="21600" y="13439"/>
                    <a:pt x="21600" y="14789"/>
                  </a:cubicBezTo>
                  <a:cubicBezTo>
                    <a:pt x="21052" y="18614"/>
                    <a:pt x="17653" y="21089"/>
                    <a:pt x="16118" y="20414"/>
                  </a:cubicBezTo>
                  <a:cubicBezTo>
                    <a:pt x="13596" y="19739"/>
                    <a:pt x="11403" y="18614"/>
                    <a:pt x="8662" y="17939"/>
                  </a:cubicBezTo>
                  <a:cubicBezTo>
                    <a:pt x="6798" y="17264"/>
                    <a:pt x="2741" y="17264"/>
                    <a:pt x="877" y="16139"/>
                  </a:cubicBezTo>
                  <a:cubicBezTo>
                    <a:pt x="0" y="14789"/>
                    <a:pt x="0" y="10289"/>
                    <a:pt x="0" y="7814"/>
                  </a:cubicBezTo>
                  <a:cubicBezTo>
                    <a:pt x="0" y="6464"/>
                    <a:pt x="1206" y="3989"/>
                    <a:pt x="1206" y="3989"/>
                  </a:cubicBezTo>
                  <a:cubicBezTo>
                    <a:pt x="2741" y="5339"/>
                    <a:pt x="3399" y="6464"/>
                    <a:pt x="5592" y="5789"/>
                  </a:cubicBezTo>
                  <a:cubicBezTo>
                    <a:pt x="5811" y="5339"/>
                    <a:pt x="6469" y="5339"/>
                    <a:pt x="7127" y="5339"/>
                  </a:cubicBezTo>
                  <a:cubicBezTo>
                    <a:pt x="8991" y="839"/>
                    <a:pt x="10197" y="-511"/>
                    <a:pt x="10855" y="164"/>
                  </a:cubicBezTo>
                  <a:cubicBezTo>
                    <a:pt x="10855" y="164"/>
                    <a:pt x="11074" y="839"/>
                    <a:pt x="11403" y="1514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2" name="Shape 1403"/>
            <p:cNvSpPr/>
            <p:nvPr/>
          </p:nvSpPr>
          <p:spPr>
            <a:xfrm>
              <a:off x="59423" y="918935"/>
              <a:ext cx="88540" cy="4162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21" h="21118" extrusionOk="0">
                  <a:moveTo>
                    <a:pt x="11520" y="1376"/>
                  </a:moveTo>
                  <a:cubicBezTo>
                    <a:pt x="14400" y="6021"/>
                    <a:pt x="17169" y="6021"/>
                    <a:pt x="19938" y="11363"/>
                  </a:cubicBezTo>
                  <a:cubicBezTo>
                    <a:pt x="20271" y="11828"/>
                    <a:pt x="21600" y="15776"/>
                    <a:pt x="21268" y="17170"/>
                  </a:cubicBezTo>
                  <a:cubicBezTo>
                    <a:pt x="20935" y="21118"/>
                    <a:pt x="17502" y="21118"/>
                    <a:pt x="16283" y="21118"/>
                  </a:cubicBezTo>
                  <a:cubicBezTo>
                    <a:pt x="13735" y="20421"/>
                    <a:pt x="11520" y="19260"/>
                    <a:pt x="8751" y="18563"/>
                  </a:cubicBezTo>
                  <a:cubicBezTo>
                    <a:pt x="6868" y="17866"/>
                    <a:pt x="2769" y="17866"/>
                    <a:pt x="886" y="16473"/>
                  </a:cubicBezTo>
                  <a:cubicBezTo>
                    <a:pt x="0" y="15312"/>
                    <a:pt x="0" y="10666"/>
                    <a:pt x="0" y="8112"/>
                  </a:cubicBezTo>
                  <a:cubicBezTo>
                    <a:pt x="0" y="6718"/>
                    <a:pt x="1218" y="4163"/>
                    <a:pt x="1218" y="4163"/>
                  </a:cubicBezTo>
                  <a:cubicBezTo>
                    <a:pt x="2769" y="5324"/>
                    <a:pt x="3434" y="6718"/>
                    <a:pt x="5649" y="6021"/>
                  </a:cubicBezTo>
                  <a:cubicBezTo>
                    <a:pt x="5871" y="5324"/>
                    <a:pt x="6535" y="5324"/>
                    <a:pt x="7200" y="5324"/>
                  </a:cubicBezTo>
                  <a:cubicBezTo>
                    <a:pt x="9083" y="679"/>
                    <a:pt x="10302" y="-482"/>
                    <a:pt x="10966" y="215"/>
                  </a:cubicBezTo>
                  <a:cubicBezTo>
                    <a:pt x="10966" y="-482"/>
                    <a:pt x="11188" y="679"/>
                    <a:pt x="11520" y="1376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3" name="Shape 1404"/>
            <p:cNvSpPr/>
            <p:nvPr/>
          </p:nvSpPr>
          <p:spPr>
            <a:xfrm>
              <a:off x="178269" y="618820"/>
              <a:ext cx="137525" cy="1039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0" h="20382" extrusionOk="0">
                  <a:moveTo>
                    <a:pt x="0" y="2370"/>
                  </a:moveTo>
                  <a:lnTo>
                    <a:pt x="6285" y="0"/>
                  </a:lnTo>
                  <a:lnTo>
                    <a:pt x="7080" y="4192"/>
                  </a:lnTo>
                  <a:cubicBezTo>
                    <a:pt x="7080" y="4192"/>
                    <a:pt x="14015" y="11119"/>
                    <a:pt x="16688" y="13397"/>
                  </a:cubicBezTo>
                  <a:cubicBezTo>
                    <a:pt x="16688" y="13397"/>
                    <a:pt x="21600" y="14400"/>
                    <a:pt x="21383" y="17772"/>
                  </a:cubicBezTo>
                  <a:cubicBezTo>
                    <a:pt x="21383" y="21144"/>
                    <a:pt x="17338" y="21600"/>
                    <a:pt x="14448" y="17043"/>
                  </a:cubicBezTo>
                  <a:cubicBezTo>
                    <a:pt x="14448" y="17043"/>
                    <a:pt x="6068" y="12668"/>
                    <a:pt x="4262" y="10299"/>
                  </a:cubicBezTo>
                  <a:cubicBezTo>
                    <a:pt x="2601" y="8020"/>
                    <a:pt x="0" y="2370"/>
                    <a:pt x="0" y="237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4" name="Shape 1405"/>
            <p:cNvSpPr/>
            <p:nvPr/>
          </p:nvSpPr>
          <p:spPr>
            <a:xfrm>
              <a:off x="158344" y="555911"/>
              <a:ext cx="68636" cy="849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29" h="19153" extrusionOk="0">
                  <a:moveTo>
                    <a:pt x="3479" y="279"/>
                  </a:moveTo>
                  <a:cubicBezTo>
                    <a:pt x="11804" y="-2447"/>
                    <a:pt x="16529" y="15693"/>
                    <a:pt x="16529" y="15693"/>
                  </a:cubicBezTo>
                  <a:cubicBezTo>
                    <a:pt x="16529" y="15693"/>
                    <a:pt x="15291" y="16846"/>
                    <a:pt x="11804" y="18000"/>
                  </a:cubicBezTo>
                  <a:cubicBezTo>
                    <a:pt x="7979" y="19153"/>
                    <a:pt x="4829" y="19153"/>
                    <a:pt x="4829" y="19153"/>
                  </a:cubicBezTo>
                  <a:cubicBezTo>
                    <a:pt x="4829" y="19153"/>
                    <a:pt x="-5071" y="2901"/>
                    <a:pt x="3479" y="279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5" name="Shape 1406"/>
            <p:cNvSpPr/>
            <p:nvPr/>
          </p:nvSpPr>
          <p:spPr>
            <a:xfrm>
              <a:off x="63521" y="751222"/>
              <a:ext cx="116331" cy="1849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150" extrusionOk="0">
                  <a:moveTo>
                    <a:pt x="9802" y="123"/>
                  </a:moveTo>
                  <a:cubicBezTo>
                    <a:pt x="12058" y="-584"/>
                    <a:pt x="21600" y="1990"/>
                    <a:pt x="21600" y="1990"/>
                  </a:cubicBezTo>
                  <a:cubicBezTo>
                    <a:pt x="21600" y="1990"/>
                    <a:pt x="15701" y="11780"/>
                    <a:pt x="13966" y="13345"/>
                  </a:cubicBezTo>
                  <a:cubicBezTo>
                    <a:pt x="12058" y="14909"/>
                    <a:pt x="7373" y="19603"/>
                    <a:pt x="7373" y="19603"/>
                  </a:cubicBezTo>
                  <a:cubicBezTo>
                    <a:pt x="7373" y="19603"/>
                    <a:pt x="1475" y="21016"/>
                    <a:pt x="0" y="19300"/>
                  </a:cubicBezTo>
                  <a:cubicBezTo>
                    <a:pt x="0" y="19300"/>
                    <a:pt x="1475" y="13496"/>
                    <a:pt x="4945" y="11074"/>
                  </a:cubicBezTo>
                  <a:cubicBezTo>
                    <a:pt x="4945" y="11074"/>
                    <a:pt x="7894" y="880"/>
                    <a:pt x="9802" y="123"/>
                  </a:cubicBezTo>
                </a:path>
              </a:pathLst>
            </a:custGeom>
            <a:solidFill>
              <a:srgbClr val="47645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6" name="Shape 1407"/>
            <p:cNvSpPr/>
            <p:nvPr/>
          </p:nvSpPr>
          <p:spPr>
            <a:xfrm>
              <a:off x="90585" y="764305"/>
              <a:ext cx="109757" cy="2345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23" h="21177" extrusionOk="0">
                  <a:moveTo>
                    <a:pt x="13473" y="713"/>
                  </a:moveTo>
                  <a:cubicBezTo>
                    <a:pt x="13473" y="713"/>
                    <a:pt x="18063" y="8976"/>
                    <a:pt x="18873" y="10611"/>
                  </a:cubicBezTo>
                  <a:cubicBezTo>
                    <a:pt x="19593" y="12289"/>
                    <a:pt x="21123" y="20551"/>
                    <a:pt x="21123" y="20551"/>
                  </a:cubicBezTo>
                  <a:cubicBezTo>
                    <a:pt x="17343" y="21600"/>
                    <a:pt x="12753" y="21013"/>
                    <a:pt x="12753" y="21013"/>
                  </a:cubicBezTo>
                  <a:lnTo>
                    <a:pt x="8433" y="10485"/>
                  </a:lnTo>
                  <a:cubicBezTo>
                    <a:pt x="8433" y="10485"/>
                    <a:pt x="3573" y="5662"/>
                    <a:pt x="1593" y="3901"/>
                  </a:cubicBezTo>
                  <a:cubicBezTo>
                    <a:pt x="-477" y="2013"/>
                    <a:pt x="63" y="0"/>
                    <a:pt x="63" y="0"/>
                  </a:cubicBezTo>
                  <a:lnTo>
                    <a:pt x="13473" y="713"/>
                  </a:lnTo>
                </a:path>
              </a:pathLst>
            </a:custGeom>
            <a:solidFill>
              <a:srgbClr val="4773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7" name="Shape 1408"/>
            <p:cNvSpPr/>
            <p:nvPr/>
          </p:nvSpPr>
          <p:spPr>
            <a:xfrm>
              <a:off x="84011" y="550935"/>
              <a:ext cx="114285" cy="2299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9429" extrusionOk="0">
                  <a:moveTo>
                    <a:pt x="21600" y="2581"/>
                  </a:moveTo>
                  <a:lnTo>
                    <a:pt x="19580" y="18644"/>
                  </a:lnTo>
                  <a:cubicBezTo>
                    <a:pt x="10712" y="20411"/>
                    <a:pt x="0" y="18644"/>
                    <a:pt x="0" y="18644"/>
                  </a:cubicBezTo>
                  <a:lnTo>
                    <a:pt x="0" y="2228"/>
                  </a:lnTo>
                  <a:cubicBezTo>
                    <a:pt x="8254" y="-1189"/>
                    <a:pt x="18351" y="343"/>
                    <a:pt x="18351" y="343"/>
                  </a:cubicBezTo>
                  <a:cubicBezTo>
                    <a:pt x="20898" y="892"/>
                    <a:pt x="21600" y="2581"/>
                    <a:pt x="21600" y="2581"/>
                  </a:cubicBezTo>
                </a:path>
              </a:pathLst>
            </a:custGeom>
            <a:solidFill>
              <a:srgbClr val="476A6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8" name="Shape 1409"/>
            <p:cNvSpPr/>
            <p:nvPr/>
          </p:nvSpPr>
          <p:spPr>
            <a:xfrm>
              <a:off x="116797" y="534808"/>
              <a:ext cx="50179" cy="512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189" h="18788" extrusionOk="0">
                  <a:moveTo>
                    <a:pt x="14560" y="0"/>
                  </a:moveTo>
                  <a:lnTo>
                    <a:pt x="14560" y="6293"/>
                  </a:lnTo>
                  <a:cubicBezTo>
                    <a:pt x="14560" y="6293"/>
                    <a:pt x="21600" y="14797"/>
                    <a:pt x="12640" y="18198"/>
                  </a:cubicBezTo>
                  <a:cubicBezTo>
                    <a:pt x="3520" y="21600"/>
                    <a:pt x="0" y="9184"/>
                    <a:pt x="0" y="9184"/>
                  </a:cubicBezTo>
                  <a:lnTo>
                    <a:pt x="5920" y="2891"/>
                  </a:lnTo>
                  <a:lnTo>
                    <a:pt x="14560" y="0"/>
                  </a:lnTo>
                </a:path>
              </a:pathLst>
            </a:custGeom>
            <a:solidFill>
              <a:srgbClr val="FFE98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9" name="Shape 1410"/>
            <p:cNvSpPr/>
            <p:nvPr/>
          </p:nvSpPr>
          <p:spPr>
            <a:xfrm>
              <a:off x="90159" y="639311"/>
              <a:ext cx="137525" cy="1036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0" h="20324" extrusionOk="0">
                  <a:moveTo>
                    <a:pt x="0" y="2278"/>
                  </a:moveTo>
                  <a:lnTo>
                    <a:pt x="6285" y="0"/>
                  </a:lnTo>
                  <a:lnTo>
                    <a:pt x="7152" y="4101"/>
                  </a:lnTo>
                  <a:cubicBezTo>
                    <a:pt x="7152" y="4101"/>
                    <a:pt x="14015" y="11028"/>
                    <a:pt x="16688" y="13306"/>
                  </a:cubicBezTo>
                  <a:cubicBezTo>
                    <a:pt x="16688" y="13306"/>
                    <a:pt x="21600" y="14400"/>
                    <a:pt x="21383" y="17681"/>
                  </a:cubicBezTo>
                  <a:cubicBezTo>
                    <a:pt x="21383" y="21053"/>
                    <a:pt x="17338" y="21600"/>
                    <a:pt x="14448" y="16952"/>
                  </a:cubicBezTo>
                  <a:cubicBezTo>
                    <a:pt x="14448" y="16952"/>
                    <a:pt x="6068" y="12577"/>
                    <a:pt x="4262" y="10299"/>
                  </a:cubicBezTo>
                  <a:cubicBezTo>
                    <a:pt x="2601" y="7929"/>
                    <a:pt x="0" y="2278"/>
                    <a:pt x="0" y="2278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0" name="Shape 1411"/>
            <p:cNvSpPr/>
            <p:nvPr/>
          </p:nvSpPr>
          <p:spPr>
            <a:xfrm>
              <a:off x="70234" y="576020"/>
              <a:ext cx="68636" cy="853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29" h="19239" extrusionOk="0">
                  <a:moveTo>
                    <a:pt x="3479" y="260"/>
                  </a:moveTo>
                  <a:cubicBezTo>
                    <a:pt x="11804" y="-2361"/>
                    <a:pt x="16529" y="15674"/>
                    <a:pt x="16529" y="15674"/>
                  </a:cubicBezTo>
                  <a:cubicBezTo>
                    <a:pt x="16529" y="15674"/>
                    <a:pt x="15291" y="16827"/>
                    <a:pt x="11804" y="17981"/>
                  </a:cubicBezTo>
                  <a:cubicBezTo>
                    <a:pt x="7979" y="19239"/>
                    <a:pt x="4829" y="19239"/>
                    <a:pt x="4829" y="19239"/>
                  </a:cubicBezTo>
                  <a:cubicBezTo>
                    <a:pt x="4829" y="19239"/>
                    <a:pt x="-5071" y="2987"/>
                    <a:pt x="3479" y="260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1" name="Shape 1412"/>
            <p:cNvSpPr/>
            <p:nvPr/>
          </p:nvSpPr>
          <p:spPr>
            <a:xfrm>
              <a:off x="98355" y="479483"/>
              <a:ext cx="85595" cy="896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900"/>
                  </a:moveTo>
                  <a:cubicBezTo>
                    <a:pt x="0" y="9225"/>
                    <a:pt x="354" y="8887"/>
                    <a:pt x="354" y="7987"/>
                  </a:cubicBezTo>
                  <a:lnTo>
                    <a:pt x="354" y="7650"/>
                  </a:lnTo>
                  <a:cubicBezTo>
                    <a:pt x="590" y="7313"/>
                    <a:pt x="590" y="6975"/>
                    <a:pt x="944" y="6975"/>
                  </a:cubicBezTo>
                  <a:lnTo>
                    <a:pt x="1652" y="6975"/>
                  </a:lnTo>
                  <a:cubicBezTo>
                    <a:pt x="2007" y="6975"/>
                    <a:pt x="2243" y="7313"/>
                    <a:pt x="2597" y="7650"/>
                  </a:cubicBezTo>
                  <a:lnTo>
                    <a:pt x="2951" y="7987"/>
                  </a:lnTo>
                  <a:cubicBezTo>
                    <a:pt x="3659" y="8550"/>
                    <a:pt x="4013" y="9900"/>
                    <a:pt x="4249" y="11137"/>
                  </a:cubicBezTo>
                  <a:cubicBezTo>
                    <a:pt x="4957" y="11475"/>
                    <a:pt x="5311" y="11812"/>
                    <a:pt x="5666" y="11812"/>
                  </a:cubicBezTo>
                  <a:cubicBezTo>
                    <a:pt x="5666" y="11475"/>
                    <a:pt x="5902" y="10800"/>
                    <a:pt x="5902" y="9900"/>
                  </a:cubicBezTo>
                  <a:lnTo>
                    <a:pt x="5902" y="6413"/>
                  </a:lnTo>
                  <a:lnTo>
                    <a:pt x="4603" y="4163"/>
                  </a:lnTo>
                  <a:cubicBezTo>
                    <a:pt x="4603" y="3150"/>
                    <a:pt x="4957" y="2250"/>
                    <a:pt x="5666" y="1350"/>
                  </a:cubicBezTo>
                  <a:cubicBezTo>
                    <a:pt x="5902" y="675"/>
                    <a:pt x="6610" y="338"/>
                    <a:pt x="7318" y="0"/>
                  </a:cubicBezTo>
                  <a:lnTo>
                    <a:pt x="8262" y="0"/>
                  </a:lnTo>
                  <a:cubicBezTo>
                    <a:pt x="9325" y="338"/>
                    <a:pt x="10269" y="1013"/>
                    <a:pt x="11921" y="1913"/>
                  </a:cubicBezTo>
                  <a:cubicBezTo>
                    <a:pt x="13574" y="2925"/>
                    <a:pt x="15344" y="3150"/>
                    <a:pt x="16997" y="3150"/>
                  </a:cubicBezTo>
                  <a:cubicBezTo>
                    <a:pt x="18649" y="3150"/>
                    <a:pt x="19593" y="2925"/>
                    <a:pt x="20302" y="2250"/>
                  </a:cubicBezTo>
                  <a:cubicBezTo>
                    <a:pt x="20892" y="1575"/>
                    <a:pt x="21246" y="1350"/>
                    <a:pt x="21246" y="1013"/>
                  </a:cubicBezTo>
                  <a:cubicBezTo>
                    <a:pt x="21600" y="1913"/>
                    <a:pt x="21600" y="2588"/>
                    <a:pt x="21600" y="3150"/>
                  </a:cubicBezTo>
                  <a:lnTo>
                    <a:pt x="21600" y="7650"/>
                  </a:lnTo>
                  <a:cubicBezTo>
                    <a:pt x="21600" y="11137"/>
                    <a:pt x="21246" y="13725"/>
                    <a:pt x="20656" y="15300"/>
                  </a:cubicBezTo>
                  <a:cubicBezTo>
                    <a:pt x="19948" y="16875"/>
                    <a:pt x="19239" y="18113"/>
                    <a:pt x="18649" y="18787"/>
                  </a:cubicBezTo>
                  <a:cubicBezTo>
                    <a:pt x="18649" y="19125"/>
                    <a:pt x="18295" y="19350"/>
                    <a:pt x="17941" y="19687"/>
                  </a:cubicBezTo>
                  <a:cubicBezTo>
                    <a:pt x="17941" y="20025"/>
                    <a:pt x="17587" y="20025"/>
                    <a:pt x="17233" y="20362"/>
                  </a:cubicBezTo>
                  <a:cubicBezTo>
                    <a:pt x="17233" y="20700"/>
                    <a:pt x="17233" y="20700"/>
                    <a:pt x="16997" y="20700"/>
                  </a:cubicBezTo>
                  <a:cubicBezTo>
                    <a:pt x="16643" y="20700"/>
                    <a:pt x="16643" y="20700"/>
                    <a:pt x="16289" y="21037"/>
                  </a:cubicBezTo>
                  <a:cubicBezTo>
                    <a:pt x="15934" y="21262"/>
                    <a:pt x="15934" y="21262"/>
                    <a:pt x="15580" y="21262"/>
                  </a:cubicBezTo>
                  <a:cubicBezTo>
                    <a:pt x="15344" y="21600"/>
                    <a:pt x="14636" y="21600"/>
                    <a:pt x="13928" y="21600"/>
                  </a:cubicBezTo>
                  <a:cubicBezTo>
                    <a:pt x="12984" y="21600"/>
                    <a:pt x="11921" y="21600"/>
                    <a:pt x="10977" y="21262"/>
                  </a:cubicBezTo>
                  <a:cubicBezTo>
                    <a:pt x="9679" y="21037"/>
                    <a:pt x="8262" y="20025"/>
                    <a:pt x="6964" y="18787"/>
                  </a:cubicBezTo>
                  <a:cubicBezTo>
                    <a:pt x="6256" y="17775"/>
                    <a:pt x="5311" y="16875"/>
                    <a:pt x="4603" y="15637"/>
                  </a:cubicBezTo>
                  <a:lnTo>
                    <a:pt x="3659" y="13725"/>
                  </a:lnTo>
                  <a:cubicBezTo>
                    <a:pt x="3659" y="13725"/>
                    <a:pt x="3659" y="13950"/>
                    <a:pt x="3305" y="13950"/>
                  </a:cubicBezTo>
                  <a:lnTo>
                    <a:pt x="2951" y="13950"/>
                  </a:lnTo>
                  <a:cubicBezTo>
                    <a:pt x="2243" y="13950"/>
                    <a:pt x="1652" y="13725"/>
                    <a:pt x="944" y="12375"/>
                  </a:cubicBezTo>
                  <a:cubicBezTo>
                    <a:pt x="590" y="11475"/>
                    <a:pt x="354" y="10800"/>
                    <a:pt x="0" y="990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2" name="Shape 1413"/>
            <p:cNvSpPr/>
            <p:nvPr/>
          </p:nvSpPr>
          <p:spPr>
            <a:xfrm>
              <a:off x="98702" y="458992"/>
              <a:ext cx="93449" cy="753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20" h="21600" extrusionOk="0">
                  <a:moveTo>
                    <a:pt x="4708" y="8956"/>
                  </a:moveTo>
                  <a:cubicBezTo>
                    <a:pt x="4070" y="10010"/>
                    <a:pt x="3751" y="10800"/>
                    <a:pt x="3751" y="12249"/>
                  </a:cubicBezTo>
                  <a:lnTo>
                    <a:pt x="5240" y="15278"/>
                  </a:lnTo>
                  <a:cubicBezTo>
                    <a:pt x="5240" y="15673"/>
                    <a:pt x="4389" y="20810"/>
                    <a:pt x="4389" y="21600"/>
                  </a:cubicBezTo>
                  <a:cubicBezTo>
                    <a:pt x="4070" y="21600"/>
                    <a:pt x="3751" y="21205"/>
                    <a:pt x="3219" y="20810"/>
                  </a:cubicBezTo>
                  <a:cubicBezTo>
                    <a:pt x="2899" y="19361"/>
                    <a:pt x="2580" y="17912"/>
                    <a:pt x="1942" y="17122"/>
                  </a:cubicBezTo>
                  <a:lnTo>
                    <a:pt x="1622" y="16727"/>
                  </a:lnTo>
                  <a:cubicBezTo>
                    <a:pt x="1410" y="16332"/>
                    <a:pt x="1090" y="16068"/>
                    <a:pt x="771" y="16068"/>
                  </a:cubicBezTo>
                  <a:lnTo>
                    <a:pt x="133" y="16068"/>
                  </a:lnTo>
                  <a:cubicBezTo>
                    <a:pt x="-80" y="13434"/>
                    <a:pt x="-80" y="11590"/>
                    <a:pt x="452" y="9746"/>
                  </a:cubicBezTo>
                  <a:cubicBezTo>
                    <a:pt x="1410" y="3820"/>
                    <a:pt x="4070" y="395"/>
                    <a:pt x="8326" y="0"/>
                  </a:cubicBezTo>
                  <a:cubicBezTo>
                    <a:pt x="13114" y="0"/>
                    <a:pt x="16093" y="1580"/>
                    <a:pt x="17583" y="4873"/>
                  </a:cubicBezTo>
                  <a:cubicBezTo>
                    <a:pt x="17902" y="5268"/>
                    <a:pt x="18753" y="6717"/>
                    <a:pt x="19073" y="7112"/>
                  </a:cubicBezTo>
                  <a:cubicBezTo>
                    <a:pt x="19392" y="7902"/>
                    <a:pt x="21201" y="7902"/>
                    <a:pt x="21520" y="8561"/>
                  </a:cubicBezTo>
                  <a:cubicBezTo>
                    <a:pt x="21520" y="8956"/>
                    <a:pt x="21094" y="9220"/>
                    <a:pt x="20562" y="10010"/>
                  </a:cubicBezTo>
                  <a:cubicBezTo>
                    <a:pt x="19924" y="10668"/>
                    <a:pt x="19073" y="12249"/>
                    <a:pt x="17583" y="12249"/>
                  </a:cubicBezTo>
                  <a:cubicBezTo>
                    <a:pt x="16093" y="12249"/>
                    <a:pt x="11837" y="11590"/>
                    <a:pt x="10348" y="10800"/>
                  </a:cubicBezTo>
                  <a:cubicBezTo>
                    <a:pt x="8858" y="9746"/>
                    <a:pt x="8007" y="8166"/>
                    <a:pt x="7049" y="7507"/>
                  </a:cubicBezTo>
                  <a:lnTo>
                    <a:pt x="6198" y="7507"/>
                  </a:lnTo>
                  <a:cubicBezTo>
                    <a:pt x="5879" y="7507"/>
                    <a:pt x="5240" y="7902"/>
                    <a:pt x="4708" y="8956"/>
                  </a:cubicBezTo>
                </a:path>
              </a:pathLst>
            </a:custGeom>
            <a:solidFill>
              <a:srgbClr val="DECB2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3" name="Shape 1414"/>
            <p:cNvSpPr/>
            <p:nvPr/>
          </p:nvSpPr>
          <p:spPr>
            <a:xfrm>
              <a:off x="380900" y="643409"/>
              <a:ext cx="16393" cy="1019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788" y="0"/>
                  </a:moveTo>
                  <a:cubicBezTo>
                    <a:pt x="17788" y="297"/>
                    <a:pt x="17788" y="594"/>
                    <a:pt x="21600" y="594"/>
                  </a:cubicBezTo>
                  <a:cubicBezTo>
                    <a:pt x="21600" y="1090"/>
                    <a:pt x="17788" y="1387"/>
                    <a:pt x="17788" y="1684"/>
                  </a:cubicBezTo>
                  <a:lnTo>
                    <a:pt x="17788" y="0"/>
                  </a:lnTo>
                  <a:close/>
                  <a:moveTo>
                    <a:pt x="17788" y="15952"/>
                  </a:moveTo>
                  <a:lnTo>
                    <a:pt x="17788" y="16547"/>
                  </a:lnTo>
                  <a:cubicBezTo>
                    <a:pt x="17788" y="16844"/>
                    <a:pt x="17788" y="17042"/>
                    <a:pt x="13976" y="17637"/>
                  </a:cubicBezTo>
                  <a:lnTo>
                    <a:pt x="13976" y="18231"/>
                  </a:lnTo>
                  <a:cubicBezTo>
                    <a:pt x="10165" y="18429"/>
                    <a:pt x="10165" y="19024"/>
                    <a:pt x="10165" y="19321"/>
                  </a:cubicBezTo>
                  <a:lnTo>
                    <a:pt x="10165" y="19916"/>
                  </a:lnTo>
                  <a:lnTo>
                    <a:pt x="0" y="21600"/>
                  </a:lnTo>
                  <a:lnTo>
                    <a:pt x="0" y="5648"/>
                  </a:lnTo>
                  <a:lnTo>
                    <a:pt x="10165" y="3963"/>
                  </a:lnTo>
                  <a:cubicBezTo>
                    <a:pt x="10165" y="3666"/>
                    <a:pt x="10165" y="3666"/>
                    <a:pt x="13976" y="3369"/>
                  </a:cubicBezTo>
                  <a:cubicBezTo>
                    <a:pt x="17788" y="3072"/>
                    <a:pt x="17788" y="2576"/>
                    <a:pt x="17788" y="2279"/>
                  </a:cubicBezTo>
                  <a:lnTo>
                    <a:pt x="17788" y="15952"/>
                  </a:lnTo>
                  <a:close/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4" name="Shape 1415"/>
            <p:cNvSpPr/>
            <p:nvPr/>
          </p:nvSpPr>
          <p:spPr>
            <a:xfrm>
              <a:off x="870857" y="711029"/>
              <a:ext cx="38475" cy="958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6567"/>
                  </a:lnTo>
                  <a:lnTo>
                    <a:pt x="0" y="21600"/>
                  </a:lnTo>
                  <a:lnTo>
                    <a:pt x="0" y="5033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5" name="Shape 1416"/>
            <p:cNvSpPr/>
            <p:nvPr/>
          </p:nvSpPr>
          <p:spPr>
            <a:xfrm>
              <a:off x="116797" y="702833"/>
              <a:ext cx="128628" cy="1245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7979"/>
                  </a:moveTo>
                  <a:lnTo>
                    <a:pt x="21600" y="20955"/>
                  </a:lnTo>
                  <a:lnTo>
                    <a:pt x="21366" y="20955"/>
                  </a:lnTo>
                  <a:cubicBezTo>
                    <a:pt x="20430" y="21116"/>
                    <a:pt x="19339" y="21116"/>
                    <a:pt x="18481" y="21358"/>
                  </a:cubicBezTo>
                  <a:lnTo>
                    <a:pt x="17389" y="21358"/>
                  </a:lnTo>
                  <a:cubicBezTo>
                    <a:pt x="16921" y="21358"/>
                    <a:pt x="16531" y="21600"/>
                    <a:pt x="16064" y="21600"/>
                  </a:cubicBezTo>
                  <a:lnTo>
                    <a:pt x="13412" y="21600"/>
                  </a:lnTo>
                  <a:cubicBezTo>
                    <a:pt x="12788" y="21600"/>
                    <a:pt x="12321" y="21600"/>
                    <a:pt x="11853" y="21358"/>
                  </a:cubicBezTo>
                  <a:lnTo>
                    <a:pt x="11697" y="21358"/>
                  </a:lnTo>
                  <a:cubicBezTo>
                    <a:pt x="11229" y="21358"/>
                    <a:pt x="10527" y="21116"/>
                    <a:pt x="10137" y="21116"/>
                  </a:cubicBezTo>
                  <a:lnTo>
                    <a:pt x="9279" y="21116"/>
                  </a:lnTo>
                  <a:cubicBezTo>
                    <a:pt x="9045" y="21116"/>
                    <a:pt x="8812" y="21116"/>
                    <a:pt x="8578" y="20955"/>
                  </a:cubicBezTo>
                  <a:cubicBezTo>
                    <a:pt x="8344" y="20955"/>
                    <a:pt x="7954" y="20713"/>
                    <a:pt x="7720" y="20713"/>
                  </a:cubicBezTo>
                  <a:cubicBezTo>
                    <a:pt x="7486" y="20713"/>
                    <a:pt x="7486" y="20713"/>
                    <a:pt x="7252" y="20472"/>
                  </a:cubicBezTo>
                  <a:lnTo>
                    <a:pt x="7018" y="20472"/>
                  </a:lnTo>
                  <a:cubicBezTo>
                    <a:pt x="6394" y="20230"/>
                    <a:pt x="5926" y="19988"/>
                    <a:pt x="5536" y="19988"/>
                  </a:cubicBezTo>
                  <a:cubicBezTo>
                    <a:pt x="4835" y="19827"/>
                    <a:pt x="4367" y="19585"/>
                    <a:pt x="3743" y="19101"/>
                  </a:cubicBezTo>
                  <a:cubicBezTo>
                    <a:pt x="1092" y="17490"/>
                    <a:pt x="0" y="15475"/>
                    <a:pt x="0" y="12976"/>
                  </a:cubicBezTo>
                  <a:lnTo>
                    <a:pt x="0" y="0"/>
                  </a:lnTo>
                  <a:cubicBezTo>
                    <a:pt x="0" y="2499"/>
                    <a:pt x="1326" y="4513"/>
                    <a:pt x="3743" y="6125"/>
                  </a:cubicBezTo>
                  <a:cubicBezTo>
                    <a:pt x="4211" y="6367"/>
                    <a:pt x="4835" y="6851"/>
                    <a:pt x="5536" y="7093"/>
                  </a:cubicBezTo>
                  <a:cubicBezTo>
                    <a:pt x="6160" y="7254"/>
                    <a:pt x="6628" y="7496"/>
                    <a:pt x="7252" y="7737"/>
                  </a:cubicBezTo>
                  <a:cubicBezTo>
                    <a:pt x="7486" y="7737"/>
                    <a:pt x="7486" y="7737"/>
                    <a:pt x="7720" y="7979"/>
                  </a:cubicBezTo>
                  <a:cubicBezTo>
                    <a:pt x="8110" y="8221"/>
                    <a:pt x="8578" y="8221"/>
                    <a:pt x="9279" y="8382"/>
                  </a:cubicBezTo>
                  <a:lnTo>
                    <a:pt x="9669" y="8382"/>
                  </a:lnTo>
                  <a:cubicBezTo>
                    <a:pt x="10371" y="8624"/>
                    <a:pt x="10995" y="8624"/>
                    <a:pt x="11697" y="8624"/>
                  </a:cubicBezTo>
                  <a:cubicBezTo>
                    <a:pt x="11697" y="8624"/>
                    <a:pt x="11697" y="8624"/>
                    <a:pt x="11853" y="8624"/>
                  </a:cubicBezTo>
                  <a:lnTo>
                    <a:pt x="16064" y="8624"/>
                  </a:lnTo>
                  <a:cubicBezTo>
                    <a:pt x="16531" y="8624"/>
                    <a:pt x="16921" y="8624"/>
                    <a:pt x="17389" y="8382"/>
                  </a:cubicBezTo>
                  <a:cubicBezTo>
                    <a:pt x="17857" y="8382"/>
                    <a:pt x="18013" y="8382"/>
                    <a:pt x="18481" y="8221"/>
                  </a:cubicBezTo>
                  <a:cubicBezTo>
                    <a:pt x="19339" y="7979"/>
                    <a:pt x="20274" y="7979"/>
                    <a:pt x="21366" y="7737"/>
                  </a:cubicBezTo>
                  <a:cubicBezTo>
                    <a:pt x="21366" y="7737"/>
                    <a:pt x="21600" y="7737"/>
                    <a:pt x="21600" y="7979"/>
                  </a:cubicBezTo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6" name="Shape 1417"/>
            <p:cNvSpPr/>
            <p:nvPr/>
          </p:nvSpPr>
          <p:spPr>
            <a:xfrm>
              <a:off x="245888" y="747912"/>
              <a:ext cx="38476" cy="958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985"/>
                  </a:moveTo>
                  <a:lnTo>
                    <a:pt x="21600" y="21600"/>
                  </a:lnTo>
                  <a:lnTo>
                    <a:pt x="0" y="16719"/>
                  </a:lnTo>
                  <a:lnTo>
                    <a:pt x="0" y="0"/>
                  </a:lnTo>
                  <a:lnTo>
                    <a:pt x="21600" y="4985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7" name="Shape 1418"/>
            <p:cNvSpPr/>
            <p:nvPr/>
          </p:nvSpPr>
          <p:spPr>
            <a:xfrm>
              <a:off x="747912" y="727421"/>
              <a:ext cx="128627" cy="12248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713" y="14727"/>
                  </a:moveTo>
                  <a:cubicBezTo>
                    <a:pt x="5478" y="14727"/>
                    <a:pt x="5243" y="14973"/>
                    <a:pt x="5243" y="14973"/>
                  </a:cubicBezTo>
                  <a:cubicBezTo>
                    <a:pt x="4852" y="15218"/>
                    <a:pt x="4148" y="15464"/>
                    <a:pt x="3757" y="15709"/>
                  </a:cubicBezTo>
                  <a:cubicBezTo>
                    <a:pt x="3052" y="16118"/>
                    <a:pt x="2661" y="16609"/>
                    <a:pt x="2191" y="16855"/>
                  </a:cubicBezTo>
                  <a:cubicBezTo>
                    <a:pt x="1722" y="17264"/>
                    <a:pt x="1330" y="17755"/>
                    <a:pt x="1096" y="18245"/>
                  </a:cubicBezTo>
                  <a:cubicBezTo>
                    <a:pt x="1096" y="18491"/>
                    <a:pt x="1096" y="18491"/>
                    <a:pt x="861" y="18491"/>
                  </a:cubicBezTo>
                  <a:cubicBezTo>
                    <a:pt x="626" y="18818"/>
                    <a:pt x="391" y="19309"/>
                    <a:pt x="157" y="19800"/>
                  </a:cubicBezTo>
                  <a:lnTo>
                    <a:pt x="157" y="19964"/>
                  </a:lnTo>
                  <a:cubicBezTo>
                    <a:pt x="0" y="20455"/>
                    <a:pt x="0" y="21109"/>
                    <a:pt x="0" y="21600"/>
                  </a:cubicBezTo>
                  <a:lnTo>
                    <a:pt x="0" y="8264"/>
                  </a:lnTo>
                  <a:cubicBezTo>
                    <a:pt x="0" y="7855"/>
                    <a:pt x="0" y="7609"/>
                    <a:pt x="157" y="7118"/>
                  </a:cubicBezTo>
                  <a:cubicBezTo>
                    <a:pt x="157" y="6873"/>
                    <a:pt x="157" y="6873"/>
                    <a:pt x="391" y="6709"/>
                  </a:cubicBezTo>
                  <a:lnTo>
                    <a:pt x="391" y="6464"/>
                  </a:lnTo>
                  <a:cubicBezTo>
                    <a:pt x="391" y="6464"/>
                    <a:pt x="391" y="6218"/>
                    <a:pt x="626" y="6218"/>
                  </a:cubicBezTo>
                  <a:cubicBezTo>
                    <a:pt x="861" y="5973"/>
                    <a:pt x="861" y="5564"/>
                    <a:pt x="1096" y="5318"/>
                  </a:cubicBezTo>
                  <a:cubicBezTo>
                    <a:pt x="1096" y="5318"/>
                    <a:pt x="1096" y="5073"/>
                    <a:pt x="1330" y="5073"/>
                  </a:cubicBezTo>
                  <a:cubicBezTo>
                    <a:pt x="1330" y="4827"/>
                    <a:pt x="1330" y="4827"/>
                    <a:pt x="1487" y="4827"/>
                  </a:cubicBezTo>
                  <a:cubicBezTo>
                    <a:pt x="1722" y="4582"/>
                    <a:pt x="1722" y="4582"/>
                    <a:pt x="1722" y="4336"/>
                  </a:cubicBezTo>
                  <a:cubicBezTo>
                    <a:pt x="1957" y="4173"/>
                    <a:pt x="2191" y="3682"/>
                    <a:pt x="2661" y="3436"/>
                  </a:cubicBezTo>
                  <a:cubicBezTo>
                    <a:pt x="3052" y="3027"/>
                    <a:pt x="3522" y="2782"/>
                    <a:pt x="4148" y="2291"/>
                  </a:cubicBezTo>
                  <a:lnTo>
                    <a:pt x="4383" y="2291"/>
                  </a:lnTo>
                  <a:cubicBezTo>
                    <a:pt x="4852" y="2045"/>
                    <a:pt x="5243" y="1800"/>
                    <a:pt x="5948" y="1636"/>
                  </a:cubicBezTo>
                  <a:cubicBezTo>
                    <a:pt x="6183" y="1636"/>
                    <a:pt x="6417" y="1391"/>
                    <a:pt x="6417" y="1391"/>
                  </a:cubicBezTo>
                  <a:cubicBezTo>
                    <a:pt x="6574" y="1145"/>
                    <a:pt x="6809" y="1145"/>
                    <a:pt x="7043" y="1145"/>
                  </a:cubicBezTo>
                  <a:lnTo>
                    <a:pt x="7513" y="1145"/>
                  </a:lnTo>
                  <a:cubicBezTo>
                    <a:pt x="8139" y="900"/>
                    <a:pt x="8609" y="655"/>
                    <a:pt x="9235" y="655"/>
                  </a:cubicBezTo>
                  <a:cubicBezTo>
                    <a:pt x="9470" y="655"/>
                    <a:pt x="9470" y="409"/>
                    <a:pt x="9704" y="409"/>
                  </a:cubicBezTo>
                  <a:lnTo>
                    <a:pt x="9939" y="409"/>
                  </a:lnTo>
                  <a:cubicBezTo>
                    <a:pt x="10096" y="409"/>
                    <a:pt x="10330" y="409"/>
                    <a:pt x="10565" y="245"/>
                  </a:cubicBezTo>
                  <a:cubicBezTo>
                    <a:pt x="11035" y="245"/>
                    <a:pt x="11270" y="0"/>
                    <a:pt x="11661" y="0"/>
                  </a:cubicBezTo>
                  <a:lnTo>
                    <a:pt x="17452" y="0"/>
                  </a:lnTo>
                  <a:cubicBezTo>
                    <a:pt x="17609" y="0"/>
                    <a:pt x="18078" y="0"/>
                    <a:pt x="18313" y="245"/>
                  </a:cubicBezTo>
                  <a:cubicBezTo>
                    <a:pt x="18783" y="245"/>
                    <a:pt x="18939" y="245"/>
                    <a:pt x="19409" y="409"/>
                  </a:cubicBezTo>
                  <a:lnTo>
                    <a:pt x="19878" y="409"/>
                  </a:lnTo>
                  <a:cubicBezTo>
                    <a:pt x="20504" y="409"/>
                    <a:pt x="20974" y="655"/>
                    <a:pt x="21600" y="655"/>
                  </a:cubicBezTo>
                  <a:lnTo>
                    <a:pt x="21600" y="13827"/>
                  </a:lnTo>
                  <a:cubicBezTo>
                    <a:pt x="20974" y="13582"/>
                    <a:pt x="20270" y="13582"/>
                    <a:pt x="19409" y="13418"/>
                  </a:cubicBezTo>
                  <a:cubicBezTo>
                    <a:pt x="18939" y="13418"/>
                    <a:pt x="18783" y="13418"/>
                    <a:pt x="18313" y="13173"/>
                  </a:cubicBezTo>
                  <a:cubicBezTo>
                    <a:pt x="17843" y="13173"/>
                    <a:pt x="17452" y="13173"/>
                    <a:pt x="16983" y="12927"/>
                  </a:cubicBezTo>
                  <a:lnTo>
                    <a:pt x="11896" y="12927"/>
                  </a:lnTo>
                  <a:cubicBezTo>
                    <a:pt x="11426" y="12927"/>
                    <a:pt x="11035" y="13173"/>
                    <a:pt x="10565" y="13173"/>
                  </a:cubicBezTo>
                  <a:cubicBezTo>
                    <a:pt x="10330" y="13173"/>
                    <a:pt x="10096" y="13173"/>
                    <a:pt x="9939" y="13418"/>
                  </a:cubicBezTo>
                  <a:cubicBezTo>
                    <a:pt x="9704" y="13418"/>
                    <a:pt x="9470" y="13418"/>
                    <a:pt x="9235" y="13582"/>
                  </a:cubicBezTo>
                  <a:cubicBezTo>
                    <a:pt x="8609" y="13827"/>
                    <a:pt x="8139" y="13827"/>
                    <a:pt x="7513" y="14073"/>
                  </a:cubicBezTo>
                  <a:cubicBezTo>
                    <a:pt x="6417" y="14564"/>
                    <a:pt x="5948" y="14727"/>
                    <a:pt x="5713" y="14727"/>
                  </a:cubicBez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8" name="Shape 1419"/>
            <p:cNvSpPr/>
            <p:nvPr/>
          </p:nvSpPr>
          <p:spPr>
            <a:xfrm>
              <a:off x="1006915" y="813482"/>
              <a:ext cx="16394" cy="999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350"/>
                  </a:moveTo>
                  <a:lnTo>
                    <a:pt x="21600" y="21600"/>
                  </a:lnTo>
                  <a:cubicBezTo>
                    <a:pt x="21600" y="20692"/>
                    <a:pt x="21600" y="19884"/>
                    <a:pt x="16971" y="18976"/>
                  </a:cubicBezTo>
                  <a:cubicBezTo>
                    <a:pt x="12343" y="18168"/>
                    <a:pt x="7714" y="17260"/>
                    <a:pt x="0" y="16150"/>
                  </a:cubicBezTo>
                  <a:lnTo>
                    <a:pt x="0" y="0"/>
                  </a:lnTo>
                  <a:cubicBezTo>
                    <a:pt x="12343" y="2019"/>
                    <a:pt x="21600" y="3735"/>
                    <a:pt x="21600" y="5350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9" name="Shape 1420"/>
            <p:cNvSpPr/>
            <p:nvPr/>
          </p:nvSpPr>
          <p:spPr>
            <a:xfrm>
              <a:off x="356539" y="958967"/>
              <a:ext cx="267966" cy="1839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2851"/>
                  </a:moveTo>
                  <a:lnTo>
                    <a:pt x="21600" y="21600"/>
                  </a:lnTo>
                  <a:cubicBezTo>
                    <a:pt x="21600" y="18866"/>
                    <a:pt x="19918" y="15585"/>
                    <a:pt x="16667" y="12851"/>
                  </a:cubicBezTo>
                  <a:cubicBezTo>
                    <a:pt x="16219" y="12523"/>
                    <a:pt x="15920" y="12194"/>
                    <a:pt x="15509" y="11921"/>
                  </a:cubicBezTo>
                  <a:cubicBezTo>
                    <a:pt x="15397" y="11757"/>
                    <a:pt x="15284" y="11757"/>
                    <a:pt x="15172" y="11593"/>
                  </a:cubicBezTo>
                  <a:cubicBezTo>
                    <a:pt x="14873" y="11265"/>
                    <a:pt x="14537" y="11155"/>
                    <a:pt x="14238" y="10991"/>
                  </a:cubicBezTo>
                  <a:cubicBezTo>
                    <a:pt x="14126" y="10991"/>
                    <a:pt x="14014" y="10827"/>
                    <a:pt x="13902" y="10827"/>
                  </a:cubicBezTo>
                  <a:lnTo>
                    <a:pt x="11996" y="9898"/>
                  </a:lnTo>
                  <a:cubicBezTo>
                    <a:pt x="11921" y="9898"/>
                    <a:pt x="11921" y="9898"/>
                    <a:pt x="11809" y="9734"/>
                  </a:cubicBezTo>
                  <a:cubicBezTo>
                    <a:pt x="11361" y="9570"/>
                    <a:pt x="10837" y="9406"/>
                    <a:pt x="10426" y="9296"/>
                  </a:cubicBezTo>
                  <a:cubicBezTo>
                    <a:pt x="10314" y="9296"/>
                    <a:pt x="10202" y="9132"/>
                    <a:pt x="10127" y="9132"/>
                  </a:cubicBezTo>
                  <a:cubicBezTo>
                    <a:pt x="9791" y="8968"/>
                    <a:pt x="9567" y="8968"/>
                    <a:pt x="9268" y="8968"/>
                  </a:cubicBezTo>
                  <a:cubicBezTo>
                    <a:pt x="9156" y="8968"/>
                    <a:pt x="8969" y="8968"/>
                    <a:pt x="8857" y="8804"/>
                  </a:cubicBezTo>
                  <a:cubicBezTo>
                    <a:pt x="8633" y="8804"/>
                    <a:pt x="8408" y="8640"/>
                    <a:pt x="8221" y="8640"/>
                  </a:cubicBezTo>
                  <a:cubicBezTo>
                    <a:pt x="7997" y="8640"/>
                    <a:pt x="7885" y="8531"/>
                    <a:pt x="7773" y="8531"/>
                  </a:cubicBezTo>
                  <a:lnTo>
                    <a:pt x="5381" y="8531"/>
                  </a:lnTo>
                  <a:cubicBezTo>
                    <a:pt x="5157" y="8531"/>
                    <a:pt x="5045" y="8531"/>
                    <a:pt x="4933" y="8640"/>
                  </a:cubicBezTo>
                  <a:cubicBezTo>
                    <a:pt x="4821" y="8804"/>
                    <a:pt x="4634" y="8804"/>
                    <a:pt x="4410" y="8804"/>
                  </a:cubicBezTo>
                  <a:cubicBezTo>
                    <a:pt x="4298" y="8804"/>
                    <a:pt x="4111" y="8804"/>
                    <a:pt x="3999" y="8968"/>
                  </a:cubicBezTo>
                  <a:cubicBezTo>
                    <a:pt x="3588" y="9132"/>
                    <a:pt x="3251" y="9296"/>
                    <a:pt x="2952" y="9406"/>
                  </a:cubicBezTo>
                  <a:cubicBezTo>
                    <a:pt x="2728" y="9570"/>
                    <a:pt x="2616" y="9570"/>
                    <a:pt x="2504" y="9734"/>
                  </a:cubicBezTo>
                  <a:cubicBezTo>
                    <a:pt x="2429" y="9734"/>
                    <a:pt x="2317" y="9898"/>
                    <a:pt x="2317" y="9898"/>
                  </a:cubicBezTo>
                  <a:lnTo>
                    <a:pt x="1682" y="10335"/>
                  </a:lnTo>
                  <a:lnTo>
                    <a:pt x="1570" y="10499"/>
                  </a:lnTo>
                  <a:cubicBezTo>
                    <a:pt x="1345" y="10827"/>
                    <a:pt x="1046" y="10991"/>
                    <a:pt x="934" y="11265"/>
                  </a:cubicBezTo>
                  <a:lnTo>
                    <a:pt x="635" y="11757"/>
                  </a:lnTo>
                  <a:cubicBezTo>
                    <a:pt x="523" y="11757"/>
                    <a:pt x="523" y="11921"/>
                    <a:pt x="523" y="11921"/>
                  </a:cubicBezTo>
                  <a:cubicBezTo>
                    <a:pt x="523" y="12030"/>
                    <a:pt x="411" y="12030"/>
                    <a:pt x="411" y="12194"/>
                  </a:cubicBezTo>
                  <a:cubicBezTo>
                    <a:pt x="411" y="12358"/>
                    <a:pt x="299" y="12358"/>
                    <a:pt x="299" y="12523"/>
                  </a:cubicBezTo>
                  <a:cubicBezTo>
                    <a:pt x="187" y="12687"/>
                    <a:pt x="187" y="12687"/>
                    <a:pt x="187" y="12851"/>
                  </a:cubicBezTo>
                  <a:cubicBezTo>
                    <a:pt x="187" y="12960"/>
                    <a:pt x="187" y="12960"/>
                    <a:pt x="75" y="13124"/>
                  </a:cubicBezTo>
                  <a:cubicBezTo>
                    <a:pt x="75" y="13288"/>
                    <a:pt x="0" y="13452"/>
                    <a:pt x="0" y="13452"/>
                  </a:cubicBezTo>
                  <a:lnTo>
                    <a:pt x="0" y="4648"/>
                  </a:lnTo>
                  <a:cubicBezTo>
                    <a:pt x="0" y="4484"/>
                    <a:pt x="75" y="4320"/>
                    <a:pt x="75" y="4320"/>
                  </a:cubicBezTo>
                  <a:lnTo>
                    <a:pt x="75" y="4047"/>
                  </a:lnTo>
                  <a:cubicBezTo>
                    <a:pt x="75" y="3883"/>
                    <a:pt x="187" y="3883"/>
                    <a:pt x="187" y="3718"/>
                  </a:cubicBezTo>
                  <a:cubicBezTo>
                    <a:pt x="187" y="3718"/>
                    <a:pt x="187" y="3554"/>
                    <a:pt x="299" y="3554"/>
                  </a:cubicBezTo>
                  <a:lnTo>
                    <a:pt x="299" y="3390"/>
                  </a:lnTo>
                  <a:cubicBezTo>
                    <a:pt x="299" y="3281"/>
                    <a:pt x="411" y="3281"/>
                    <a:pt x="411" y="3117"/>
                  </a:cubicBezTo>
                  <a:lnTo>
                    <a:pt x="523" y="2953"/>
                  </a:lnTo>
                  <a:lnTo>
                    <a:pt x="822" y="2461"/>
                  </a:lnTo>
                  <a:cubicBezTo>
                    <a:pt x="1046" y="2187"/>
                    <a:pt x="1271" y="2023"/>
                    <a:pt x="1457" y="1695"/>
                  </a:cubicBezTo>
                  <a:lnTo>
                    <a:pt x="1570" y="1695"/>
                  </a:lnTo>
                  <a:cubicBezTo>
                    <a:pt x="1570" y="1695"/>
                    <a:pt x="1682" y="1695"/>
                    <a:pt x="1682" y="1586"/>
                  </a:cubicBezTo>
                  <a:lnTo>
                    <a:pt x="2317" y="1094"/>
                  </a:lnTo>
                  <a:cubicBezTo>
                    <a:pt x="2429" y="1094"/>
                    <a:pt x="2504" y="930"/>
                    <a:pt x="2504" y="930"/>
                  </a:cubicBezTo>
                  <a:cubicBezTo>
                    <a:pt x="2616" y="766"/>
                    <a:pt x="2840" y="766"/>
                    <a:pt x="2952" y="656"/>
                  </a:cubicBezTo>
                  <a:lnTo>
                    <a:pt x="3027" y="656"/>
                  </a:lnTo>
                  <a:cubicBezTo>
                    <a:pt x="3363" y="492"/>
                    <a:pt x="3774" y="328"/>
                    <a:pt x="4111" y="164"/>
                  </a:cubicBezTo>
                  <a:lnTo>
                    <a:pt x="4522" y="164"/>
                  </a:lnTo>
                  <a:cubicBezTo>
                    <a:pt x="4746" y="164"/>
                    <a:pt x="4821" y="0"/>
                    <a:pt x="5045" y="0"/>
                  </a:cubicBezTo>
                  <a:lnTo>
                    <a:pt x="8520" y="0"/>
                  </a:lnTo>
                  <a:cubicBezTo>
                    <a:pt x="8745" y="0"/>
                    <a:pt x="8969" y="164"/>
                    <a:pt x="9156" y="164"/>
                  </a:cubicBezTo>
                  <a:lnTo>
                    <a:pt x="9567" y="164"/>
                  </a:lnTo>
                  <a:cubicBezTo>
                    <a:pt x="9903" y="164"/>
                    <a:pt x="10127" y="328"/>
                    <a:pt x="10426" y="328"/>
                  </a:cubicBezTo>
                  <a:cubicBezTo>
                    <a:pt x="10538" y="328"/>
                    <a:pt x="10651" y="328"/>
                    <a:pt x="10763" y="492"/>
                  </a:cubicBezTo>
                  <a:lnTo>
                    <a:pt x="10837" y="492"/>
                  </a:lnTo>
                  <a:cubicBezTo>
                    <a:pt x="11286" y="656"/>
                    <a:pt x="11809" y="766"/>
                    <a:pt x="12220" y="930"/>
                  </a:cubicBezTo>
                  <a:lnTo>
                    <a:pt x="12332" y="930"/>
                  </a:lnTo>
                  <a:cubicBezTo>
                    <a:pt x="12444" y="930"/>
                    <a:pt x="12444" y="1094"/>
                    <a:pt x="12444" y="1094"/>
                  </a:cubicBezTo>
                  <a:lnTo>
                    <a:pt x="14313" y="2023"/>
                  </a:lnTo>
                  <a:lnTo>
                    <a:pt x="14425" y="2023"/>
                  </a:lnTo>
                  <a:cubicBezTo>
                    <a:pt x="14537" y="2023"/>
                    <a:pt x="14537" y="2187"/>
                    <a:pt x="14649" y="2187"/>
                  </a:cubicBezTo>
                  <a:cubicBezTo>
                    <a:pt x="14948" y="2351"/>
                    <a:pt x="15284" y="2625"/>
                    <a:pt x="15583" y="2789"/>
                  </a:cubicBezTo>
                  <a:cubicBezTo>
                    <a:pt x="15696" y="2953"/>
                    <a:pt x="15808" y="2953"/>
                    <a:pt x="15920" y="3117"/>
                  </a:cubicBezTo>
                  <a:cubicBezTo>
                    <a:pt x="16331" y="3390"/>
                    <a:pt x="16742" y="3718"/>
                    <a:pt x="17078" y="4047"/>
                  </a:cubicBezTo>
                  <a:cubicBezTo>
                    <a:pt x="19918" y="6671"/>
                    <a:pt x="21600" y="9898"/>
                    <a:pt x="21600" y="12851"/>
                  </a:cubicBez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0" name="Shape 1421"/>
            <p:cNvSpPr/>
            <p:nvPr/>
          </p:nvSpPr>
          <p:spPr>
            <a:xfrm>
              <a:off x="321704" y="1028636"/>
              <a:ext cx="40506" cy="97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6639"/>
                  </a:lnTo>
                  <a:lnTo>
                    <a:pt x="0" y="21600"/>
                  </a:lnTo>
                  <a:lnTo>
                    <a:pt x="0" y="4961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1" name="Shape 1422"/>
            <p:cNvSpPr/>
            <p:nvPr/>
          </p:nvSpPr>
          <p:spPr>
            <a:xfrm>
              <a:off x="59423" y="901593"/>
              <a:ext cx="261818" cy="2249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4444"/>
                  </a:moveTo>
                  <a:lnTo>
                    <a:pt x="21600" y="21600"/>
                  </a:lnTo>
                  <a:lnTo>
                    <a:pt x="0" y="7156"/>
                  </a:lnTo>
                  <a:lnTo>
                    <a:pt x="0" y="0"/>
                  </a:lnTo>
                  <a:lnTo>
                    <a:pt x="21600" y="14444"/>
                  </a:ln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2" name="Shape 1423"/>
            <p:cNvSpPr/>
            <p:nvPr/>
          </p:nvSpPr>
          <p:spPr>
            <a:xfrm>
              <a:off x="1086010" y="942574"/>
              <a:ext cx="224935" cy="2064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7850"/>
                  </a:lnTo>
                  <a:lnTo>
                    <a:pt x="0" y="21600"/>
                  </a:lnTo>
                  <a:lnTo>
                    <a:pt x="0" y="13750"/>
                  </a:lnTo>
                  <a:lnTo>
                    <a:pt x="21600" y="0"/>
                  </a:lnTo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3" name="Shape 1424"/>
            <p:cNvSpPr/>
            <p:nvPr/>
          </p:nvSpPr>
          <p:spPr>
            <a:xfrm>
              <a:off x="948721" y="1153629"/>
              <a:ext cx="40506" cy="97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271"/>
                  </a:moveTo>
                  <a:lnTo>
                    <a:pt x="21600" y="21600"/>
                  </a:lnTo>
                  <a:lnTo>
                    <a:pt x="0" y="16639"/>
                  </a:lnTo>
                  <a:lnTo>
                    <a:pt x="0" y="0"/>
                  </a:lnTo>
                  <a:lnTo>
                    <a:pt x="21600" y="5271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4" name="Shape 1425"/>
            <p:cNvSpPr/>
            <p:nvPr/>
          </p:nvSpPr>
          <p:spPr>
            <a:xfrm>
              <a:off x="979458" y="1139285"/>
              <a:ext cx="271717" cy="183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2" h="21600" extrusionOk="0">
                  <a:moveTo>
                    <a:pt x="21490" y="0"/>
                  </a:moveTo>
                  <a:cubicBezTo>
                    <a:pt x="21600" y="271"/>
                    <a:pt x="21600" y="597"/>
                    <a:pt x="21490" y="1357"/>
                  </a:cubicBezTo>
                  <a:lnTo>
                    <a:pt x="21490" y="0"/>
                  </a:lnTo>
                  <a:close/>
                  <a:moveTo>
                    <a:pt x="21490" y="8738"/>
                  </a:moveTo>
                  <a:lnTo>
                    <a:pt x="21490" y="8846"/>
                  </a:lnTo>
                  <a:cubicBezTo>
                    <a:pt x="21490" y="9172"/>
                    <a:pt x="21490" y="9497"/>
                    <a:pt x="21416" y="9660"/>
                  </a:cubicBezTo>
                  <a:cubicBezTo>
                    <a:pt x="21416" y="9769"/>
                    <a:pt x="21416" y="9769"/>
                    <a:pt x="21306" y="9932"/>
                  </a:cubicBezTo>
                  <a:cubicBezTo>
                    <a:pt x="21195" y="10257"/>
                    <a:pt x="21195" y="10420"/>
                    <a:pt x="21195" y="10529"/>
                  </a:cubicBezTo>
                  <a:lnTo>
                    <a:pt x="21195" y="10691"/>
                  </a:lnTo>
                  <a:cubicBezTo>
                    <a:pt x="21085" y="10854"/>
                    <a:pt x="21085" y="11017"/>
                    <a:pt x="20974" y="11180"/>
                  </a:cubicBezTo>
                  <a:cubicBezTo>
                    <a:pt x="20864" y="11343"/>
                    <a:pt x="20864" y="11451"/>
                    <a:pt x="20864" y="11614"/>
                  </a:cubicBezTo>
                  <a:cubicBezTo>
                    <a:pt x="20864" y="11614"/>
                    <a:pt x="20864" y="11777"/>
                    <a:pt x="20790" y="11777"/>
                  </a:cubicBezTo>
                  <a:cubicBezTo>
                    <a:pt x="20680" y="12103"/>
                    <a:pt x="20459" y="12374"/>
                    <a:pt x="20349" y="12699"/>
                  </a:cubicBezTo>
                  <a:cubicBezTo>
                    <a:pt x="20349" y="12862"/>
                    <a:pt x="20275" y="12862"/>
                    <a:pt x="20275" y="13025"/>
                  </a:cubicBezTo>
                  <a:lnTo>
                    <a:pt x="20165" y="13134"/>
                  </a:lnTo>
                  <a:cubicBezTo>
                    <a:pt x="19944" y="13459"/>
                    <a:pt x="19834" y="13785"/>
                    <a:pt x="19650" y="13948"/>
                  </a:cubicBezTo>
                  <a:lnTo>
                    <a:pt x="19429" y="14219"/>
                  </a:lnTo>
                  <a:lnTo>
                    <a:pt x="19208" y="14545"/>
                  </a:lnTo>
                  <a:lnTo>
                    <a:pt x="19024" y="14870"/>
                  </a:lnTo>
                  <a:cubicBezTo>
                    <a:pt x="18803" y="15142"/>
                    <a:pt x="18583" y="15305"/>
                    <a:pt x="18399" y="15630"/>
                  </a:cubicBezTo>
                  <a:cubicBezTo>
                    <a:pt x="18288" y="15739"/>
                    <a:pt x="18067" y="15902"/>
                    <a:pt x="17957" y="16064"/>
                  </a:cubicBezTo>
                  <a:cubicBezTo>
                    <a:pt x="17663" y="16390"/>
                    <a:pt x="17442" y="16553"/>
                    <a:pt x="17148" y="16824"/>
                  </a:cubicBezTo>
                  <a:cubicBezTo>
                    <a:pt x="17037" y="16987"/>
                    <a:pt x="16927" y="16987"/>
                    <a:pt x="16816" y="17150"/>
                  </a:cubicBezTo>
                  <a:cubicBezTo>
                    <a:pt x="16743" y="17313"/>
                    <a:pt x="16632" y="17313"/>
                    <a:pt x="16632" y="17421"/>
                  </a:cubicBezTo>
                  <a:cubicBezTo>
                    <a:pt x="16007" y="18072"/>
                    <a:pt x="15381" y="18507"/>
                    <a:pt x="14645" y="18832"/>
                  </a:cubicBezTo>
                  <a:lnTo>
                    <a:pt x="14535" y="18832"/>
                  </a:lnTo>
                  <a:cubicBezTo>
                    <a:pt x="13909" y="19266"/>
                    <a:pt x="13210" y="19592"/>
                    <a:pt x="12585" y="19918"/>
                  </a:cubicBezTo>
                  <a:cubicBezTo>
                    <a:pt x="12474" y="19918"/>
                    <a:pt x="12474" y="19918"/>
                    <a:pt x="12364" y="20026"/>
                  </a:cubicBezTo>
                  <a:cubicBezTo>
                    <a:pt x="12070" y="20189"/>
                    <a:pt x="11628" y="20352"/>
                    <a:pt x="11334" y="20515"/>
                  </a:cubicBezTo>
                  <a:cubicBezTo>
                    <a:pt x="11223" y="20677"/>
                    <a:pt x="11113" y="20677"/>
                    <a:pt x="10929" y="20677"/>
                  </a:cubicBezTo>
                  <a:cubicBezTo>
                    <a:pt x="10598" y="20840"/>
                    <a:pt x="10303" y="20949"/>
                    <a:pt x="9972" y="20949"/>
                  </a:cubicBezTo>
                  <a:cubicBezTo>
                    <a:pt x="9862" y="20949"/>
                    <a:pt x="9751" y="20949"/>
                    <a:pt x="9751" y="21112"/>
                  </a:cubicBezTo>
                  <a:lnTo>
                    <a:pt x="9678" y="21112"/>
                  </a:lnTo>
                  <a:cubicBezTo>
                    <a:pt x="9236" y="21274"/>
                    <a:pt x="8721" y="21274"/>
                    <a:pt x="8316" y="21437"/>
                  </a:cubicBezTo>
                  <a:lnTo>
                    <a:pt x="7911" y="21437"/>
                  </a:lnTo>
                  <a:cubicBezTo>
                    <a:pt x="7691" y="21437"/>
                    <a:pt x="7470" y="21600"/>
                    <a:pt x="7175" y="21600"/>
                  </a:cubicBezTo>
                  <a:lnTo>
                    <a:pt x="5299" y="21600"/>
                  </a:lnTo>
                  <a:cubicBezTo>
                    <a:pt x="5188" y="21600"/>
                    <a:pt x="5078" y="21600"/>
                    <a:pt x="4894" y="21437"/>
                  </a:cubicBezTo>
                  <a:lnTo>
                    <a:pt x="4563" y="21437"/>
                  </a:lnTo>
                  <a:cubicBezTo>
                    <a:pt x="4379" y="21437"/>
                    <a:pt x="4158" y="21274"/>
                    <a:pt x="3937" y="21274"/>
                  </a:cubicBezTo>
                  <a:lnTo>
                    <a:pt x="3864" y="21274"/>
                  </a:lnTo>
                  <a:cubicBezTo>
                    <a:pt x="3643" y="21274"/>
                    <a:pt x="3422" y="21112"/>
                    <a:pt x="3312" y="21112"/>
                  </a:cubicBezTo>
                  <a:lnTo>
                    <a:pt x="3238" y="21112"/>
                  </a:lnTo>
                  <a:cubicBezTo>
                    <a:pt x="3128" y="21112"/>
                    <a:pt x="3017" y="20949"/>
                    <a:pt x="2907" y="20949"/>
                  </a:cubicBezTo>
                  <a:cubicBezTo>
                    <a:pt x="2797" y="20949"/>
                    <a:pt x="2723" y="20840"/>
                    <a:pt x="2613" y="20840"/>
                  </a:cubicBezTo>
                  <a:lnTo>
                    <a:pt x="2502" y="20840"/>
                  </a:lnTo>
                  <a:cubicBezTo>
                    <a:pt x="2171" y="20677"/>
                    <a:pt x="1987" y="20515"/>
                    <a:pt x="1766" y="20352"/>
                  </a:cubicBezTo>
                  <a:cubicBezTo>
                    <a:pt x="515" y="19266"/>
                    <a:pt x="0" y="17910"/>
                    <a:pt x="0" y="16227"/>
                  </a:cubicBezTo>
                  <a:lnTo>
                    <a:pt x="0" y="7489"/>
                  </a:lnTo>
                  <a:cubicBezTo>
                    <a:pt x="0" y="9172"/>
                    <a:pt x="626" y="10529"/>
                    <a:pt x="1766" y="11614"/>
                  </a:cubicBezTo>
                  <a:cubicBezTo>
                    <a:pt x="1987" y="11777"/>
                    <a:pt x="2281" y="11940"/>
                    <a:pt x="2502" y="12103"/>
                  </a:cubicBezTo>
                  <a:cubicBezTo>
                    <a:pt x="2613" y="12265"/>
                    <a:pt x="2723" y="12265"/>
                    <a:pt x="2907" y="12265"/>
                  </a:cubicBezTo>
                  <a:cubicBezTo>
                    <a:pt x="3017" y="12265"/>
                    <a:pt x="3128" y="12374"/>
                    <a:pt x="3238" y="12374"/>
                  </a:cubicBezTo>
                  <a:cubicBezTo>
                    <a:pt x="3422" y="12537"/>
                    <a:pt x="3643" y="12537"/>
                    <a:pt x="3864" y="12699"/>
                  </a:cubicBezTo>
                  <a:lnTo>
                    <a:pt x="3937" y="12699"/>
                  </a:lnTo>
                  <a:cubicBezTo>
                    <a:pt x="4158" y="12862"/>
                    <a:pt x="4489" y="12862"/>
                    <a:pt x="4673" y="12862"/>
                  </a:cubicBezTo>
                  <a:lnTo>
                    <a:pt x="4894" y="12862"/>
                  </a:lnTo>
                  <a:cubicBezTo>
                    <a:pt x="5078" y="12862"/>
                    <a:pt x="5299" y="13025"/>
                    <a:pt x="5409" y="13025"/>
                  </a:cubicBezTo>
                  <a:lnTo>
                    <a:pt x="7065" y="13025"/>
                  </a:lnTo>
                  <a:cubicBezTo>
                    <a:pt x="7286" y="13025"/>
                    <a:pt x="7470" y="13025"/>
                    <a:pt x="7801" y="12862"/>
                  </a:cubicBezTo>
                  <a:lnTo>
                    <a:pt x="8206" y="12862"/>
                  </a:lnTo>
                  <a:cubicBezTo>
                    <a:pt x="8611" y="12699"/>
                    <a:pt x="9163" y="12699"/>
                    <a:pt x="9567" y="12537"/>
                  </a:cubicBezTo>
                  <a:cubicBezTo>
                    <a:pt x="9678" y="12537"/>
                    <a:pt x="9751" y="12537"/>
                    <a:pt x="9862" y="12374"/>
                  </a:cubicBezTo>
                  <a:cubicBezTo>
                    <a:pt x="10193" y="12265"/>
                    <a:pt x="10487" y="12265"/>
                    <a:pt x="10818" y="12103"/>
                  </a:cubicBezTo>
                  <a:cubicBezTo>
                    <a:pt x="10929" y="11940"/>
                    <a:pt x="11002" y="11940"/>
                    <a:pt x="11223" y="11940"/>
                  </a:cubicBezTo>
                  <a:cubicBezTo>
                    <a:pt x="11518" y="11777"/>
                    <a:pt x="11959" y="11614"/>
                    <a:pt x="12253" y="11451"/>
                  </a:cubicBezTo>
                  <a:cubicBezTo>
                    <a:pt x="12364" y="11451"/>
                    <a:pt x="12364" y="11451"/>
                    <a:pt x="12474" y="11343"/>
                  </a:cubicBezTo>
                  <a:cubicBezTo>
                    <a:pt x="13100" y="11017"/>
                    <a:pt x="13836" y="10691"/>
                    <a:pt x="14425" y="10257"/>
                  </a:cubicBezTo>
                  <a:lnTo>
                    <a:pt x="14535" y="10257"/>
                  </a:lnTo>
                  <a:cubicBezTo>
                    <a:pt x="15160" y="9769"/>
                    <a:pt x="15896" y="9335"/>
                    <a:pt x="16522" y="8846"/>
                  </a:cubicBezTo>
                  <a:cubicBezTo>
                    <a:pt x="16743" y="8738"/>
                    <a:pt x="16816" y="8575"/>
                    <a:pt x="17037" y="8412"/>
                  </a:cubicBezTo>
                  <a:cubicBezTo>
                    <a:pt x="17332" y="8086"/>
                    <a:pt x="17552" y="7978"/>
                    <a:pt x="17883" y="7652"/>
                  </a:cubicBezTo>
                  <a:cubicBezTo>
                    <a:pt x="17957" y="7489"/>
                    <a:pt x="18178" y="7327"/>
                    <a:pt x="18288" y="7164"/>
                  </a:cubicBezTo>
                  <a:cubicBezTo>
                    <a:pt x="18509" y="6892"/>
                    <a:pt x="18693" y="6730"/>
                    <a:pt x="18914" y="6404"/>
                  </a:cubicBezTo>
                  <a:cubicBezTo>
                    <a:pt x="19024" y="6241"/>
                    <a:pt x="19208" y="6133"/>
                    <a:pt x="19319" y="5970"/>
                  </a:cubicBezTo>
                  <a:lnTo>
                    <a:pt x="19539" y="5644"/>
                  </a:lnTo>
                  <a:cubicBezTo>
                    <a:pt x="19723" y="5373"/>
                    <a:pt x="19834" y="5047"/>
                    <a:pt x="20055" y="4884"/>
                  </a:cubicBezTo>
                  <a:cubicBezTo>
                    <a:pt x="20165" y="4884"/>
                    <a:pt x="20165" y="4722"/>
                    <a:pt x="20165" y="4722"/>
                  </a:cubicBezTo>
                  <a:lnTo>
                    <a:pt x="20349" y="4450"/>
                  </a:lnTo>
                  <a:cubicBezTo>
                    <a:pt x="20459" y="4125"/>
                    <a:pt x="20680" y="3799"/>
                    <a:pt x="20790" y="3528"/>
                  </a:cubicBezTo>
                  <a:cubicBezTo>
                    <a:pt x="20864" y="3365"/>
                    <a:pt x="20864" y="3202"/>
                    <a:pt x="20974" y="2876"/>
                  </a:cubicBezTo>
                  <a:cubicBezTo>
                    <a:pt x="21085" y="2768"/>
                    <a:pt x="21085" y="2605"/>
                    <a:pt x="21195" y="2442"/>
                  </a:cubicBezTo>
                  <a:cubicBezTo>
                    <a:pt x="21306" y="2117"/>
                    <a:pt x="21306" y="1954"/>
                    <a:pt x="21416" y="1682"/>
                  </a:cubicBezTo>
                  <a:cubicBezTo>
                    <a:pt x="21416" y="1520"/>
                    <a:pt x="21490" y="1520"/>
                    <a:pt x="21490" y="1357"/>
                  </a:cubicBezTo>
                  <a:lnTo>
                    <a:pt x="21490" y="8738"/>
                  </a:lnTo>
                  <a:close/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5" name="Shape 1426"/>
            <p:cNvSpPr/>
            <p:nvPr/>
          </p:nvSpPr>
          <p:spPr>
            <a:xfrm>
              <a:off x="723323" y="1153629"/>
              <a:ext cx="224936" cy="2064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7850"/>
                  </a:lnTo>
                  <a:lnTo>
                    <a:pt x="0" y="21600"/>
                  </a:lnTo>
                  <a:lnTo>
                    <a:pt x="0" y="13750"/>
                  </a:lnTo>
                  <a:lnTo>
                    <a:pt x="21600" y="0"/>
                  </a:lnTo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6" name="Shape 1427"/>
            <p:cNvSpPr/>
            <p:nvPr/>
          </p:nvSpPr>
          <p:spPr>
            <a:xfrm>
              <a:off x="461042" y="1133138"/>
              <a:ext cx="261819" cy="2249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4430"/>
                  </a:moveTo>
                  <a:lnTo>
                    <a:pt x="21600" y="21600"/>
                  </a:lnTo>
                  <a:lnTo>
                    <a:pt x="0" y="7037"/>
                  </a:lnTo>
                  <a:lnTo>
                    <a:pt x="115" y="0"/>
                  </a:lnTo>
                  <a:lnTo>
                    <a:pt x="21600" y="14430"/>
                  </a:ln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7" name="Shape 1428"/>
            <p:cNvSpPr/>
            <p:nvPr/>
          </p:nvSpPr>
          <p:spPr>
            <a:xfrm>
              <a:off x="57374" y="559397"/>
              <a:ext cx="1251521" cy="7249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24" y="19457"/>
                  </a:moveTo>
                  <a:cubicBezTo>
                    <a:pt x="18458" y="20508"/>
                    <a:pt x="17007" y="20826"/>
                    <a:pt x="16286" y="20120"/>
                  </a:cubicBezTo>
                  <a:cubicBezTo>
                    <a:pt x="15877" y="19692"/>
                    <a:pt x="15789" y="19069"/>
                    <a:pt x="16014" y="18364"/>
                  </a:cubicBezTo>
                  <a:lnTo>
                    <a:pt x="15332" y="17700"/>
                  </a:lnTo>
                  <a:lnTo>
                    <a:pt x="11445" y="21600"/>
                  </a:lnTo>
                  <a:lnTo>
                    <a:pt x="6925" y="17106"/>
                  </a:lnTo>
                  <a:lnTo>
                    <a:pt x="7574" y="16456"/>
                  </a:lnTo>
                  <a:cubicBezTo>
                    <a:pt x="8279" y="16677"/>
                    <a:pt x="8937" y="16608"/>
                    <a:pt x="9345" y="16179"/>
                  </a:cubicBezTo>
                  <a:cubicBezTo>
                    <a:pt x="10067" y="15474"/>
                    <a:pt x="9746" y="13994"/>
                    <a:pt x="8688" y="12943"/>
                  </a:cubicBezTo>
                  <a:cubicBezTo>
                    <a:pt x="7598" y="11879"/>
                    <a:pt x="6155" y="11574"/>
                    <a:pt x="5450" y="12280"/>
                  </a:cubicBezTo>
                  <a:cubicBezTo>
                    <a:pt x="5041" y="12708"/>
                    <a:pt x="4977" y="13372"/>
                    <a:pt x="5178" y="14036"/>
                  </a:cubicBezTo>
                  <a:lnTo>
                    <a:pt x="4520" y="14700"/>
                  </a:lnTo>
                  <a:lnTo>
                    <a:pt x="0" y="10205"/>
                  </a:lnTo>
                  <a:lnTo>
                    <a:pt x="3887" y="6320"/>
                  </a:lnTo>
                  <a:lnTo>
                    <a:pt x="3214" y="5656"/>
                  </a:lnTo>
                  <a:cubicBezTo>
                    <a:pt x="2509" y="5891"/>
                    <a:pt x="1851" y="5808"/>
                    <a:pt x="1451" y="5379"/>
                  </a:cubicBezTo>
                  <a:cubicBezTo>
                    <a:pt x="721" y="4674"/>
                    <a:pt x="1018" y="3194"/>
                    <a:pt x="2084" y="2143"/>
                  </a:cubicBezTo>
                  <a:cubicBezTo>
                    <a:pt x="3142" y="1092"/>
                    <a:pt x="4593" y="774"/>
                    <a:pt x="5314" y="1480"/>
                  </a:cubicBezTo>
                  <a:cubicBezTo>
                    <a:pt x="5723" y="1908"/>
                    <a:pt x="5811" y="2572"/>
                    <a:pt x="5586" y="3236"/>
                  </a:cubicBezTo>
                  <a:lnTo>
                    <a:pt x="6268" y="3900"/>
                  </a:lnTo>
                  <a:lnTo>
                    <a:pt x="10155" y="0"/>
                  </a:lnTo>
                  <a:lnTo>
                    <a:pt x="14683" y="4480"/>
                  </a:lnTo>
                  <a:lnTo>
                    <a:pt x="14026" y="5144"/>
                  </a:lnTo>
                  <a:cubicBezTo>
                    <a:pt x="13321" y="4909"/>
                    <a:pt x="12663" y="4992"/>
                    <a:pt x="12263" y="5421"/>
                  </a:cubicBezTo>
                  <a:cubicBezTo>
                    <a:pt x="11557" y="6126"/>
                    <a:pt x="11854" y="7606"/>
                    <a:pt x="12912" y="8643"/>
                  </a:cubicBezTo>
                  <a:cubicBezTo>
                    <a:pt x="14002" y="9694"/>
                    <a:pt x="15453" y="10012"/>
                    <a:pt x="16150" y="9307"/>
                  </a:cubicBezTo>
                  <a:cubicBezTo>
                    <a:pt x="16559" y="8878"/>
                    <a:pt x="16623" y="8256"/>
                    <a:pt x="16422" y="7564"/>
                  </a:cubicBezTo>
                  <a:lnTo>
                    <a:pt x="17080" y="6900"/>
                  </a:lnTo>
                  <a:lnTo>
                    <a:pt x="21600" y="11381"/>
                  </a:lnTo>
                  <a:lnTo>
                    <a:pt x="17713" y="15280"/>
                  </a:lnTo>
                  <a:lnTo>
                    <a:pt x="18386" y="15944"/>
                  </a:lnTo>
                  <a:cubicBezTo>
                    <a:pt x="19091" y="15709"/>
                    <a:pt x="19749" y="15792"/>
                    <a:pt x="20157" y="16221"/>
                  </a:cubicBezTo>
                  <a:cubicBezTo>
                    <a:pt x="20903" y="16912"/>
                    <a:pt x="20606" y="18406"/>
                    <a:pt x="19524" y="19457"/>
                  </a:cubicBezTo>
                </a:path>
              </a:pathLst>
            </a:custGeom>
            <a:solidFill>
              <a:srgbClr val="FAFFE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8" name="Shape 1429"/>
            <p:cNvSpPr/>
            <p:nvPr/>
          </p:nvSpPr>
          <p:spPr>
            <a:xfrm>
              <a:off x="1309359" y="1565493"/>
              <a:ext cx="34364" cy="487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8514"/>
                  </a:moveTo>
                  <a:lnTo>
                    <a:pt x="0" y="15634"/>
                  </a:lnTo>
                  <a:cubicBezTo>
                    <a:pt x="0" y="15634"/>
                    <a:pt x="5918" y="12754"/>
                    <a:pt x="5030" y="6994"/>
                  </a:cubicBezTo>
                  <a:cubicBezTo>
                    <a:pt x="5030" y="1234"/>
                    <a:pt x="11540" y="0"/>
                    <a:pt x="11540" y="0"/>
                  </a:cubicBezTo>
                  <a:lnTo>
                    <a:pt x="16570" y="2263"/>
                  </a:lnTo>
                  <a:lnTo>
                    <a:pt x="21600" y="11726"/>
                  </a:lnTo>
                  <a:lnTo>
                    <a:pt x="8581" y="21600"/>
                  </a:lnTo>
                  <a:lnTo>
                    <a:pt x="0" y="18514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9" name="Shape 1430"/>
            <p:cNvSpPr/>
            <p:nvPr/>
          </p:nvSpPr>
          <p:spPr>
            <a:xfrm>
              <a:off x="1298343" y="1561395"/>
              <a:ext cx="63828" cy="610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76" h="21600" extrusionOk="0">
                  <a:moveTo>
                    <a:pt x="9913" y="4710"/>
                  </a:moveTo>
                  <a:cubicBezTo>
                    <a:pt x="9450" y="974"/>
                    <a:pt x="13307" y="0"/>
                    <a:pt x="13307" y="0"/>
                  </a:cubicBezTo>
                  <a:cubicBezTo>
                    <a:pt x="13307" y="0"/>
                    <a:pt x="17319" y="2111"/>
                    <a:pt x="18553" y="5197"/>
                  </a:cubicBezTo>
                  <a:cubicBezTo>
                    <a:pt x="19942" y="8445"/>
                    <a:pt x="19942" y="11044"/>
                    <a:pt x="21176" y="12830"/>
                  </a:cubicBezTo>
                  <a:lnTo>
                    <a:pt x="17627" y="15266"/>
                  </a:lnTo>
                  <a:lnTo>
                    <a:pt x="15467" y="13805"/>
                  </a:lnTo>
                  <a:cubicBezTo>
                    <a:pt x="15467" y="13805"/>
                    <a:pt x="15467" y="15591"/>
                    <a:pt x="13770" y="17540"/>
                  </a:cubicBezTo>
                  <a:cubicBezTo>
                    <a:pt x="12073" y="19326"/>
                    <a:pt x="3896" y="21600"/>
                    <a:pt x="3896" y="21600"/>
                  </a:cubicBezTo>
                  <a:cubicBezTo>
                    <a:pt x="3896" y="21600"/>
                    <a:pt x="502" y="21113"/>
                    <a:pt x="39" y="18839"/>
                  </a:cubicBezTo>
                  <a:cubicBezTo>
                    <a:pt x="-424" y="16078"/>
                    <a:pt x="3433" y="13317"/>
                    <a:pt x="3433" y="13317"/>
                  </a:cubicBezTo>
                  <a:cubicBezTo>
                    <a:pt x="3433" y="13317"/>
                    <a:pt x="5285" y="16078"/>
                    <a:pt x="7445" y="14292"/>
                  </a:cubicBezTo>
                  <a:cubicBezTo>
                    <a:pt x="8987" y="12830"/>
                    <a:pt x="10685" y="7795"/>
                    <a:pt x="9913" y="4710"/>
                  </a:cubicBezTo>
                </a:path>
              </a:pathLst>
            </a:custGeom>
            <a:solidFill>
              <a:srgbClr val="6F7C76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0" name="Shape 1431"/>
            <p:cNvSpPr/>
            <p:nvPr/>
          </p:nvSpPr>
          <p:spPr>
            <a:xfrm>
              <a:off x="1139285" y="1609980"/>
              <a:ext cx="42564" cy="390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9821" extrusionOk="0">
                  <a:moveTo>
                    <a:pt x="0" y="13175"/>
                  </a:moveTo>
                  <a:lnTo>
                    <a:pt x="2136" y="10326"/>
                  </a:lnTo>
                  <a:cubicBezTo>
                    <a:pt x="2136" y="10326"/>
                    <a:pt x="7596" y="10326"/>
                    <a:pt x="10919" y="4392"/>
                  </a:cubicBezTo>
                  <a:cubicBezTo>
                    <a:pt x="14242" y="-1779"/>
                    <a:pt x="19464" y="357"/>
                    <a:pt x="19464" y="357"/>
                  </a:cubicBezTo>
                  <a:lnTo>
                    <a:pt x="21600" y="5105"/>
                  </a:lnTo>
                  <a:lnTo>
                    <a:pt x="18989" y="16498"/>
                  </a:lnTo>
                  <a:lnTo>
                    <a:pt x="4035" y="19821"/>
                  </a:lnTo>
                  <a:lnTo>
                    <a:pt x="0" y="13175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1" name="Shape 1432"/>
            <p:cNvSpPr/>
            <p:nvPr/>
          </p:nvSpPr>
          <p:spPr>
            <a:xfrm>
              <a:off x="1127130" y="1615586"/>
              <a:ext cx="69245" cy="443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04" h="19663" extrusionOk="0">
                  <a:moveTo>
                    <a:pt x="14120" y="2632"/>
                  </a:moveTo>
                  <a:cubicBezTo>
                    <a:pt x="14803" y="-1314"/>
                    <a:pt x="18768" y="348"/>
                    <a:pt x="18768" y="348"/>
                  </a:cubicBezTo>
                  <a:cubicBezTo>
                    <a:pt x="18768" y="348"/>
                    <a:pt x="20955" y="5748"/>
                    <a:pt x="20271" y="9694"/>
                  </a:cubicBezTo>
                  <a:cubicBezTo>
                    <a:pt x="19451" y="13848"/>
                    <a:pt x="17947" y="16755"/>
                    <a:pt x="18358" y="19663"/>
                  </a:cubicBezTo>
                  <a:lnTo>
                    <a:pt x="14803" y="19663"/>
                  </a:lnTo>
                  <a:lnTo>
                    <a:pt x="14120" y="16755"/>
                  </a:lnTo>
                  <a:cubicBezTo>
                    <a:pt x="14120" y="16755"/>
                    <a:pt x="13299" y="18001"/>
                    <a:pt x="10975" y="19040"/>
                  </a:cubicBezTo>
                  <a:cubicBezTo>
                    <a:pt x="8651" y="20286"/>
                    <a:pt x="1679" y="16132"/>
                    <a:pt x="1679" y="16132"/>
                  </a:cubicBezTo>
                  <a:cubicBezTo>
                    <a:pt x="1679" y="16132"/>
                    <a:pt x="-645" y="12601"/>
                    <a:pt x="175" y="9694"/>
                  </a:cubicBezTo>
                  <a:cubicBezTo>
                    <a:pt x="996" y="6786"/>
                    <a:pt x="5233" y="6786"/>
                    <a:pt x="5233" y="6786"/>
                  </a:cubicBezTo>
                  <a:cubicBezTo>
                    <a:pt x="5233" y="6786"/>
                    <a:pt x="5233" y="10940"/>
                    <a:pt x="7558" y="10940"/>
                  </a:cubicBezTo>
                  <a:cubicBezTo>
                    <a:pt x="9882" y="10940"/>
                    <a:pt x="12889" y="6786"/>
                    <a:pt x="14120" y="2632"/>
                  </a:cubicBezTo>
                </a:path>
              </a:pathLst>
            </a:custGeom>
            <a:solidFill>
              <a:srgbClr val="6F7C76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2" name="Shape 1433"/>
            <p:cNvSpPr/>
            <p:nvPr/>
          </p:nvSpPr>
          <p:spPr>
            <a:xfrm>
              <a:off x="1234429" y="1333948"/>
              <a:ext cx="113397" cy="2513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90" h="21064" extrusionOk="0">
                  <a:moveTo>
                    <a:pt x="2321" y="2098"/>
                  </a:moveTo>
                  <a:lnTo>
                    <a:pt x="10740" y="0"/>
                  </a:lnTo>
                  <a:cubicBezTo>
                    <a:pt x="10740" y="0"/>
                    <a:pt x="14567" y="2331"/>
                    <a:pt x="12101" y="4196"/>
                  </a:cubicBezTo>
                  <a:cubicBezTo>
                    <a:pt x="9975" y="5711"/>
                    <a:pt x="10230" y="8896"/>
                    <a:pt x="10230" y="9557"/>
                  </a:cubicBezTo>
                  <a:cubicBezTo>
                    <a:pt x="10230" y="9557"/>
                    <a:pt x="11676" y="10528"/>
                    <a:pt x="12866" y="11732"/>
                  </a:cubicBezTo>
                  <a:cubicBezTo>
                    <a:pt x="14057" y="12937"/>
                    <a:pt x="19244" y="18647"/>
                    <a:pt x="20690" y="19424"/>
                  </a:cubicBezTo>
                  <a:cubicBezTo>
                    <a:pt x="20690" y="19424"/>
                    <a:pt x="17373" y="21600"/>
                    <a:pt x="14567" y="20940"/>
                  </a:cubicBezTo>
                  <a:cubicBezTo>
                    <a:pt x="14567" y="20940"/>
                    <a:pt x="3427" y="12859"/>
                    <a:pt x="1301" y="11965"/>
                  </a:cubicBezTo>
                  <a:cubicBezTo>
                    <a:pt x="-910" y="11072"/>
                    <a:pt x="366" y="4740"/>
                    <a:pt x="366" y="4740"/>
                  </a:cubicBezTo>
                  <a:lnTo>
                    <a:pt x="2321" y="2098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3" name="Shape 1434"/>
            <p:cNvSpPr/>
            <p:nvPr/>
          </p:nvSpPr>
          <p:spPr>
            <a:xfrm>
              <a:off x="1158191" y="1350197"/>
              <a:ext cx="105562" cy="2719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951" h="19936" extrusionOk="0">
                  <a:moveTo>
                    <a:pt x="19369" y="563"/>
                  </a:moveTo>
                  <a:cubicBezTo>
                    <a:pt x="21125" y="2604"/>
                    <a:pt x="18579" y="4611"/>
                    <a:pt x="16120" y="5189"/>
                  </a:cubicBezTo>
                  <a:cubicBezTo>
                    <a:pt x="13662" y="5767"/>
                    <a:pt x="8920" y="9407"/>
                    <a:pt x="8920" y="9407"/>
                  </a:cubicBezTo>
                  <a:cubicBezTo>
                    <a:pt x="9974" y="11414"/>
                    <a:pt x="7954" y="16210"/>
                    <a:pt x="6988" y="17469"/>
                  </a:cubicBezTo>
                  <a:cubicBezTo>
                    <a:pt x="6023" y="18795"/>
                    <a:pt x="6725" y="19782"/>
                    <a:pt x="6725" y="19782"/>
                  </a:cubicBezTo>
                  <a:cubicBezTo>
                    <a:pt x="4003" y="20258"/>
                    <a:pt x="52" y="19476"/>
                    <a:pt x="52" y="19476"/>
                  </a:cubicBezTo>
                  <a:cubicBezTo>
                    <a:pt x="52" y="19476"/>
                    <a:pt x="315" y="16108"/>
                    <a:pt x="315" y="13931"/>
                  </a:cubicBezTo>
                  <a:cubicBezTo>
                    <a:pt x="491" y="11618"/>
                    <a:pt x="-475" y="9611"/>
                    <a:pt x="315" y="8046"/>
                  </a:cubicBezTo>
                  <a:cubicBezTo>
                    <a:pt x="1018" y="6618"/>
                    <a:pt x="6198" y="2196"/>
                    <a:pt x="6198" y="2196"/>
                  </a:cubicBezTo>
                  <a:cubicBezTo>
                    <a:pt x="6198" y="2196"/>
                    <a:pt x="17613" y="-1342"/>
                    <a:pt x="19369" y="563"/>
                  </a:cubicBezTo>
                </a:path>
              </a:pathLst>
            </a:custGeom>
            <a:solidFill>
              <a:srgbClr val="52858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4" name="Shape 1435"/>
            <p:cNvSpPr/>
            <p:nvPr/>
          </p:nvSpPr>
          <p:spPr>
            <a:xfrm>
              <a:off x="1233543" y="1180267"/>
              <a:ext cx="26172" cy="220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6300"/>
                  </a:moveTo>
                  <a:lnTo>
                    <a:pt x="18514" y="0"/>
                  </a:lnTo>
                  <a:lnTo>
                    <a:pt x="21600" y="16650"/>
                  </a:lnTo>
                  <a:lnTo>
                    <a:pt x="1157" y="21600"/>
                  </a:lnTo>
                  <a:lnTo>
                    <a:pt x="0" y="6300"/>
                  </a:lnTo>
                </a:path>
              </a:pathLst>
            </a:custGeom>
            <a:solidFill>
              <a:srgbClr val="FFFF7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5" name="Shape 1436"/>
            <p:cNvSpPr/>
            <p:nvPr/>
          </p:nvSpPr>
          <p:spPr>
            <a:xfrm>
              <a:off x="1192848" y="1194611"/>
              <a:ext cx="114000" cy="1942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46" h="19922" extrusionOk="0">
                  <a:moveTo>
                    <a:pt x="17871" y="10800"/>
                  </a:moveTo>
                  <a:cubicBezTo>
                    <a:pt x="17871" y="12425"/>
                    <a:pt x="20446" y="16726"/>
                    <a:pt x="20446" y="16726"/>
                  </a:cubicBezTo>
                  <a:cubicBezTo>
                    <a:pt x="15295" y="21600"/>
                    <a:pt x="923" y="19450"/>
                    <a:pt x="923" y="19450"/>
                  </a:cubicBezTo>
                  <a:cubicBezTo>
                    <a:pt x="923" y="19450"/>
                    <a:pt x="-1154" y="19688"/>
                    <a:pt x="923" y="17825"/>
                  </a:cubicBezTo>
                  <a:cubicBezTo>
                    <a:pt x="3083" y="16057"/>
                    <a:pt x="4911" y="11612"/>
                    <a:pt x="2834" y="7168"/>
                  </a:cubicBezTo>
                  <a:cubicBezTo>
                    <a:pt x="923" y="2724"/>
                    <a:pt x="923" y="4444"/>
                    <a:pt x="2335" y="2963"/>
                  </a:cubicBezTo>
                  <a:cubicBezTo>
                    <a:pt x="3581" y="1768"/>
                    <a:pt x="7569" y="0"/>
                    <a:pt x="11474" y="0"/>
                  </a:cubicBezTo>
                  <a:cubicBezTo>
                    <a:pt x="15711" y="0"/>
                    <a:pt x="18120" y="1912"/>
                    <a:pt x="18120" y="1912"/>
                  </a:cubicBezTo>
                  <a:cubicBezTo>
                    <a:pt x="18286" y="3393"/>
                    <a:pt x="17871" y="9175"/>
                    <a:pt x="17871" y="10800"/>
                  </a:cubicBezTo>
                </a:path>
              </a:pathLst>
            </a:custGeom>
            <a:solidFill>
              <a:srgbClr val="699A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6" name="Shape 1437"/>
            <p:cNvSpPr/>
            <p:nvPr/>
          </p:nvSpPr>
          <p:spPr>
            <a:xfrm>
              <a:off x="1115176" y="1212667"/>
              <a:ext cx="124217" cy="1147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15" h="19577" extrusionOk="0">
                  <a:moveTo>
                    <a:pt x="20021" y="5570"/>
                  </a:moveTo>
                  <a:cubicBezTo>
                    <a:pt x="18960" y="10034"/>
                    <a:pt x="17217" y="10512"/>
                    <a:pt x="16383" y="12026"/>
                  </a:cubicBezTo>
                  <a:cubicBezTo>
                    <a:pt x="13428" y="16968"/>
                    <a:pt x="11457" y="18562"/>
                    <a:pt x="5091" y="19518"/>
                  </a:cubicBezTo>
                  <a:cubicBezTo>
                    <a:pt x="2287" y="19917"/>
                    <a:pt x="-745" y="18163"/>
                    <a:pt x="164" y="17924"/>
                  </a:cubicBezTo>
                  <a:cubicBezTo>
                    <a:pt x="4863" y="16569"/>
                    <a:pt x="9790" y="13142"/>
                    <a:pt x="10396" y="10910"/>
                  </a:cubicBezTo>
                  <a:cubicBezTo>
                    <a:pt x="10623" y="10512"/>
                    <a:pt x="11912" y="8041"/>
                    <a:pt x="12367" y="7085"/>
                  </a:cubicBezTo>
                  <a:cubicBezTo>
                    <a:pt x="13200" y="5092"/>
                    <a:pt x="14489" y="-1683"/>
                    <a:pt x="18733" y="389"/>
                  </a:cubicBezTo>
                  <a:cubicBezTo>
                    <a:pt x="18733" y="389"/>
                    <a:pt x="20855" y="1505"/>
                    <a:pt x="20021" y="557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7" name="Shape 1438"/>
            <p:cNvSpPr/>
            <p:nvPr/>
          </p:nvSpPr>
          <p:spPr>
            <a:xfrm>
              <a:off x="1213717" y="1141334"/>
              <a:ext cx="45366" cy="552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860" h="19572" extrusionOk="0">
                  <a:moveTo>
                    <a:pt x="12202" y="0"/>
                  </a:moveTo>
                  <a:lnTo>
                    <a:pt x="17829" y="8182"/>
                  </a:lnTo>
                  <a:cubicBezTo>
                    <a:pt x="17829" y="8182"/>
                    <a:pt x="18918" y="21600"/>
                    <a:pt x="8209" y="19309"/>
                  </a:cubicBezTo>
                  <a:cubicBezTo>
                    <a:pt x="-2682" y="17018"/>
                    <a:pt x="404" y="2291"/>
                    <a:pt x="404" y="2291"/>
                  </a:cubicBezTo>
                  <a:lnTo>
                    <a:pt x="12202" y="0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8" name="Shape 1439"/>
            <p:cNvSpPr/>
            <p:nvPr/>
          </p:nvSpPr>
          <p:spPr>
            <a:xfrm>
              <a:off x="1213052" y="1105460"/>
              <a:ext cx="84202" cy="1541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48" h="19400" extrusionOk="0">
                  <a:moveTo>
                    <a:pt x="0" y="4869"/>
                  </a:moveTo>
                  <a:cubicBezTo>
                    <a:pt x="0" y="4694"/>
                    <a:pt x="0" y="432"/>
                    <a:pt x="7630" y="82"/>
                  </a:cubicBezTo>
                  <a:cubicBezTo>
                    <a:pt x="14322" y="-385"/>
                    <a:pt x="20896" y="1074"/>
                    <a:pt x="21248" y="6037"/>
                  </a:cubicBezTo>
                  <a:lnTo>
                    <a:pt x="21248" y="6854"/>
                  </a:lnTo>
                  <a:cubicBezTo>
                    <a:pt x="21248" y="7379"/>
                    <a:pt x="20896" y="7846"/>
                    <a:pt x="20543" y="8372"/>
                  </a:cubicBezTo>
                  <a:cubicBezTo>
                    <a:pt x="19252" y="11291"/>
                    <a:pt x="21600" y="17070"/>
                    <a:pt x="20896" y="17245"/>
                  </a:cubicBezTo>
                  <a:cubicBezTo>
                    <a:pt x="14909" y="17887"/>
                    <a:pt x="11270" y="21215"/>
                    <a:pt x="5635" y="18063"/>
                  </a:cubicBezTo>
                  <a:cubicBezTo>
                    <a:pt x="5400" y="17887"/>
                    <a:pt x="5635" y="16895"/>
                    <a:pt x="4696" y="13918"/>
                  </a:cubicBezTo>
                  <a:cubicBezTo>
                    <a:pt x="4696" y="13918"/>
                    <a:pt x="5400" y="12458"/>
                    <a:pt x="5635" y="11466"/>
                  </a:cubicBezTo>
                  <a:cubicBezTo>
                    <a:pt x="5400" y="11466"/>
                    <a:pt x="5400" y="11466"/>
                    <a:pt x="5400" y="11466"/>
                  </a:cubicBezTo>
                  <a:cubicBezTo>
                    <a:pt x="5400" y="11466"/>
                    <a:pt x="6691" y="9539"/>
                    <a:pt x="6691" y="8021"/>
                  </a:cubicBezTo>
                  <a:cubicBezTo>
                    <a:pt x="6691" y="6562"/>
                    <a:pt x="5400" y="5570"/>
                    <a:pt x="4343" y="7671"/>
                  </a:cubicBezTo>
                  <a:cubicBezTo>
                    <a:pt x="4343" y="7671"/>
                    <a:pt x="1057" y="6212"/>
                    <a:pt x="0" y="4869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9" name="Shape 1440"/>
            <p:cNvSpPr/>
            <p:nvPr/>
          </p:nvSpPr>
          <p:spPr>
            <a:xfrm>
              <a:off x="802996" y="1233322"/>
              <a:ext cx="16393" cy="163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900" y="2400"/>
                  </a:moveTo>
                  <a:cubicBezTo>
                    <a:pt x="18900" y="1200"/>
                    <a:pt x="20250" y="600"/>
                    <a:pt x="21600" y="0"/>
                  </a:cubicBezTo>
                  <a:cubicBezTo>
                    <a:pt x="21600" y="600"/>
                    <a:pt x="20250" y="1200"/>
                    <a:pt x="18900" y="2400"/>
                  </a:cubicBezTo>
                  <a:close/>
                  <a:moveTo>
                    <a:pt x="10800" y="10800"/>
                  </a:moveTo>
                  <a:lnTo>
                    <a:pt x="10800" y="9000"/>
                  </a:lnTo>
                  <a:cubicBezTo>
                    <a:pt x="14850" y="10800"/>
                    <a:pt x="10800" y="10800"/>
                    <a:pt x="10800" y="10800"/>
                  </a:cubicBezTo>
                  <a:close/>
                  <a:moveTo>
                    <a:pt x="2700" y="21000"/>
                  </a:moveTo>
                  <a:cubicBezTo>
                    <a:pt x="2700" y="21000"/>
                    <a:pt x="1350" y="21000"/>
                    <a:pt x="0" y="21600"/>
                  </a:cubicBezTo>
                  <a:cubicBezTo>
                    <a:pt x="1350" y="21000"/>
                    <a:pt x="1350" y="21000"/>
                    <a:pt x="2700" y="21000"/>
                  </a:cubicBezTo>
                  <a:close/>
                </a:path>
              </a:pathLst>
            </a:custGeom>
            <a:solidFill>
              <a:srgbClr val="C7FFD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0" name="Shape 1441"/>
            <p:cNvSpPr/>
            <p:nvPr/>
          </p:nvSpPr>
          <p:spPr>
            <a:xfrm>
              <a:off x="1550922" y="131140"/>
              <a:ext cx="16394" cy="2001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788" y="2571"/>
                  </a:moveTo>
                  <a:cubicBezTo>
                    <a:pt x="17788" y="1543"/>
                    <a:pt x="21600" y="1543"/>
                    <a:pt x="21600" y="0"/>
                  </a:cubicBezTo>
                  <a:cubicBezTo>
                    <a:pt x="21600" y="2057"/>
                    <a:pt x="20329" y="2571"/>
                    <a:pt x="17788" y="2571"/>
                  </a:cubicBezTo>
                  <a:close/>
                  <a:moveTo>
                    <a:pt x="10165" y="11314"/>
                  </a:moveTo>
                  <a:lnTo>
                    <a:pt x="10165" y="10286"/>
                  </a:lnTo>
                  <a:cubicBezTo>
                    <a:pt x="13976" y="10286"/>
                    <a:pt x="10165" y="11314"/>
                    <a:pt x="10165" y="11314"/>
                  </a:cubicBezTo>
                  <a:close/>
                  <a:moveTo>
                    <a:pt x="0" y="21600"/>
                  </a:moveTo>
                  <a:cubicBezTo>
                    <a:pt x="0" y="20057"/>
                    <a:pt x="0" y="20057"/>
                    <a:pt x="3812" y="20057"/>
                  </a:cubicBezTo>
                  <a:cubicBezTo>
                    <a:pt x="3812" y="20057"/>
                    <a:pt x="0" y="20057"/>
                    <a:pt x="0" y="21600"/>
                  </a:cubicBezTo>
                  <a:close/>
                </a:path>
              </a:pathLst>
            </a:custGeom>
            <a:solidFill>
              <a:srgbClr val="C7FFD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1" name="Shape 1442"/>
            <p:cNvSpPr/>
            <p:nvPr/>
          </p:nvSpPr>
          <p:spPr>
            <a:xfrm>
              <a:off x="1885510" y="247593"/>
              <a:ext cx="346809" cy="2011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5" extrusionOk="0">
                  <a:moveTo>
                    <a:pt x="2851" y="16804"/>
                  </a:moveTo>
                  <a:cubicBezTo>
                    <a:pt x="-951" y="12931"/>
                    <a:pt x="-951" y="6779"/>
                    <a:pt x="2851" y="2905"/>
                  </a:cubicBezTo>
                  <a:cubicBezTo>
                    <a:pt x="6707" y="-968"/>
                    <a:pt x="12912" y="-968"/>
                    <a:pt x="16767" y="2905"/>
                  </a:cubicBezTo>
                  <a:cubicBezTo>
                    <a:pt x="20649" y="6779"/>
                    <a:pt x="20649" y="12931"/>
                    <a:pt x="16767" y="16804"/>
                  </a:cubicBezTo>
                  <a:cubicBezTo>
                    <a:pt x="12912" y="20632"/>
                    <a:pt x="6707" y="20632"/>
                    <a:pt x="2851" y="16804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2" name="Shape 1443"/>
            <p:cNvSpPr/>
            <p:nvPr/>
          </p:nvSpPr>
          <p:spPr>
            <a:xfrm>
              <a:off x="909789" y="174171"/>
              <a:ext cx="1251522" cy="7249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1368"/>
                  </a:moveTo>
                  <a:lnTo>
                    <a:pt x="17705" y="15272"/>
                  </a:lnTo>
                  <a:lnTo>
                    <a:pt x="17032" y="14608"/>
                  </a:lnTo>
                  <a:cubicBezTo>
                    <a:pt x="17256" y="13915"/>
                    <a:pt x="17160" y="13251"/>
                    <a:pt x="16759" y="12849"/>
                  </a:cubicBezTo>
                  <a:cubicBezTo>
                    <a:pt x="16030" y="12157"/>
                    <a:pt x="14587" y="12420"/>
                    <a:pt x="13521" y="13514"/>
                  </a:cubicBezTo>
                  <a:cubicBezTo>
                    <a:pt x="12455" y="14608"/>
                    <a:pt x="12167" y="16062"/>
                    <a:pt x="12888" y="16768"/>
                  </a:cubicBezTo>
                  <a:cubicBezTo>
                    <a:pt x="13297" y="17197"/>
                    <a:pt x="13978" y="17266"/>
                    <a:pt x="14651" y="17031"/>
                  </a:cubicBezTo>
                  <a:lnTo>
                    <a:pt x="15332" y="17695"/>
                  </a:lnTo>
                  <a:lnTo>
                    <a:pt x="11437" y="21600"/>
                  </a:lnTo>
                  <a:lnTo>
                    <a:pt x="6925" y="17114"/>
                  </a:lnTo>
                  <a:lnTo>
                    <a:pt x="6268" y="17778"/>
                  </a:lnTo>
                  <a:cubicBezTo>
                    <a:pt x="6492" y="18485"/>
                    <a:pt x="6428" y="19149"/>
                    <a:pt x="5995" y="19537"/>
                  </a:cubicBezTo>
                  <a:cubicBezTo>
                    <a:pt x="5274" y="20229"/>
                    <a:pt x="3823" y="19952"/>
                    <a:pt x="2765" y="18872"/>
                  </a:cubicBezTo>
                  <a:cubicBezTo>
                    <a:pt x="1675" y="17778"/>
                    <a:pt x="1387" y="16338"/>
                    <a:pt x="2108" y="15632"/>
                  </a:cubicBezTo>
                  <a:cubicBezTo>
                    <a:pt x="2517" y="15203"/>
                    <a:pt x="3190" y="15120"/>
                    <a:pt x="3871" y="15355"/>
                  </a:cubicBezTo>
                  <a:lnTo>
                    <a:pt x="4528" y="14691"/>
                  </a:lnTo>
                  <a:lnTo>
                    <a:pt x="0" y="10191"/>
                  </a:lnTo>
                  <a:lnTo>
                    <a:pt x="3895" y="6328"/>
                  </a:lnTo>
                  <a:lnTo>
                    <a:pt x="4576" y="6992"/>
                  </a:lnTo>
                  <a:cubicBezTo>
                    <a:pt x="4368" y="7698"/>
                    <a:pt x="4440" y="8363"/>
                    <a:pt x="4841" y="8751"/>
                  </a:cubicBezTo>
                  <a:cubicBezTo>
                    <a:pt x="5570" y="9457"/>
                    <a:pt x="7013" y="9180"/>
                    <a:pt x="8071" y="8086"/>
                  </a:cubicBezTo>
                  <a:cubicBezTo>
                    <a:pt x="9137" y="6992"/>
                    <a:pt x="9425" y="5552"/>
                    <a:pt x="8704" y="4846"/>
                  </a:cubicBezTo>
                  <a:cubicBezTo>
                    <a:pt x="8295" y="4417"/>
                    <a:pt x="7614" y="4334"/>
                    <a:pt x="6949" y="4569"/>
                  </a:cubicBezTo>
                  <a:lnTo>
                    <a:pt x="6268" y="3905"/>
                  </a:lnTo>
                  <a:lnTo>
                    <a:pt x="10155" y="0"/>
                  </a:lnTo>
                  <a:lnTo>
                    <a:pt x="14675" y="4486"/>
                  </a:lnTo>
                  <a:lnTo>
                    <a:pt x="15332" y="3822"/>
                  </a:lnTo>
                  <a:cubicBezTo>
                    <a:pt x="15108" y="3129"/>
                    <a:pt x="15172" y="2465"/>
                    <a:pt x="15605" y="2063"/>
                  </a:cubicBezTo>
                  <a:cubicBezTo>
                    <a:pt x="16326" y="1371"/>
                    <a:pt x="17777" y="1634"/>
                    <a:pt x="18835" y="2728"/>
                  </a:cubicBezTo>
                  <a:cubicBezTo>
                    <a:pt x="19925" y="3822"/>
                    <a:pt x="20213" y="5275"/>
                    <a:pt x="19492" y="5982"/>
                  </a:cubicBezTo>
                  <a:cubicBezTo>
                    <a:pt x="19083" y="6411"/>
                    <a:pt x="18426" y="6480"/>
                    <a:pt x="17729" y="6245"/>
                  </a:cubicBezTo>
                  <a:lnTo>
                    <a:pt x="17072" y="6909"/>
                  </a:lnTo>
                  <a:lnTo>
                    <a:pt x="21600" y="11368"/>
                  </a:ln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3" name="Shape 1444"/>
            <p:cNvSpPr/>
            <p:nvPr/>
          </p:nvSpPr>
          <p:spPr>
            <a:xfrm>
              <a:off x="917985" y="648355"/>
              <a:ext cx="91744" cy="4294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792" extrusionOk="0">
                  <a:moveTo>
                    <a:pt x="11403" y="1615"/>
                  </a:moveTo>
                  <a:cubicBezTo>
                    <a:pt x="14144" y="6115"/>
                    <a:pt x="16995" y="6115"/>
                    <a:pt x="19736" y="11065"/>
                  </a:cubicBezTo>
                  <a:cubicBezTo>
                    <a:pt x="20065" y="11740"/>
                    <a:pt x="21600" y="13765"/>
                    <a:pt x="21600" y="14890"/>
                  </a:cubicBezTo>
                  <a:cubicBezTo>
                    <a:pt x="20942" y="18715"/>
                    <a:pt x="17543" y="21190"/>
                    <a:pt x="16008" y="20740"/>
                  </a:cubicBezTo>
                  <a:cubicBezTo>
                    <a:pt x="13596" y="20065"/>
                    <a:pt x="11403" y="18715"/>
                    <a:pt x="8662" y="18040"/>
                  </a:cubicBezTo>
                  <a:cubicBezTo>
                    <a:pt x="6798" y="17590"/>
                    <a:pt x="2741" y="17590"/>
                    <a:pt x="877" y="16240"/>
                  </a:cubicBezTo>
                  <a:cubicBezTo>
                    <a:pt x="0" y="14890"/>
                    <a:pt x="0" y="10390"/>
                    <a:pt x="0" y="7915"/>
                  </a:cubicBezTo>
                  <a:cubicBezTo>
                    <a:pt x="0" y="6790"/>
                    <a:pt x="1206" y="4090"/>
                    <a:pt x="1206" y="4090"/>
                  </a:cubicBezTo>
                  <a:cubicBezTo>
                    <a:pt x="2741" y="5440"/>
                    <a:pt x="3399" y="6790"/>
                    <a:pt x="5482" y="6115"/>
                  </a:cubicBezTo>
                  <a:cubicBezTo>
                    <a:pt x="5811" y="5440"/>
                    <a:pt x="6469" y="5440"/>
                    <a:pt x="7017" y="5440"/>
                  </a:cubicBezTo>
                  <a:cubicBezTo>
                    <a:pt x="8881" y="940"/>
                    <a:pt x="10197" y="-410"/>
                    <a:pt x="10745" y="265"/>
                  </a:cubicBezTo>
                  <a:cubicBezTo>
                    <a:pt x="10745" y="-410"/>
                    <a:pt x="11074" y="265"/>
                    <a:pt x="11403" y="1615"/>
                  </a:cubicBezTo>
                </a:path>
              </a:pathLst>
            </a:custGeom>
            <a:solidFill>
              <a:srgbClr val="47766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4" name="Shape 1445"/>
            <p:cNvSpPr/>
            <p:nvPr/>
          </p:nvSpPr>
          <p:spPr>
            <a:xfrm>
              <a:off x="827826" y="584820"/>
              <a:ext cx="88885" cy="417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04" h="21177" extrusionOk="0">
                  <a:moveTo>
                    <a:pt x="11579" y="1667"/>
                  </a:moveTo>
                  <a:cubicBezTo>
                    <a:pt x="14363" y="6080"/>
                    <a:pt x="17258" y="6080"/>
                    <a:pt x="20041" y="11422"/>
                  </a:cubicBezTo>
                  <a:cubicBezTo>
                    <a:pt x="20375" y="12119"/>
                    <a:pt x="21600" y="16067"/>
                    <a:pt x="21377" y="17229"/>
                  </a:cubicBezTo>
                  <a:cubicBezTo>
                    <a:pt x="21043" y="21177"/>
                    <a:pt x="17592" y="21177"/>
                    <a:pt x="16256" y="21177"/>
                  </a:cubicBezTo>
                  <a:cubicBezTo>
                    <a:pt x="13806" y="20712"/>
                    <a:pt x="11579" y="19319"/>
                    <a:pt x="8796" y="18622"/>
                  </a:cubicBezTo>
                  <a:cubicBezTo>
                    <a:pt x="6903" y="17925"/>
                    <a:pt x="2784" y="17925"/>
                    <a:pt x="891" y="16764"/>
                  </a:cubicBezTo>
                  <a:cubicBezTo>
                    <a:pt x="0" y="15371"/>
                    <a:pt x="0" y="10725"/>
                    <a:pt x="0" y="8171"/>
                  </a:cubicBezTo>
                  <a:cubicBezTo>
                    <a:pt x="0" y="6777"/>
                    <a:pt x="1225" y="4222"/>
                    <a:pt x="1225" y="4222"/>
                  </a:cubicBezTo>
                  <a:cubicBezTo>
                    <a:pt x="2784" y="5616"/>
                    <a:pt x="3452" y="6777"/>
                    <a:pt x="5567" y="6080"/>
                  </a:cubicBezTo>
                  <a:cubicBezTo>
                    <a:pt x="5901" y="5616"/>
                    <a:pt x="6569" y="5616"/>
                    <a:pt x="7237" y="5616"/>
                  </a:cubicBezTo>
                  <a:cubicBezTo>
                    <a:pt x="9019" y="971"/>
                    <a:pt x="10355" y="-423"/>
                    <a:pt x="10911" y="274"/>
                  </a:cubicBezTo>
                  <a:cubicBezTo>
                    <a:pt x="10689" y="-423"/>
                    <a:pt x="10911" y="274"/>
                    <a:pt x="11579" y="1667"/>
                  </a:cubicBezTo>
                </a:path>
              </a:pathLst>
            </a:custGeom>
            <a:solidFill>
              <a:srgbClr val="47766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5" name="Shape 1446"/>
            <p:cNvSpPr/>
            <p:nvPr/>
          </p:nvSpPr>
          <p:spPr>
            <a:xfrm>
              <a:off x="946672" y="284821"/>
              <a:ext cx="137531" cy="1037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1" h="20336" extrusionOk="0">
                  <a:moveTo>
                    <a:pt x="0" y="2278"/>
                  </a:moveTo>
                  <a:lnTo>
                    <a:pt x="6336" y="0"/>
                  </a:lnTo>
                  <a:lnTo>
                    <a:pt x="7128" y="4101"/>
                  </a:lnTo>
                  <a:cubicBezTo>
                    <a:pt x="7128" y="4101"/>
                    <a:pt x="14040" y="11028"/>
                    <a:pt x="16704" y="13397"/>
                  </a:cubicBezTo>
                  <a:cubicBezTo>
                    <a:pt x="16704" y="13397"/>
                    <a:pt x="21600" y="14400"/>
                    <a:pt x="21384" y="17772"/>
                  </a:cubicBezTo>
                  <a:cubicBezTo>
                    <a:pt x="21384" y="21053"/>
                    <a:pt x="17280" y="21600"/>
                    <a:pt x="14472" y="16952"/>
                  </a:cubicBezTo>
                  <a:cubicBezTo>
                    <a:pt x="14472" y="16952"/>
                    <a:pt x="6120" y="12577"/>
                    <a:pt x="4320" y="10299"/>
                  </a:cubicBezTo>
                  <a:cubicBezTo>
                    <a:pt x="2664" y="7929"/>
                    <a:pt x="0" y="2278"/>
                    <a:pt x="0" y="2278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6" name="Shape 1447"/>
            <p:cNvSpPr/>
            <p:nvPr/>
          </p:nvSpPr>
          <p:spPr>
            <a:xfrm>
              <a:off x="928694" y="221530"/>
              <a:ext cx="68739" cy="853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54" h="19239" extrusionOk="0">
                  <a:moveTo>
                    <a:pt x="3504" y="260"/>
                  </a:moveTo>
                  <a:cubicBezTo>
                    <a:pt x="11829" y="-2361"/>
                    <a:pt x="16554" y="15674"/>
                    <a:pt x="16554" y="15674"/>
                  </a:cubicBezTo>
                  <a:cubicBezTo>
                    <a:pt x="16554" y="15674"/>
                    <a:pt x="15316" y="16827"/>
                    <a:pt x="11829" y="17981"/>
                  </a:cubicBezTo>
                  <a:cubicBezTo>
                    <a:pt x="8004" y="19239"/>
                    <a:pt x="4742" y="19239"/>
                    <a:pt x="4742" y="19239"/>
                  </a:cubicBezTo>
                  <a:cubicBezTo>
                    <a:pt x="4742" y="19239"/>
                    <a:pt x="-5046" y="2987"/>
                    <a:pt x="3504" y="260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7" name="Shape 1448"/>
            <p:cNvSpPr/>
            <p:nvPr/>
          </p:nvSpPr>
          <p:spPr>
            <a:xfrm>
              <a:off x="831924" y="417266"/>
              <a:ext cx="114289" cy="1867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138" extrusionOk="0">
                  <a:moveTo>
                    <a:pt x="9842" y="123"/>
                  </a:moveTo>
                  <a:cubicBezTo>
                    <a:pt x="12019" y="-582"/>
                    <a:pt x="21600" y="1986"/>
                    <a:pt x="21600" y="1986"/>
                  </a:cubicBezTo>
                  <a:cubicBezTo>
                    <a:pt x="21600" y="1986"/>
                    <a:pt x="15765" y="11754"/>
                    <a:pt x="14023" y="13315"/>
                  </a:cubicBezTo>
                  <a:cubicBezTo>
                    <a:pt x="12019" y="14875"/>
                    <a:pt x="7403" y="19558"/>
                    <a:pt x="7403" y="19558"/>
                  </a:cubicBezTo>
                  <a:cubicBezTo>
                    <a:pt x="7403" y="19558"/>
                    <a:pt x="1481" y="21018"/>
                    <a:pt x="0" y="19306"/>
                  </a:cubicBezTo>
                  <a:cubicBezTo>
                    <a:pt x="0" y="19306"/>
                    <a:pt x="1481" y="13466"/>
                    <a:pt x="4965" y="11049"/>
                  </a:cubicBezTo>
                  <a:cubicBezTo>
                    <a:pt x="4965" y="11049"/>
                    <a:pt x="7839" y="828"/>
                    <a:pt x="9842" y="123"/>
                  </a:cubicBezTo>
                </a:path>
              </a:pathLst>
            </a:custGeom>
            <a:solidFill>
              <a:srgbClr val="4773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8" name="Shape 1449"/>
            <p:cNvSpPr/>
            <p:nvPr/>
          </p:nvSpPr>
          <p:spPr>
            <a:xfrm>
              <a:off x="858970" y="430305"/>
              <a:ext cx="109776" cy="2345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27" h="21172" extrusionOk="0">
                  <a:moveTo>
                    <a:pt x="13477" y="710"/>
                  </a:moveTo>
                  <a:cubicBezTo>
                    <a:pt x="13477" y="710"/>
                    <a:pt x="17977" y="8941"/>
                    <a:pt x="18787" y="10612"/>
                  </a:cubicBezTo>
                  <a:cubicBezTo>
                    <a:pt x="19507" y="12241"/>
                    <a:pt x="21127" y="20514"/>
                    <a:pt x="21127" y="20514"/>
                  </a:cubicBezTo>
                  <a:cubicBezTo>
                    <a:pt x="17257" y="21600"/>
                    <a:pt x="12757" y="21015"/>
                    <a:pt x="12757" y="21015"/>
                  </a:cubicBezTo>
                  <a:lnTo>
                    <a:pt x="8437" y="10487"/>
                  </a:lnTo>
                  <a:cubicBezTo>
                    <a:pt x="8437" y="10487"/>
                    <a:pt x="3577" y="5682"/>
                    <a:pt x="1507" y="3885"/>
                  </a:cubicBezTo>
                  <a:cubicBezTo>
                    <a:pt x="-473" y="2005"/>
                    <a:pt x="67" y="0"/>
                    <a:pt x="67" y="0"/>
                  </a:cubicBezTo>
                  <a:lnTo>
                    <a:pt x="13477" y="71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9" name="Shape 1450"/>
            <p:cNvSpPr/>
            <p:nvPr/>
          </p:nvSpPr>
          <p:spPr>
            <a:xfrm>
              <a:off x="852415" y="215186"/>
              <a:ext cx="114285" cy="2296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9403" extrusionOk="0">
                  <a:moveTo>
                    <a:pt x="21600" y="2555"/>
                  </a:moveTo>
                  <a:lnTo>
                    <a:pt x="19580" y="18618"/>
                  </a:lnTo>
                  <a:cubicBezTo>
                    <a:pt x="10712" y="20385"/>
                    <a:pt x="0" y="18618"/>
                    <a:pt x="0" y="18618"/>
                  </a:cubicBezTo>
                  <a:lnTo>
                    <a:pt x="0" y="2241"/>
                  </a:lnTo>
                  <a:cubicBezTo>
                    <a:pt x="8166" y="-1215"/>
                    <a:pt x="18351" y="356"/>
                    <a:pt x="18351" y="356"/>
                  </a:cubicBezTo>
                  <a:cubicBezTo>
                    <a:pt x="20810" y="1024"/>
                    <a:pt x="21600" y="2673"/>
                    <a:pt x="21600" y="2555"/>
                  </a:cubicBezTo>
                </a:path>
              </a:pathLst>
            </a:custGeom>
            <a:solidFill>
              <a:srgbClr val="52838D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0" name="Shape 1451"/>
            <p:cNvSpPr/>
            <p:nvPr/>
          </p:nvSpPr>
          <p:spPr>
            <a:xfrm>
              <a:off x="858562" y="305312"/>
              <a:ext cx="137525" cy="1039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0" h="20371" extrusionOk="0">
                  <a:moveTo>
                    <a:pt x="0" y="2370"/>
                  </a:moveTo>
                  <a:lnTo>
                    <a:pt x="6285" y="0"/>
                  </a:lnTo>
                  <a:lnTo>
                    <a:pt x="7080" y="4101"/>
                  </a:lnTo>
                  <a:cubicBezTo>
                    <a:pt x="7080" y="4101"/>
                    <a:pt x="14015" y="11028"/>
                    <a:pt x="16688" y="13397"/>
                  </a:cubicBezTo>
                  <a:cubicBezTo>
                    <a:pt x="16688" y="13397"/>
                    <a:pt x="21600" y="14400"/>
                    <a:pt x="21383" y="17772"/>
                  </a:cubicBezTo>
                  <a:cubicBezTo>
                    <a:pt x="21383" y="21144"/>
                    <a:pt x="17266" y="21600"/>
                    <a:pt x="14448" y="16952"/>
                  </a:cubicBezTo>
                  <a:cubicBezTo>
                    <a:pt x="14448" y="16952"/>
                    <a:pt x="6068" y="12577"/>
                    <a:pt x="4262" y="10299"/>
                  </a:cubicBezTo>
                  <a:cubicBezTo>
                    <a:pt x="2601" y="8020"/>
                    <a:pt x="0" y="2370"/>
                    <a:pt x="0" y="237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1" name="Shape 1452"/>
            <p:cNvSpPr/>
            <p:nvPr/>
          </p:nvSpPr>
          <p:spPr>
            <a:xfrm>
              <a:off x="838637" y="240347"/>
              <a:ext cx="68636" cy="8499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29" h="19154" extrusionOk="0">
                  <a:moveTo>
                    <a:pt x="3479" y="280"/>
                  </a:moveTo>
                  <a:cubicBezTo>
                    <a:pt x="11804" y="-2446"/>
                    <a:pt x="16529" y="15589"/>
                    <a:pt x="16529" y="15589"/>
                  </a:cubicBezTo>
                  <a:cubicBezTo>
                    <a:pt x="16529" y="15589"/>
                    <a:pt x="15291" y="16847"/>
                    <a:pt x="11804" y="18001"/>
                  </a:cubicBezTo>
                  <a:cubicBezTo>
                    <a:pt x="7979" y="19154"/>
                    <a:pt x="4829" y="19154"/>
                    <a:pt x="4829" y="19154"/>
                  </a:cubicBezTo>
                  <a:cubicBezTo>
                    <a:pt x="4829" y="19154"/>
                    <a:pt x="-5071" y="2902"/>
                    <a:pt x="3479" y="280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2" name="Shape 1453"/>
            <p:cNvSpPr/>
            <p:nvPr/>
          </p:nvSpPr>
          <p:spPr>
            <a:xfrm>
              <a:off x="887249" y="188514"/>
              <a:ext cx="38255" cy="537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517" h="19015" extrusionOk="0">
                  <a:moveTo>
                    <a:pt x="16090" y="0"/>
                  </a:moveTo>
                  <a:lnTo>
                    <a:pt x="17412" y="8770"/>
                  </a:lnTo>
                  <a:cubicBezTo>
                    <a:pt x="17412" y="8770"/>
                    <a:pt x="21600" y="16078"/>
                    <a:pt x="13665" y="18352"/>
                  </a:cubicBezTo>
                  <a:cubicBezTo>
                    <a:pt x="1102" y="21600"/>
                    <a:pt x="0" y="11856"/>
                    <a:pt x="0" y="11856"/>
                  </a:cubicBezTo>
                  <a:lnTo>
                    <a:pt x="3747" y="2761"/>
                  </a:lnTo>
                  <a:lnTo>
                    <a:pt x="16090" y="0"/>
                  </a:lnTo>
                </a:path>
              </a:pathLst>
            </a:custGeom>
            <a:solidFill>
              <a:srgbClr val="FFE98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3" name="Shape 1454"/>
            <p:cNvSpPr/>
            <p:nvPr/>
          </p:nvSpPr>
          <p:spPr>
            <a:xfrm>
              <a:off x="860449" y="101691"/>
              <a:ext cx="94927" cy="1220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1" h="18710" extrusionOk="0">
                  <a:moveTo>
                    <a:pt x="5546" y="18465"/>
                  </a:moveTo>
                  <a:cubicBezTo>
                    <a:pt x="5546" y="20461"/>
                    <a:pt x="-2293" y="9768"/>
                    <a:pt x="668" y="5134"/>
                  </a:cubicBezTo>
                  <a:cubicBezTo>
                    <a:pt x="3368" y="714"/>
                    <a:pt x="9988" y="-1139"/>
                    <a:pt x="14691" y="714"/>
                  </a:cubicBezTo>
                  <a:cubicBezTo>
                    <a:pt x="19307" y="2497"/>
                    <a:pt x="17652" y="5990"/>
                    <a:pt x="17652" y="5990"/>
                  </a:cubicBezTo>
                  <a:cubicBezTo>
                    <a:pt x="17652" y="5990"/>
                    <a:pt x="7549" y="9198"/>
                    <a:pt x="5546" y="18465"/>
                  </a:cubicBezTo>
                </a:path>
              </a:pathLst>
            </a:custGeom>
            <a:solidFill>
              <a:srgbClr val="DFD85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4" name="Shape 1455"/>
            <p:cNvSpPr/>
            <p:nvPr/>
          </p:nvSpPr>
          <p:spPr>
            <a:xfrm>
              <a:off x="875141" y="124993"/>
              <a:ext cx="74100" cy="904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39" h="20836" extrusionOk="0">
                  <a:moveTo>
                    <a:pt x="3678" y="15797"/>
                  </a:moveTo>
                  <a:cubicBezTo>
                    <a:pt x="3307" y="15260"/>
                    <a:pt x="3307" y="14615"/>
                    <a:pt x="2690" y="13970"/>
                  </a:cubicBezTo>
                  <a:cubicBezTo>
                    <a:pt x="1333" y="12466"/>
                    <a:pt x="-1136" y="8275"/>
                    <a:pt x="592" y="6985"/>
                  </a:cubicBezTo>
                  <a:cubicBezTo>
                    <a:pt x="3678" y="4943"/>
                    <a:pt x="4418" y="9779"/>
                    <a:pt x="4418" y="9779"/>
                  </a:cubicBezTo>
                  <a:cubicBezTo>
                    <a:pt x="4789" y="6985"/>
                    <a:pt x="10713" y="5803"/>
                    <a:pt x="14539" y="4943"/>
                  </a:cubicBezTo>
                  <a:cubicBezTo>
                    <a:pt x="18366" y="3976"/>
                    <a:pt x="18736" y="0"/>
                    <a:pt x="18736" y="0"/>
                  </a:cubicBezTo>
                  <a:cubicBezTo>
                    <a:pt x="20464" y="2794"/>
                    <a:pt x="19353" y="8275"/>
                    <a:pt x="18366" y="13970"/>
                  </a:cubicBezTo>
                  <a:cubicBezTo>
                    <a:pt x="17995" y="17301"/>
                    <a:pt x="16638" y="18806"/>
                    <a:pt x="15527" y="20096"/>
                  </a:cubicBezTo>
                  <a:cubicBezTo>
                    <a:pt x="14539" y="20633"/>
                    <a:pt x="12071" y="21600"/>
                    <a:pt x="8985" y="19773"/>
                  </a:cubicBezTo>
                  <a:cubicBezTo>
                    <a:pt x="6887" y="18591"/>
                    <a:pt x="5159" y="17087"/>
                    <a:pt x="3678" y="15797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5" name="Shape 1456"/>
            <p:cNvSpPr/>
            <p:nvPr/>
          </p:nvSpPr>
          <p:spPr>
            <a:xfrm>
              <a:off x="1808103" y="73766"/>
              <a:ext cx="16394" cy="999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276"/>
                  </a:moveTo>
                  <a:lnTo>
                    <a:pt x="21600" y="21600"/>
                  </a:lnTo>
                  <a:cubicBezTo>
                    <a:pt x="4629" y="19908"/>
                    <a:pt x="0" y="17917"/>
                    <a:pt x="0" y="16225"/>
                  </a:cubicBezTo>
                  <a:lnTo>
                    <a:pt x="0" y="0"/>
                  </a:lnTo>
                  <a:cubicBezTo>
                    <a:pt x="0" y="1692"/>
                    <a:pt x="9257" y="3285"/>
                    <a:pt x="21600" y="5276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6" name="Shape 1457"/>
            <p:cNvSpPr/>
            <p:nvPr/>
          </p:nvSpPr>
          <p:spPr>
            <a:xfrm>
              <a:off x="1307310" y="157778"/>
              <a:ext cx="38470" cy="93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256"/>
                  </a:moveTo>
                  <a:lnTo>
                    <a:pt x="21600" y="21600"/>
                  </a:lnTo>
                  <a:lnTo>
                    <a:pt x="0" y="17450"/>
                  </a:lnTo>
                  <a:lnTo>
                    <a:pt x="0" y="0"/>
                  </a:lnTo>
                  <a:lnTo>
                    <a:pt x="21600" y="4256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7" name="Shape 1458"/>
            <p:cNvSpPr/>
            <p:nvPr/>
          </p:nvSpPr>
          <p:spPr>
            <a:xfrm>
              <a:off x="1344193" y="163926"/>
              <a:ext cx="122483" cy="12042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7816"/>
                  </a:moveTo>
                  <a:lnTo>
                    <a:pt x="21600" y="21600"/>
                  </a:lnTo>
                  <a:cubicBezTo>
                    <a:pt x="21600" y="18995"/>
                    <a:pt x="20214" y="16893"/>
                    <a:pt x="17688" y="15633"/>
                  </a:cubicBezTo>
                  <a:cubicBezTo>
                    <a:pt x="17198" y="15465"/>
                    <a:pt x="16546" y="15212"/>
                    <a:pt x="16057" y="14960"/>
                  </a:cubicBezTo>
                  <a:cubicBezTo>
                    <a:pt x="15568" y="14708"/>
                    <a:pt x="14916" y="14708"/>
                    <a:pt x="14427" y="14456"/>
                  </a:cubicBezTo>
                  <a:lnTo>
                    <a:pt x="14020" y="14456"/>
                  </a:lnTo>
                  <a:cubicBezTo>
                    <a:pt x="13531" y="14456"/>
                    <a:pt x="13042" y="14204"/>
                    <a:pt x="12389" y="14204"/>
                  </a:cubicBezTo>
                  <a:lnTo>
                    <a:pt x="9863" y="14204"/>
                  </a:lnTo>
                  <a:cubicBezTo>
                    <a:pt x="9129" y="14204"/>
                    <a:pt x="8477" y="14204"/>
                    <a:pt x="7988" y="14456"/>
                  </a:cubicBezTo>
                  <a:cubicBezTo>
                    <a:pt x="7825" y="14456"/>
                    <a:pt x="7580" y="14456"/>
                    <a:pt x="7091" y="14708"/>
                  </a:cubicBezTo>
                  <a:cubicBezTo>
                    <a:pt x="6602" y="14708"/>
                    <a:pt x="6195" y="14960"/>
                    <a:pt x="5706" y="14960"/>
                  </a:cubicBezTo>
                  <a:cubicBezTo>
                    <a:pt x="5217" y="14960"/>
                    <a:pt x="4809" y="15212"/>
                    <a:pt x="4320" y="15212"/>
                  </a:cubicBezTo>
                  <a:cubicBezTo>
                    <a:pt x="3912" y="15212"/>
                    <a:pt x="3668" y="15465"/>
                    <a:pt x="3179" y="15465"/>
                  </a:cubicBezTo>
                  <a:cubicBezTo>
                    <a:pt x="2282" y="15633"/>
                    <a:pt x="1304" y="15885"/>
                    <a:pt x="408" y="16137"/>
                  </a:cubicBezTo>
                  <a:cubicBezTo>
                    <a:pt x="163" y="16137"/>
                    <a:pt x="0" y="16389"/>
                    <a:pt x="0" y="16389"/>
                  </a:cubicBezTo>
                  <a:lnTo>
                    <a:pt x="0" y="2605"/>
                  </a:lnTo>
                  <a:lnTo>
                    <a:pt x="163" y="2605"/>
                  </a:lnTo>
                  <a:cubicBezTo>
                    <a:pt x="408" y="2605"/>
                    <a:pt x="408" y="2605"/>
                    <a:pt x="652" y="2353"/>
                  </a:cubicBezTo>
                  <a:cubicBezTo>
                    <a:pt x="1549" y="2185"/>
                    <a:pt x="2527" y="1933"/>
                    <a:pt x="3423" y="1681"/>
                  </a:cubicBezTo>
                  <a:cubicBezTo>
                    <a:pt x="3668" y="1681"/>
                    <a:pt x="3668" y="1429"/>
                    <a:pt x="3912" y="1429"/>
                  </a:cubicBezTo>
                  <a:cubicBezTo>
                    <a:pt x="4075" y="1429"/>
                    <a:pt x="4320" y="1429"/>
                    <a:pt x="4565" y="1177"/>
                  </a:cubicBezTo>
                  <a:cubicBezTo>
                    <a:pt x="5054" y="1177"/>
                    <a:pt x="5461" y="925"/>
                    <a:pt x="5950" y="925"/>
                  </a:cubicBezTo>
                  <a:cubicBezTo>
                    <a:pt x="6195" y="925"/>
                    <a:pt x="6439" y="756"/>
                    <a:pt x="6439" y="756"/>
                  </a:cubicBezTo>
                  <a:cubicBezTo>
                    <a:pt x="6602" y="756"/>
                    <a:pt x="6847" y="756"/>
                    <a:pt x="7336" y="504"/>
                  </a:cubicBezTo>
                  <a:cubicBezTo>
                    <a:pt x="7580" y="504"/>
                    <a:pt x="7825" y="252"/>
                    <a:pt x="8232" y="252"/>
                  </a:cubicBezTo>
                  <a:lnTo>
                    <a:pt x="8722" y="252"/>
                  </a:lnTo>
                  <a:cubicBezTo>
                    <a:pt x="9129" y="252"/>
                    <a:pt x="9863" y="0"/>
                    <a:pt x="10352" y="0"/>
                  </a:cubicBezTo>
                  <a:cubicBezTo>
                    <a:pt x="10352" y="0"/>
                    <a:pt x="10352" y="0"/>
                    <a:pt x="10515" y="0"/>
                  </a:cubicBezTo>
                  <a:lnTo>
                    <a:pt x="13775" y="0"/>
                  </a:lnTo>
                  <a:cubicBezTo>
                    <a:pt x="14264" y="0"/>
                    <a:pt x="14427" y="0"/>
                    <a:pt x="14672" y="252"/>
                  </a:cubicBezTo>
                  <a:lnTo>
                    <a:pt x="15405" y="252"/>
                  </a:lnTo>
                  <a:cubicBezTo>
                    <a:pt x="15813" y="252"/>
                    <a:pt x="16546" y="504"/>
                    <a:pt x="16954" y="756"/>
                  </a:cubicBezTo>
                  <a:cubicBezTo>
                    <a:pt x="17688" y="925"/>
                    <a:pt x="18177" y="1177"/>
                    <a:pt x="18584" y="1429"/>
                  </a:cubicBezTo>
                  <a:cubicBezTo>
                    <a:pt x="20214" y="3110"/>
                    <a:pt x="21600" y="5211"/>
                    <a:pt x="21600" y="7816"/>
                  </a:cubicBez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8" name="Shape 1459"/>
            <p:cNvSpPr/>
            <p:nvPr/>
          </p:nvSpPr>
          <p:spPr>
            <a:xfrm>
              <a:off x="1952768" y="104502"/>
              <a:ext cx="124530" cy="1388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2145"/>
                  </a:lnTo>
                  <a:cubicBezTo>
                    <a:pt x="21600" y="12509"/>
                    <a:pt x="21600" y="12727"/>
                    <a:pt x="21358" y="13164"/>
                  </a:cubicBezTo>
                  <a:cubicBezTo>
                    <a:pt x="21358" y="13382"/>
                    <a:pt x="21358" y="13382"/>
                    <a:pt x="21197" y="13600"/>
                  </a:cubicBezTo>
                  <a:lnTo>
                    <a:pt x="21197" y="14182"/>
                  </a:lnTo>
                  <a:cubicBezTo>
                    <a:pt x="20955" y="14618"/>
                    <a:pt x="20955" y="14836"/>
                    <a:pt x="20713" y="14982"/>
                  </a:cubicBezTo>
                  <a:cubicBezTo>
                    <a:pt x="20713" y="15200"/>
                    <a:pt x="20713" y="15200"/>
                    <a:pt x="20472" y="15200"/>
                  </a:cubicBezTo>
                  <a:cubicBezTo>
                    <a:pt x="20472" y="15200"/>
                    <a:pt x="20472" y="15418"/>
                    <a:pt x="20230" y="15418"/>
                  </a:cubicBezTo>
                  <a:cubicBezTo>
                    <a:pt x="19988" y="15636"/>
                    <a:pt x="19988" y="15636"/>
                    <a:pt x="19988" y="15855"/>
                  </a:cubicBezTo>
                  <a:cubicBezTo>
                    <a:pt x="19827" y="16218"/>
                    <a:pt x="19585" y="16436"/>
                    <a:pt x="19101" y="16655"/>
                  </a:cubicBezTo>
                  <a:lnTo>
                    <a:pt x="17731" y="17891"/>
                  </a:lnTo>
                  <a:cubicBezTo>
                    <a:pt x="17731" y="17891"/>
                    <a:pt x="17731" y="17891"/>
                    <a:pt x="17490" y="18109"/>
                  </a:cubicBezTo>
                  <a:cubicBezTo>
                    <a:pt x="17087" y="18473"/>
                    <a:pt x="16603" y="18691"/>
                    <a:pt x="15958" y="18909"/>
                  </a:cubicBezTo>
                  <a:cubicBezTo>
                    <a:pt x="15716" y="18909"/>
                    <a:pt x="15475" y="19127"/>
                    <a:pt x="15475" y="19127"/>
                  </a:cubicBezTo>
                  <a:cubicBezTo>
                    <a:pt x="15233" y="19345"/>
                    <a:pt x="14991" y="19345"/>
                    <a:pt x="14749" y="19491"/>
                  </a:cubicBezTo>
                  <a:cubicBezTo>
                    <a:pt x="14749" y="19491"/>
                    <a:pt x="14588" y="19491"/>
                    <a:pt x="14588" y="19709"/>
                  </a:cubicBezTo>
                  <a:cubicBezTo>
                    <a:pt x="14104" y="19927"/>
                    <a:pt x="13460" y="20145"/>
                    <a:pt x="12734" y="20364"/>
                  </a:cubicBezTo>
                  <a:cubicBezTo>
                    <a:pt x="12493" y="20364"/>
                    <a:pt x="12493" y="20582"/>
                    <a:pt x="12251" y="20582"/>
                  </a:cubicBezTo>
                  <a:lnTo>
                    <a:pt x="12090" y="20582"/>
                  </a:lnTo>
                  <a:cubicBezTo>
                    <a:pt x="11928" y="20582"/>
                    <a:pt x="11606" y="20727"/>
                    <a:pt x="11364" y="20727"/>
                  </a:cubicBezTo>
                  <a:cubicBezTo>
                    <a:pt x="10961" y="20945"/>
                    <a:pt x="10719" y="20945"/>
                    <a:pt x="10236" y="20945"/>
                  </a:cubicBezTo>
                  <a:lnTo>
                    <a:pt x="9994" y="20945"/>
                  </a:lnTo>
                  <a:cubicBezTo>
                    <a:pt x="9752" y="20945"/>
                    <a:pt x="9591" y="20945"/>
                    <a:pt x="9349" y="21164"/>
                  </a:cubicBezTo>
                  <a:cubicBezTo>
                    <a:pt x="9107" y="21164"/>
                    <a:pt x="8624" y="21382"/>
                    <a:pt x="8382" y="21382"/>
                  </a:cubicBezTo>
                  <a:lnTo>
                    <a:pt x="7979" y="21382"/>
                  </a:lnTo>
                  <a:cubicBezTo>
                    <a:pt x="7737" y="21382"/>
                    <a:pt x="7496" y="21382"/>
                    <a:pt x="7093" y="21600"/>
                  </a:cubicBezTo>
                  <a:lnTo>
                    <a:pt x="1854" y="21600"/>
                  </a:lnTo>
                  <a:cubicBezTo>
                    <a:pt x="1128" y="21600"/>
                    <a:pt x="725" y="21600"/>
                    <a:pt x="0" y="21382"/>
                  </a:cubicBezTo>
                  <a:lnTo>
                    <a:pt x="0" y="9455"/>
                  </a:lnTo>
                  <a:cubicBezTo>
                    <a:pt x="725" y="9455"/>
                    <a:pt x="1370" y="9673"/>
                    <a:pt x="2015" y="9673"/>
                  </a:cubicBezTo>
                  <a:lnTo>
                    <a:pt x="5481" y="9673"/>
                  </a:lnTo>
                  <a:cubicBezTo>
                    <a:pt x="5884" y="9673"/>
                    <a:pt x="6367" y="9673"/>
                    <a:pt x="6851" y="9455"/>
                  </a:cubicBezTo>
                  <a:cubicBezTo>
                    <a:pt x="7093" y="9455"/>
                    <a:pt x="7254" y="9455"/>
                    <a:pt x="7737" y="9236"/>
                  </a:cubicBezTo>
                  <a:cubicBezTo>
                    <a:pt x="8221" y="9236"/>
                    <a:pt x="8624" y="9091"/>
                    <a:pt x="9107" y="9091"/>
                  </a:cubicBezTo>
                  <a:cubicBezTo>
                    <a:pt x="9349" y="9091"/>
                    <a:pt x="9591" y="9091"/>
                    <a:pt x="9752" y="8873"/>
                  </a:cubicBezTo>
                  <a:cubicBezTo>
                    <a:pt x="10236" y="8655"/>
                    <a:pt x="10719" y="8655"/>
                    <a:pt x="11122" y="8436"/>
                  </a:cubicBezTo>
                  <a:cubicBezTo>
                    <a:pt x="11364" y="8436"/>
                    <a:pt x="11606" y="8218"/>
                    <a:pt x="11848" y="8218"/>
                  </a:cubicBezTo>
                  <a:cubicBezTo>
                    <a:pt x="12090" y="8218"/>
                    <a:pt x="12251" y="8000"/>
                    <a:pt x="12251" y="8000"/>
                  </a:cubicBezTo>
                  <a:cubicBezTo>
                    <a:pt x="12976" y="7855"/>
                    <a:pt x="13460" y="7636"/>
                    <a:pt x="14104" y="7418"/>
                  </a:cubicBezTo>
                  <a:cubicBezTo>
                    <a:pt x="14588" y="7200"/>
                    <a:pt x="14749" y="7200"/>
                    <a:pt x="15233" y="6982"/>
                  </a:cubicBezTo>
                  <a:cubicBezTo>
                    <a:pt x="15475" y="6982"/>
                    <a:pt x="15716" y="6764"/>
                    <a:pt x="15716" y="6764"/>
                  </a:cubicBezTo>
                  <a:cubicBezTo>
                    <a:pt x="16119" y="6618"/>
                    <a:pt x="16845" y="6182"/>
                    <a:pt x="17328" y="5964"/>
                  </a:cubicBezTo>
                  <a:cubicBezTo>
                    <a:pt x="17973" y="5600"/>
                    <a:pt x="18457" y="5164"/>
                    <a:pt x="18860" y="4727"/>
                  </a:cubicBezTo>
                  <a:cubicBezTo>
                    <a:pt x="19343" y="4364"/>
                    <a:pt x="19585" y="3927"/>
                    <a:pt x="19988" y="3491"/>
                  </a:cubicBezTo>
                  <a:cubicBezTo>
                    <a:pt x="19988" y="3491"/>
                    <a:pt x="19988" y="3273"/>
                    <a:pt x="20230" y="3273"/>
                  </a:cubicBezTo>
                  <a:cubicBezTo>
                    <a:pt x="20472" y="2909"/>
                    <a:pt x="20713" y="2473"/>
                    <a:pt x="20955" y="2109"/>
                  </a:cubicBezTo>
                  <a:lnTo>
                    <a:pt x="20955" y="1891"/>
                  </a:lnTo>
                  <a:cubicBezTo>
                    <a:pt x="21600" y="1236"/>
                    <a:pt x="21600" y="655"/>
                    <a:pt x="21600" y="0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9" name="Shape 1460"/>
            <p:cNvSpPr/>
            <p:nvPr/>
          </p:nvSpPr>
          <p:spPr>
            <a:xfrm>
              <a:off x="1917934" y="163926"/>
              <a:ext cx="38464" cy="1040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810" y="0"/>
                  </a:moveTo>
                  <a:lnTo>
                    <a:pt x="21600" y="16176"/>
                  </a:lnTo>
                  <a:lnTo>
                    <a:pt x="0" y="21600"/>
                  </a:lnTo>
                  <a:lnTo>
                    <a:pt x="0" y="5812"/>
                  </a:lnTo>
                  <a:lnTo>
                    <a:pt x="2081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0" name="Shape 1461"/>
            <p:cNvSpPr/>
            <p:nvPr/>
          </p:nvSpPr>
          <p:spPr>
            <a:xfrm>
              <a:off x="1199528" y="274575"/>
              <a:ext cx="16394" cy="93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086" y="21600"/>
                  </a:moveTo>
                  <a:cubicBezTo>
                    <a:pt x="3086" y="21387"/>
                    <a:pt x="3086" y="21068"/>
                    <a:pt x="0" y="21068"/>
                  </a:cubicBezTo>
                  <a:cubicBezTo>
                    <a:pt x="0" y="20749"/>
                    <a:pt x="3086" y="20110"/>
                    <a:pt x="3086" y="19791"/>
                  </a:cubicBezTo>
                  <a:lnTo>
                    <a:pt x="3086" y="21600"/>
                  </a:lnTo>
                  <a:close/>
                  <a:moveTo>
                    <a:pt x="3086" y="6065"/>
                  </a:moveTo>
                  <a:lnTo>
                    <a:pt x="3086" y="3618"/>
                  </a:lnTo>
                  <a:cubicBezTo>
                    <a:pt x="3086" y="3299"/>
                    <a:pt x="7714" y="2767"/>
                    <a:pt x="7714" y="2447"/>
                  </a:cubicBezTo>
                  <a:lnTo>
                    <a:pt x="7714" y="1809"/>
                  </a:lnTo>
                  <a:lnTo>
                    <a:pt x="21600" y="0"/>
                  </a:lnTo>
                  <a:lnTo>
                    <a:pt x="21600" y="17450"/>
                  </a:lnTo>
                  <a:lnTo>
                    <a:pt x="7714" y="19259"/>
                  </a:lnTo>
                  <a:cubicBezTo>
                    <a:pt x="7714" y="19578"/>
                    <a:pt x="7714" y="19578"/>
                    <a:pt x="3086" y="19791"/>
                  </a:cubicBezTo>
                  <a:lnTo>
                    <a:pt x="3086" y="6065"/>
                  </a:lnTo>
                  <a:close/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1" name="Shape 1462"/>
            <p:cNvSpPr/>
            <p:nvPr/>
          </p:nvSpPr>
          <p:spPr>
            <a:xfrm>
              <a:off x="954869" y="413913"/>
              <a:ext cx="257718" cy="2023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3457"/>
                  </a:moveTo>
                  <a:lnTo>
                    <a:pt x="21600" y="21600"/>
                  </a:lnTo>
                  <a:lnTo>
                    <a:pt x="0" y="8143"/>
                  </a:lnTo>
                  <a:lnTo>
                    <a:pt x="0" y="0"/>
                  </a:lnTo>
                  <a:lnTo>
                    <a:pt x="21600" y="13457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2" name="Shape 1463"/>
            <p:cNvSpPr/>
            <p:nvPr/>
          </p:nvSpPr>
          <p:spPr>
            <a:xfrm>
              <a:off x="1655652" y="391373"/>
              <a:ext cx="270013" cy="2064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117"/>
                  </a:moveTo>
                  <a:lnTo>
                    <a:pt x="21600" y="12059"/>
                  </a:lnTo>
                  <a:cubicBezTo>
                    <a:pt x="21600" y="10558"/>
                    <a:pt x="20966" y="9299"/>
                    <a:pt x="19809" y="8621"/>
                  </a:cubicBezTo>
                  <a:cubicBezTo>
                    <a:pt x="19585" y="8475"/>
                    <a:pt x="19399" y="8378"/>
                    <a:pt x="19063" y="8233"/>
                  </a:cubicBezTo>
                  <a:cubicBezTo>
                    <a:pt x="18951" y="8088"/>
                    <a:pt x="18877" y="8088"/>
                    <a:pt x="18653" y="8088"/>
                  </a:cubicBezTo>
                  <a:cubicBezTo>
                    <a:pt x="18466" y="8088"/>
                    <a:pt x="18429" y="7943"/>
                    <a:pt x="18317" y="7943"/>
                  </a:cubicBezTo>
                  <a:cubicBezTo>
                    <a:pt x="18131" y="7797"/>
                    <a:pt x="17907" y="7797"/>
                    <a:pt x="17683" y="7797"/>
                  </a:cubicBezTo>
                  <a:lnTo>
                    <a:pt x="17608" y="7797"/>
                  </a:lnTo>
                  <a:cubicBezTo>
                    <a:pt x="17384" y="7797"/>
                    <a:pt x="17049" y="7652"/>
                    <a:pt x="16862" y="7652"/>
                  </a:cubicBezTo>
                  <a:lnTo>
                    <a:pt x="15818" y="7652"/>
                  </a:lnTo>
                  <a:cubicBezTo>
                    <a:pt x="15594" y="7652"/>
                    <a:pt x="15482" y="7652"/>
                    <a:pt x="15258" y="7797"/>
                  </a:cubicBezTo>
                  <a:cubicBezTo>
                    <a:pt x="15072" y="7797"/>
                    <a:pt x="14960" y="7797"/>
                    <a:pt x="14848" y="7943"/>
                  </a:cubicBezTo>
                  <a:cubicBezTo>
                    <a:pt x="14736" y="7943"/>
                    <a:pt x="14549" y="7943"/>
                    <a:pt x="14437" y="8088"/>
                  </a:cubicBezTo>
                  <a:cubicBezTo>
                    <a:pt x="14213" y="8233"/>
                    <a:pt x="14027" y="8233"/>
                    <a:pt x="13691" y="8233"/>
                  </a:cubicBezTo>
                  <a:cubicBezTo>
                    <a:pt x="13579" y="8233"/>
                    <a:pt x="13467" y="8378"/>
                    <a:pt x="13281" y="8378"/>
                  </a:cubicBezTo>
                  <a:cubicBezTo>
                    <a:pt x="12870" y="8475"/>
                    <a:pt x="12423" y="8621"/>
                    <a:pt x="11901" y="8766"/>
                  </a:cubicBezTo>
                  <a:cubicBezTo>
                    <a:pt x="11789" y="8911"/>
                    <a:pt x="11714" y="8911"/>
                    <a:pt x="11602" y="8911"/>
                  </a:cubicBezTo>
                  <a:cubicBezTo>
                    <a:pt x="11266" y="9057"/>
                    <a:pt x="10968" y="9153"/>
                    <a:pt x="10632" y="9299"/>
                  </a:cubicBezTo>
                  <a:cubicBezTo>
                    <a:pt x="10520" y="9299"/>
                    <a:pt x="10446" y="9444"/>
                    <a:pt x="10222" y="9444"/>
                  </a:cubicBezTo>
                  <a:cubicBezTo>
                    <a:pt x="9923" y="9589"/>
                    <a:pt x="9588" y="9880"/>
                    <a:pt x="9177" y="9977"/>
                  </a:cubicBezTo>
                  <a:cubicBezTo>
                    <a:pt x="9065" y="9977"/>
                    <a:pt x="9065" y="10122"/>
                    <a:pt x="8953" y="10122"/>
                  </a:cubicBezTo>
                  <a:cubicBezTo>
                    <a:pt x="8319" y="10558"/>
                    <a:pt x="7573" y="10945"/>
                    <a:pt x="6976" y="11478"/>
                  </a:cubicBezTo>
                  <a:lnTo>
                    <a:pt x="6864" y="11478"/>
                  </a:lnTo>
                  <a:cubicBezTo>
                    <a:pt x="6230" y="12059"/>
                    <a:pt x="5596" y="12447"/>
                    <a:pt x="4962" y="13125"/>
                  </a:cubicBezTo>
                  <a:cubicBezTo>
                    <a:pt x="4738" y="13270"/>
                    <a:pt x="4626" y="13561"/>
                    <a:pt x="4439" y="13706"/>
                  </a:cubicBezTo>
                  <a:cubicBezTo>
                    <a:pt x="4104" y="13948"/>
                    <a:pt x="3917" y="14239"/>
                    <a:pt x="3693" y="14529"/>
                  </a:cubicBezTo>
                  <a:cubicBezTo>
                    <a:pt x="3581" y="14626"/>
                    <a:pt x="3469" y="14771"/>
                    <a:pt x="3283" y="14917"/>
                  </a:cubicBezTo>
                  <a:cubicBezTo>
                    <a:pt x="3059" y="15207"/>
                    <a:pt x="2873" y="15449"/>
                    <a:pt x="2649" y="15740"/>
                  </a:cubicBezTo>
                  <a:cubicBezTo>
                    <a:pt x="2574" y="15885"/>
                    <a:pt x="2425" y="16127"/>
                    <a:pt x="2238" y="16273"/>
                  </a:cubicBezTo>
                  <a:cubicBezTo>
                    <a:pt x="2126" y="16418"/>
                    <a:pt x="2164" y="16418"/>
                    <a:pt x="2015" y="16563"/>
                  </a:cubicBezTo>
                  <a:cubicBezTo>
                    <a:pt x="1828" y="16805"/>
                    <a:pt x="1679" y="17096"/>
                    <a:pt x="1492" y="17387"/>
                  </a:cubicBezTo>
                  <a:lnTo>
                    <a:pt x="1380" y="17532"/>
                  </a:lnTo>
                  <a:cubicBezTo>
                    <a:pt x="1268" y="17629"/>
                    <a:pt x="1268" y="17774"/>
                    <a:pt x="1268" y="17774"/>
                  </a:cubicBezTo>
                  <a:cubicBezTo>
                    <a:pt x="1045" y="18065"/>
                    <a:pt x="970" y="18355"/>
                    <a:pt x="858" y="18597"/>
                  </a:cubicBezTo>
                  <a:cubicBezTo>
                    <a:pt x="746" y="18743"/>
                    <a:pt x="746" y="18985"/>
                    <a:pt x="634" y="19130"/>
                  </a:cubicBezTo>
                  <a:cubicBezTo>
                    <a:pt x="522" y="19227"/>
                    <a:pt x="522" y="19421"/>
                    <a:pt x="448" y="19711"/>
                  </a:cubicBezTo>
                  <a:cubicBezTo>
                    <a:pt x="336" y="19953"/>
                    <a:pt x="336" y="20244"/>
                    <a:pt x="224" y="20389"/>
                  </a:cubicBezTo>
                  <a:cubicBezTo>
                    <a:pt x="224" y="20535"/>
                    <a:pt x="112" y="20535"/>
                    <a:pt x="112" y="20680"/>
                  </a:cubicBezTo>
                  <a:cubicBezTo>
                    <a:pt x="0" y="21067"/>
                    <a:pt x="0" y="21358"/>
                    <a:pt x="0" y="21600"/>
                  </a:cubicBezTo>
                  <a:lnTo>
                    <a:pt x="0" y="13561"/>
                  </a:lnTo>
                  <a:cubicBezTo>
                    <a:pt x="0" y="13270"/>
                    <a:pt x="0" y="12979"/>
                    <a:pt x="112" y="12737"/>
                  </a:cubicBezTo>
                  <a:cubicBezTo>
                    <a:pt x="112" y="12592"/>
                    <a:pt x="112" y="12592"/>
                    <a:pt x="224" y="12447"/>
                  </a:cubicBezTo>
                  <a:cubicBezTo>
                    <a:pt x="224" y="12301"/>
                    <a:pt x="336" y="12059"/>
                    <a:pt x="336" y="11914"/>
                  </a:cubicBezTo>
                  <a:lnTo>
                    <a:pt x="336" y="11769"/>
                  </a:lnTo>
                  <a:cubicBezTo>
                    <a:pt x="448" y="11623"/>
                    <a:pt x="448" y="11478"/>
                    <a:pt x="522" y="11236"/>
                  </a:cubicBezTo>
                  <a:cubicBezTo>
                    <a:pt x="634" y="11091"/>
                    <a:pt x="634" y="10945"/>
                    <a:pt x="634" y="10800"/>
                  </a:cubicBezTo>
                  <a:cubicBezTo>
                    <a:pt x="634" y="10800"/>
                    <a:pt x="634" y="10655"/>
                    <a:pt x="746" y="10655"/>
                  </a:cubicBezTo>
                  <a:cubicBezTo>
                    <a:pt x="858" y="10413"/>
                    <a:pt x="1045" y="10122"/>
                    <a:pt x="1156" y="9880"/>
                  </a:cubicBezTo>
                  <a:cubicBezTo>
                    <a:pt x="1156" y="9735"/>
                    <a:pt x="1268" y="9735"/>
                    <a:pt x="1268" y="9589"/>
                  </a:cubicBezTo>
                  <a:cubicBezTo>
                    <a:pt x="1268" y="9444"/>
                    <a:pt x="1380" y="9444"/>
                    <a:pt x="1380" y="9444"/>
                  </a:cubicBezTo>
                  <a:cubicBezTo>
                    <a:pt x="1492" y="9153"/>
                    <a:pt x="1679" y="8911"/>
                    <a:pt x="1903" y="8621"/>
                  </a:cubicBezTo>
                  <a:cubicBezTo>
                    <a:pt x="2015" y="8475"/>
                    <a:pt x="2052" y="8475"/>
                    <a:pt x="2126" y="8378"/>
                  </a:cubicBezTo>
                  <a:cubicBezTo>
                    <a:pt x="2276" y="8233"/>
                    <a:pt x="2238" y="8185"/>
                    <a:pt x="2313" y="8088"/>
                  </a:cubicBezTo>
                  <a:cubicBezTo>
                    <a:pt x="2425" y="7894"/>
                    <a:pt x="2537" y="7943"/>
                    <a:pt x="2537" y="7797"/>
                  </a:cubicBezTo>
                  <a:cubicBezTo>
                    <a:pt x="2761" y="7555"/>
                    <a:pt x="2947" y="7265"/>
                    <a:pt x="3171" y="6974"/>
                  </a:cubicBezTo>
                  <a:cubicBezTo>
                    <a:pt x="3283" y="6829"/>
                    <a:pt x="3395" y="6732"/>
                    <a:pt x="3581" y="6587"/>
                  </a:cubicBezTo>
                  <a:cubicBezTo>
                    <a:pt x="3805" y="6296"/>
                    <a:pt x="4104" y="6054"/>
                    <a:pt x="4327" y="5763"/>
                  </a:cubicBezTo>
                  <a:cubicBezTo>
                    <a:pt x="4439" y="5618"/>
                    <a:pt x="4551" y="5473"/>
                    <a:pt x="4626" y="5473"/>
                  </a:cubicBezTo>
                  <a:cubicBezTo>
                    <a:pt x="4738" y="5327"/>
                    <a:pt x="4850" y="5327"/>
                    <a:pt x="4850" y="5230"/>
                  </a:cubicBezTo>
                  <a:cubicBezTo>
                    <a:pt x="5484" y="4649"/>
                    <a:pt x="6118" y="4117"/>
                    <a:pt x="6752" y="3584"/>
                  </a:cubicBezTo>
                  <a:lnTo>
                    <a:pt x="6864" y="3584"/>
                  </a:lnTo>
                  <a:cubicBezTo>
                    <a:pt x="7498" y="3003"/>
                    <a:pt x="8133" y="2615"/>
                    <a:pt x="8841" y="2228"/>
                  </a:cubicBezTo>
                  <a:cubicBezTo>
                    <a:pt x="8953" y="2228"/>
                    <a:pt x="8953" y="2228"/>
                    <a:pt x="9065" y="2083"/>
                  </a:cubicBezTo>
                  <a:cubicBezTo>
                    <a:pt x="9364" y="1792"/>
                    <a:pt x="9811" y="1647"/>
                    <a:pt x="10110" y="1501"/>
                  </a:cubicBezTo>
                  <a:cubicBezTo>
                    <a:pt x="10222" y="1404"/>
                    <a:pt x="10334" y="1404"/>
                    <a:pt x="10520" y="1404"/>
                  </a:cubicBezTo>
                  <a:cubicBezTo>
                    <a:pt x="10856" y="1259"/>
                    <a:pt x="11154" y="1114"/>
                    <a:pt x="11490" y="969"/>
                  </a:cubicBezTo>
                  <a:cubicBezTo>
                    <a:pt x="11602" y="969"/>
                    <a:pt x="11602" y="823"/>
                    <a:pt x="11714" y="823"/>
                  </a:cubicBezTo>
                  <a:lnTo>
                    <a:pt x="11789" y="823"/>
                  </a:lnTo>
                  <a:cubicBezTo>
                    <a:pt x="12236" y="678"/>
                    <a:pt x="12647" y="581"/>
                    <a:pt x="13169" y="436"/>
                  </a:cubicBezTo>
                  <a:lnTo>
                    <a:pt x="13281" y="436"/>
                  </a:lnTo>
                  <a:cubicBezTo>
                    <a:pt x="13393" y="436"/>
                    <a:pt x="13467" y="436"/>
                    <a:pt x="13467" y="291"/>
                  </a:cubicBezTo>
                  <a:cubicBezTo>
                    <a:pt x="13691" y="145"/>
                    <a:pt x="14027" y="145"/>
                    <a:pt x="14213" y="145"/>
                  </a:cubicBezTo>
                  <a:lnTo>
                    <a:pt x="14661" y="145"/>
                  </a:lnTo>
                  <a:cubicBezTo>
                    <a:pt x="14848" y="145"/>
                    <a:pt x="14960" y="145"/>
                    <a:pt x="15072" y="0"/>
                  </a:cubicBezTo>
                  <a:lnTo>
                    <a:pt x="16862" y="0"/>
                  </a:lnTo>
                  <a:cubicBezTo>
                    <a:pt x="17049" y="0"/>
                    <a:pt x="17273" y="0"/>
                    <a:pt x="17496" y="145"/>
                  </a:cubicBezTo>
                  <a:lnTo>
                    <a:pt x="17608" y="145"/>
                  </a:lnTo>
                  <a:cubicBezTo>
                    <a:pt x="17795" y="145"/>
                    <a:pt x="18019" y="291"/>
                    <a:pt x="18131" y="291"/>
                  </a:cubicBezTo>
                  <a:lnTo>
                    <a:pt x="18205" y="291"/>
                  </a:lnTo>
                  <a:cubicBezTo>
                    <a:pt x="18317" y="291"/>
                    <a:pt x="18429" y="436"/>
                    <a:pt x="18541" y="436"/>
                  </a:cubicBezTo>
                  <a:cubicBezTo>
                    <a:pt x="18653" y="436"/>
                    <a:pt x="18765" y="581"/>
                    <a:pt x="18839" y="581"/>
                  </a:cubicBezTo>
                  <a:cubicBezTo>
                    <a:pt x="18839" y="581"/>
                    <a:pt x="18839" y="581"/>
                    <a:pt x="18951" y="581"/>
                  </a:cubicBezTo>
                  <a:cubicBezTo>
                    <a:pt x="19175" y="678"/>
                    <a:pt x="19474" y="823"/>
                    <a:pt x="19697" y="969"/>
                  </a:cubicBezTo>
                  <a:cubicBezTo>
                    <a:pt x="20966" y="1501"/>
                    <a:pt x="21488" y="2761"/>
                    <a:pt x="21600" y="4117"/>
                  </a:cubicBez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3" name="Shape 1464"/>
            <p:cNvSpPr/>
            <p:nvPr/>
          </p:nvSpPr>
          <p:spPr>
            <a:xfrm>
              <a:off x="1917934" y="456943"/>
              <a:ext cx="38464" cy="958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194"/>
                  </a:moveTo>
                  <a:lnTo>
                    <a:pt x="21600" y="21600"/>
                  </a:lnTo>
                  <a:lnTo>
                    <a:pt x="0" y="17196"/>
                  </a:lnTo>
                  <a:lnTo>
                    <a:pt x="0" y="0"/>
                  </a:lnTo>
                  <a:lnTo>
                    <a:pt x="21600" y="4194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4" name="Shape 1465"/>
            <p:cNvSpPr/>
            <p:nvPr/>
          </p:nvSpPr>
          <p:spPr>
            <a:xfrm>
              <a:off x="1956866" y="317606"/>
              <a:ext cx="216740" cy="2351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6944"/>
                  </a:lnTo>
                  <a:lnTo>
                    <a:pt x="0" y="21600"/>
                  </a:lnTo>
                  <a:lnTo>
                    <a:pt x="0" y="14528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5" name="Shape 1466"/>
            <p:cNvSpPr/>
            <p:nvPr/>
          </p:nvSpPr>
          <p:spPr>
            <a:xfrm>
              <a:off x="1309359" y="606526"/>
              <a:ext cx="38458" cy="1040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5885"/>
                  </a:lnTo>
                  <a:lnTo>
                    <a:pt x="0" y="21600"/>
                  </a:lnTo>
                  <a:lnTo>
                    <a:pt x="0" y="5715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6" name="Shape 1467"/>
            <p:cNvSpPr/>
            <p:nvPr/>
          </p:nvSpPr>
          <p:spPr>
            <a:xfrm>
              <a:off x="1045028" y="629066"/>
              <a:ext cx="272065" cy="1675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3889"/>
                  </a:moveTo>
                  <a:lnTo>
                    <a:pt x="21600" y="13881"/>
                  </a:lnTo>
                  <a:cubicBezTo>
                    <a:pt x="21600" y="14181"/>
                    <a:pt x="21600" y="14360"/>
                    <a:pt x="21490" y="14719"/>
                  </a:cubicBezTo>
                  <a:cubicBezTo>
                    <a:pt x="21490" y="14899"/>
                    <a:pt x="21490" y="14899"/>
                    <a:pt x="21416" y="15018"/>
                  </a:cubicBezTo>
                  <a:lnTo>
                    <a:pt x="21416" y="15557"/>
                  </a:lnTo>
                  <a:cubicBezTo>
                    <a:pt x="21306" y="15856"/>
                    <a:pt x="21306" y="16035"/>
                    <a:pt x="21195" y="16215"/>
                  </a:cubicBezTo>
                  <a:cubicBezTo>
                    <a:pt x="21195" y="16394"/>
                    <a:pt x="21195" y="16394"/>
                    <a:pt x="21085" y="16394"/>
                  </a:cubicBezTo>
                  <a:cubicBezTo>
                    <a:pt x="21085" y="16394"/>
                    <a:pt x="21085" y="16574"/>
                    <a:pt x="20974" y="16574"/>
                  </a:cubicBezTo>
                  <a:cubicBezTo>
                    <a:pt x="20901" y="16753"/>
                    <a:pt x="20901" y="16753"/>
                    <a:pt x="20901" y="16873"/>
                  </a:cubicBezTo>
                  <a:cubicBezTo>
                    <a:pt x="20790" y="17232"/>
                    <a:pt x="20680" y="17412"/>
                    <a:pt x="20570" y="17591"/>
                  </a:cubicBezTo>
                  <a:lnTo>
                    <a:pt x="20459" y="17711"/>
                  </a:lnTo>
                  <a:cubicBezTo>
                    <a:pt x="20275" y="18070"/>
                    <a:pt x="20055" y="18429"/>
                    <a:pt x="19834" y="18608"/>
                  </a:cubicBezTo>
                  <a:cubicBezTo>
                    <a:pt x="19834" y="18608"/>
                    <a:pt x="19760" y="18608"/>
                    <a:pt x="19760" y="18728"/>
                  </a:cubicBezTo>
                  <a:cubicBezTo>
                    <a:pt x="19539" y="19087"/>
                    <a:pt x="19319" y="19266"/>
                    <a:pt x="19135" y="19446"/>
                  </a:cubicBezTo>
                  <a:cubicBezTo>
                    <a:pt x="19024" y="19446"/>
                    <a:pt x="19024" y="19625"/>
                    <a:pt x="18914" y="19625"/>
                  </a:cubicBezTo>
                  <a:cubicBezTo>
                    <a:pt x="18803" y="19745"/>
                    <a:pt x="18693" y="19745"/>
                    <a:pt x="18509" y="19925"/>
                  </a:cubicBezTo>
                  <a:cubicBezTo>
                    <a:pt x="18509" y="19925"/>
                    <a:pt x="18509" y="19925"/>
                    <a:pt x="18399" y="19925"/>
                  </a:cubicBezTo>
                  <a:cubicBezTo>
                    <a:pt x="18067" y="20284"/>
                    <a:pt x="17663" y="20463"/>
                    <a:pt x="17368" y="20583"/>
                  </a:cubicBezTo>
                  <a:lnTo>
                    <a:pt x="17258" y="20583"/>
                  </a:lnTo>
                  <a:cubicBezTo>
                    <a:pt x="17148" y="20583"/>
                    <a:pt x="17037" y="20762"/>
                    <a:pt x="16927" y="20762"/>
                  </a:cubicBezTo>
                  <a:cubicBezTo>
                    <a:pt x="16743" y="20942"/>
                    <a:pt x="16632" y="20942"/>
                    <a:pt x="16412" y="20942"/>
                  </a:cubicBezTo>
                  <a:cubicBezTo>
                    <a:pt x="16301" y="20942"/>
                    <a:pt x="16301" y="21121"/>
                    <a:pt x="16228" y="21121"/>
                  </a:cubicBezTo>
                  <a:cubicBezTo>
                    <a:pt x="16117" y="21121"/>
                    <a:pt x="16007" y="21121"/>
                    <a:pt x="15896" y="21301"/>
                  </a:cubicBezTo>
                  <a:cubicBezTo>
                    <a:pt x="15786" y="21301"/>
                    <a:pt x="15602" y="21480"/>
                    <a:pt x="15492" y="21480"/>
                  </a:cubicBezTo>
                  <a:lnTo>
                    <a:pt x="14976" y="21480"/>
                  </a:lnTo>
                  <a:cubicBezTo>
                    <a:pt x="14866" y="21480"/>
                    <a:pt x="14645" y="21480"/>
                    <a:pt x="14535" y="21600"/>
                  </a:cubicBezTo>
                  <a:lnTo>
                    <a:pt x="11959" y="21600"/>
                  </a:lnTo>
                  <a:cubicBezTo>
                    <a:pt x="11628" y="21600"/>
                    <a:pt x="11444" y="21600"/>
                    <a:pt x="11113" y="21480"/>
                  </a:cubicBezTo>
                  <a:lnTo>
                    <a:pt x="10818" y="21480"/>
                  </a:lnTo>
                  <a:cubicBezTo>
                    <a:pt x="10414" y="21301"/>
                    <a:pt x="9972" y="21301"/>
                    <a:pt x="9457" y="21121"/>
                  </a:cubicBezTo>
                  <a:lnTo>
                    <a:pt x="9236" y="21121"/>
                  </a:lnTo>
                  <a:cubicBezTo>
                    <a:pt x="8647" y="20942"/>
                    <a:pt x="8022" y="20762"/>
                    <a:pt x="7470" y="20463"/>
                  </a:cubicBezTo>
                  <a:lnTo>
                    <a:pt x="7396" y="20463"/>
                  </a:lnTo>
                  <a:cubicBezTo>
                    <a:pt x="7286" y="20463"/>
                    <a:pt x="7286" y="20284"/>
                    <a:pt x="7175" y="20284"/>
                  </a:cubicBezTo>
                  <a:cubicBezTo>
                    <a:pt x="6881" y="20104"/>
                    <a:pt x="6550" y="19925"/>
                    <a:pt x="6256" y="19745"/>
                  </a:cubicBezTo>
                  <a:cubicBezTo>
                    <a:pt x="6145" y="19625"/>
                    <a:pt x="6035" y="19625"/>
                    <a:pt x="5924" y="19625"/>
                  </a:cubicBezTo>
                  <a:cubicBezTo>
                    <a:pt x="5520" y="19266"/>
                    <a:pt x="5188" y="19087"/>
                    <a:pt x="4784" y="18728"/>
                  </a:cubicBezTo>
                  <a:cubicBezTo>
                    <a:pt x="1766" y="16215"/>
                    <a:pt x="0" y="12984"/>
                    <a:pt x="0" y="9813"/>
                  </a:cubicBezTo>
                  <a:lnTo>
                    <a:pt x="0" y="0"/>
                  </a:lnTo>
                  <a:cubicBezTo>
                    <a:pt x="0" y="3052"/>
                    <a:pt x="1619" y="6402"/>
                    <a:pt x="4784" y="8975"/>
                  </a:cubicBezTo>
                  <a:cubicBezTo>
                    <a:pt x="5152" y="9274"/>
                    <a:pt x="5520" y="9454"/>
                    <a:pt x="5924" y="9813"/>
                  </a:cubicBezTo>
                  <a:cubicBezTo>
                    <a:pt x="6035" y="9992"/>
                    <a:pt x="6145" y="9992"/>
                    <a:pt x="6256" y="9992"/>
                  </a:cubicBezTo>
                  <a:cubicBezTo>
                    <a:pt x="6550" y="10112"/>
                    <a:pt x="6881" y="10291"/>
                    <a:pt x="7175" y="10471"/>
                  </a:cubicBezTo>
                  <a:cubicBezTo>
                    <a:pt x="7286" y="10471"/>
                    <a:pt x="7396" y="10650"/>
                    <a:pt x="7470" y="10650"/>
                  </a:cubicBezTo>
                  <a:cubicBezTo>
                    <a:pt x="8095" y="11009"/>
                    <a:pt x="8721" y="11129"/>
                    <a:pt x="9236" y="11309"/>
                  </a:cubicBezTo>
                  <a:cubicBezTo>
                    <a:pt x="9347" y="11309"/>
                    <a:pt x="9347" y="11488"/>
                    <a:pt x="9457" y="11488"/>
                  </a:cubicBezTo>
                  <a:cubicBezTo>
                    <a:pt x="9862" y="11668"/>
                    <a:pt x="10303" y="11668"/>
                    <a:pt x="10818" y="11847"/>
                  </a:cubicBezTo>
                  <a:lnTo>
                    <a:pt x="11113" y="11847"/>
                  </a:lnTo>
                  <a:cubicBezTo>
                    <a:pt x="11444" y="11847"/>
                    <a:pt x="11628" y="12027"/>
                    <a:pt x="11959" y="12027"/>
                  </a:cubicBezTo>
                  <a:lnTo>
                    <a:pt x="14461" y="12027"/>
                  </a:lnTo>
                  <a:cubicBezTo>
                    <a:pt x="14535" y="12027"/>
                    <a:pt x="14756" y="12027"/>
                    <a:pt x="14866" y="11847"/>
                  </a:cubicBezTo>
                  <a:cubicBezTo>
                    <a:pt x="15087" y="11847"/>
                    <a:pt x="15160" y="11668"/>
                    <a:pt x="15381" y="11668"/>
                  </a:cubicBezTo>
                  <a:cubicBezTo>
                    <a:pt x="15602" y="11668"/>
                    <a:pt x="15676" y="11488"/>
                    <a:pt x="15786" y="11488"/>
                  </a:cubicBezTo>
                  <a:cubicBezTo>
                    <a:pt x="15896" y="11488"/>
                    <a:pt x="16117" y="11309"/>
                    <a:pt x="16228" y="11309"/>
                  </a:cubicBezTo>
                  <a:cubicBezTo>
                    <a:pt x="16412" y="11129"/>
                    <a:pt x="16522" y="11129"/>
                    <a:pt x="16743" y="11129"/>
                  </a:cubicBezTo>
                  <a:cubicBezTo>
                    <a:pt x="16816" y="11129"/>
                    <a:pt x="16927" y="11009"/>
                    <a:pt x="17037" y="11009"/>
                  </a:cubicBezTo>
                  <a:cubicBezTo>
                    <a:pt x="17442" y="10830"/>
                    <a:pt x="17773" y="10650"/>
                    <a:pt x="18067" y="10291"/>
                  </a:cubicBezTo>
                  <a:cubicBezTo>
                    <a:pt x="18178" y="10112"/>
                    <a:pt x="18399" y="10112"/>
                    <a:pt x="18509" y="9992"/>
                  </a:cubicBezTo>
                  <a:cubicBezTo>
                    <a:pt x="18583" y="9992"/>
                    <a:pt x="18583" y="9813"/>
                    <a:pt x="18693" y="9813"/>
                  </a:cubicBezTo>
                  <a:cubicBezTo>
                    <a:pt x="18914" y="9633"/>
                    <a:pt x="19135" y="9274"/>
                    <a:pt x="19319" y="9155"/>
                  </a:cubicBezTo>
                  <a:cubicBezTo>
                    <a:pt x="19650" y="8796"/>
                    <a:pt x="19834" y="8437"/>
                    <a:pt x="20055" y="8137"/>
                  </a:cubicBezTo>
                  <a:lnTo>
                    <a:pt x="20165" y="7958"/>
                  </a:lnTo>
                  <a:cubicBezTo>
                    <a:pt x="20349" y="7599"/>
                    <a:pt x="20459" y="7300"/>
                    <a:pt x="20680" y="6941"/>
                  </a:cubicBezTo>
                  <a:cubicBezTo>
                    <a:pt x="20680" y="6941"/>
                    <a:pt x="20680" y="6761"/>
                    <a:pt x="20790" y="6761"/>
                  </a:cubicBezTo>
                  <a:cubicBezTo>
                    <a:pt x="20901" y="6402"/>
                    <a:pt x="20974" y="6103"/>
                    <a:pt x="21085" y="5744"/>
                  </a:cubicBezTo>
                  <a:lnTo>
                    <a:pt x="21085" y="5565"/>
                  </a:lnTo>
                  <a:cubicBezTo>
                    <a:pt x="21490" y="4727"/>
                    <a:pt x="21490" y="4248"/>
                    <a:pt x="21600" y="3889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7" name="Shape 1468"/>
            <p:cNvSpPr/>
            <p:nvPr/>
          </p:nvSpPr>
          <p:spPr>
            <a:xfrm>
              <a:off x="1346243" y="606526"/>
              <a:ext cx="255671" cy="2023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3457"/>
                  </a:moveTo>
                  <a:lnTo>
                    <a:pt x="21600" y="21600"/>
                  </a:lnTo>
                  <a:lnTo>
                    <a:pt x="0" y="8143"/>
                  </a:lnTo>
                  <a:lnTo>
                    <a:pt x="0" y="0"/>
                  </a:lnTo>
                  <a:lnTo>
                    <a:pt x="21600" y="13457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8" name="Shape 1469"/>
            <p:cNvSpPr/>
            <p:nvPr/>
          </p:nvSpPr>
          <p:spPr>
            <a:xfrm>
              <a:off x="1602376" y="573740"/>
              <a:ext cx="218788" cy="2351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6972"/>
                  </a:lnTo>
                  <a:lnTo>
                    <a:pt x="0" y="21600"/>
                  </a:lnTo>
                  <a:lnTo>
                    <a:pt x="0" y="14585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9" name="Shape 1470"/>
            <p:cNvSpPr/>
            <p:nvPr/>
          </p:nvSpPr>
          <p:spPr>
            <a:xfrm>
              <a:off x="952820" y="0"/>
              <a:ext cx="1220785" cy="7331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9355"/>
                  </a:moveTo>
                  <a:lnTo>
                    <a:pt x="17730" y="14026"/>
                  </a:lnTo>
                  <a:lnTo>
                    <a:pt x="17057" y="13478"/>
                  </a:lnTo>
                  <a:cubicBezTo>
                    <a:pt x="17262" y="12752"/>
                    <a:pt x="17196" y="12094"/>
                    <a:pt x="16777" y="11738"/>
                  </a:cubicBezTo>
                  <a:cubicBezTo>
                    <a:pt x="16054" y="11163"/>
                    <a:pt x="14625" y="11738"/>
                    <a:pt x="13556" y="13026"/>
                  </a:cubicBezTo>
                  <a:cubicBezTo>
                    <a:pt x="12488" y="14341"/>
                    <a:pt x="12209" y="15847"/>
                    <a:pt x="12932" y="16423"/>
                  </a:cubicBezTo>
                  <a:cubicBezTo>
                    <a:pt x="13343" y="16765"/>
                    <a:pt x="14017" y="16697"/>
                    <a:pt x="14690" y="16340"/>
                  </a:cubicBezTo>
                  <a:lnTo>
                    <a:pt x="15364" y="16888"/>
                  </a:lnTo>
                  <a:lnTo>
                    <a:pt x="11494" y="21600"/>
                  </a:lnTo>
                  <a:lnTo>
                    <a:pt x="6943" y="17888"/>
                  </a:lnTo>
                  <a:lnTo>
                    <a:pt x="6285" y="18696"/>
                  </a:lnTo>
                  <a:cubicBezTo>
                    <a:pt x="6515" y="19354"/>
                    <a:pt x="6441" y="20052"/>
                    <a:pt x="6031" y="20559"/>
                  </a:cubicBezTo>
                  <a:cubicBezTo>
                    <a:pt x="5308" y="21408"/>
                    <a:pt x="3862" y="21408"/>
                    <a:pt x="2777" y="20518"/>
                  </a:cubicBezTo>
                  <a:cubicBezTo>
                    <a:pt x="1684" y="19628"/>
                    <a:pt x="1389" y="18244"/>
                    <a:pt x="2112" y="17354"/>
                  </a:cubicBezTo>
                  <a:cubicBezTo>
                    <a:pt x="2522" y="16847"/>
                    <a:pt x="3171" y="16655"/>
                    <a:pt x="3870" y="16738"/>
                  </a:cubicBezTo>
                  <a:lnTo>
                    <a:pt x="4543" y="15916"/>
                  </a:lnTo>
                  <a:lnTo>
                    <a:pt x="0" y="12204"/>
                  </a:lnTo>
                  <a:lnTo>
                    <a:pt x="3870" y="7533"/>
                  </a:lnTo>
                  <a:lnTo>
                    <a:pt x="4543" y="8067"/>
                  </a:lnTo>
                  <a:cubicBezTo>
                    <a:pt x="4330" y="8807"/>
                    <a:pt x="4404" y="9465"/>
                    <a:pt x="4823" y="9807"/>
                  </a:cubicBezTo>
                  <a:cubicBezTo>
                    <a:pt x="5538" y="10396"/>
                    <a:pt x="6967" y="9848"/>
                    <a:pt x="8035" y="8533"/>
                  </a:cubicBezTo>
                  <a:cubicBezTo>
                    <a:pt x="9103" y="7218"/>
                    <a:pt x="9383" y="5712"/>
                    <a:pt x="8660" y="5136"/>
                  </a:cubicBezTo>
                  <a:cubicBezTo>
                    <a:pt x="8241" y="4794"/>
                    <a:pt x="7575" y="4862"/>
                    <a:pt x="6901" y="5219"/>
                  </a:cubicBezTo>
                  <a:lnTo>
                    <a:pt x="6236" y="4671"/>
                  </a:lnTo>
                  <a:lnTo>
                    <a:pt x="10098" y="0"/>
                  </a:lnTo>
                  <a:lnTo>
                    <a:pt x="14641" y="3698"/>
                  </a:lnTo>
                  <a:lnTo>
                    <a:pt x="15315" y="2890"/>
                  </a:lnTo>
                  <a:cubicBezTo>
                    <a:pt x="15085" y="2233"/>
                    <a:pt x="15150" y="1534"/>
                    <a:pt x="15569" y="1041"/>
                  </a:cubicBezTo>
                  <a:cubicBezTo>
                    <a:pt x="16292" y="192"/>
                    <a:pt x="17730" y="192"/>
                    <a:pt x="18815" y="1082"/>
                  </a:cubicBezTo>
                  <a:cubicBezTo>
                    <a:pt x="19907" y="1972"/>
                    <a:pt x="20211" y="3356"/>
                    <a:pt x="19488" y="4246"/>
                  </a:cubicBezTo>
                  <a:cubicBezTo>
                    <a:pt x="19069" y="4753"/>
                    <a:pt x="18420" y="4945"/>
                    <a:pt x="17730" y="4862"/>
                  </a:cubicBezTo>
                  <a:lnTo>
                    <a:pt x="17057" y="5671"/>
                  </a:lnTo>
                  <a:lnTo>
                    <a:pt x="21600" y="9355"/>
                  </a:lnTo>
                </a:path>
              </a:pathLst>
            </a:custGeom>
            <a:solidFill>
              <a:srgbClr val="EAFFE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0" name="Shape 1471"/>
            <p:cNvSpPr/>
            <p:nvPr/>
          </p:nvSpPr>
          <p:spPr>
            <a:xfrm>
              <a:off x="1791232" y="778303"/>
              <a:ext cx="346850" cy="2008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81" h="19646" extrusionOk="0">
                  <a:moveTo>
                    <a:pt x="2849" y="16759"/>
                  </a:moveTo>
                  <a:cubicBezTo>
                    <a:pt x="-949" y="12885"/>
                    <a:pt x="-949" y="6688"/>
                    <a:pt x="2849" y="2905"/>
                  </a:cubicBezTo>
                  <a:cubicBezTo>
                    <a:pt x="6726" y="-968"/>
                    <a:pt x="12897" y="-968"/>
                    <a:pt x="16774" y="2905"/>
                  </a:cubicBezTo>
                  <a:cubicBezTo>
                    <a:pt x="20651" y="6733"/>
                    <a:pt x="20651" y="12931"/>
                    <a:pt x="16774" y="16759"/>
                  </a:cubicBezTo>
                  <a:cubicBezTo>
                    <a:pt x="12897" y="20632"/>
                    <a:pt x="6726" y="20586"/>
                    <a:pt x="2849" y="16759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1" name="Shape 1472"/>
            <p:cNvSpPr/>
            <p:nvPr/>
          </p:nvSpPr>
          <p:spPr>
            <a:xfrm>
              <a:off x="1844191" y="820483"/>
              <a:ext cx="99532" cy="446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882" h="17564" extrusionOk="0">
                  <a:moveTo>
                    <a:pt x="6902" y="1562"/>
                  </a:moveTo>
                  <a:cubicBezTo>
                    <a:pt x="9520" y="2661"/>
                    <a:pt x="14850" y="-3563"/>
                    <a:pt x="19058" y="3210"/>
                  </a:cubicBezTo>
                  <a:cubicBezTo>
                    <a:pt x="20367" y="6139"/>
                    <a:pt x="20367" y="16939"/>
                    <a:pt x="17188" y="17488"/>
                  </a:cubicBezTo>
                  <a:cubicBezTo>
                    <a:pt x="14009" y="18037"/>
                    <a:pt x="13728" y="15474"/>
                    <a:pt x="11390" y="13827"/>
                  </a:cubicBezTo>
                  <a:cubicBezTo>
                    <a:pt x="9053" y="12912"/>
                    <a:pt x="1853" y="11813"/>
                    <a:pt x="263" y="8701"/>
                  </a:cubicBezTo>
                  <a:cubicBezTo>
                    <a:pt x="-1233" y="5590"/>
                    <a:pt x="4003" y="647"/>
                    <a:pt x="6902" y="1562"/>
                  </a:cubicBezTo>
                </a:path>
              </a:pathLst>
            </a:custGeom>
            <a:solidFill>
              <a:srgbClr val="47716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2" name="Shape 1473"/>
            <p:cNvSpPr/>
            <p:nvPr/>
          </p:nvSpPr>
          <p:spPr>
            <a:xfrm>
              <a:off x="1836955" y="647507"/>
              <a:ext cx="136138" cy="1886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193" h="20545" extrusionOk="0">
                  <a:moveTo>
                    <a:pt x="16801" y="7368"/>
                  </a:moveTo>
                  <a:cubicBezTo>
                    <a:pt x="12718" y="7267"/>
                    <a:pt x="9557" y="7671"/>
                    <a:pt x="10282" y="9538"/>
                  </a:cubicBezTo>
                  <a:cubicBezTo>
                    <a:pt x="11006" y="11355"/>
                    <a:pt x="14167" y="19935"/>
                    <a:pt x="14167" y="19935"/>
                  </a:cubicBezTo>
                  <a:cubicBezTo>
                    <a:pt x="11928" y="21600"/>
                    <a:pt x="7121" y="19329"/>
                    <a:pt x="7121" y="19329"/>
                  </a:cubicBezTo>
                  <a:cubicBezTo>
                    <a:pt x="7121" y="19329"/>
                    <a:pt x="2313" y="10800"/>
                    <a:pt x="799" y="8226"/>
                  </a:cubicBezTo>
                  <a:cubicBezTo>
                    <a:pt x="-716" y="5703"/>
                    <a:pt x="74" y="3684"/>
                    <a:pt x="1918" y="2826"/>
                  </a:cubicBezTo>
                  <a:cubicBezTo>
                    <a:pt x="3762" y="1968"/>
                    <a:pt x="14167" y="0"/>
                    <a:pt x="14167" y="0"/>
                  </a:cubicBezTo>
                  <a:cubicBezTo>
                    <a:pt x="19567" y="0"/>
                    <a:pt x="20884" y="7520"/>
                    <a:pt x="16801" y="7368"/>
                  </a:cubicBezTo>
                </a:path>
              </a:pathLst>
            </a:custGeom>
            <a:solidFill>
              <a:srgbClr val="4773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3" name="Shape 1474"/>
            <p:cNvSpPr/>
            <p:nvPr/>
          </p:nvSpPr>
          <p:spPr>
            <a:xfrm>
              <a:off x="2020518" y="870856"/>
              <a:ext cx="78982" cy="949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595" h="20530" extrusionOk="0">
                  <a:moveTo>
                    <a:pt x="4004" y="6229"/>
                  </a:moveTo>
                  <a:cubicBezTo>
                    <a:pt x="5868" y="2813"/>
                    <a:pt x="13653" y="0"/>
                    <a:pt x="13653" y="0"/>
                  </a:cubicBezTo>
                  <a:cubicBezTo>
                    <a:pt x="13653" y="0"/>
                    <a:pt x="20122" y="2813"/>
                    <a:pt x="18258" y="6028"/>
                  </a:cubicBezTo>
                  <a:cubicBezTo>
                    <a:pt x="16394" y="9343"/>
                    <a:pt x="14311" y="8841"/>
                    <a:pt x="13653" y="11654"/>
                  </a:cubicBezTo>
                  <a:cubicBezTo>
                    <a:pt x="12995" y="14467"/>
                    <a:pt x="9048" y="21600"/>
                    <a:pt x="3785" y="20394"/>
                  </a:cubicBezTo>
                  <a:cubicBezTo>
                    <a:pt x="-1478" y="19289"/>
                    <a:pt x="-601" y="15572"/>
                    <a:pt x="2469" y="15371"/>
                  </a:cubicBezTo>
                  <a:cubicBezTo>
                    <a:pt x="5649" y="14768"/>
                    <a:pt x="2250" y="9946"/>
                    <a:pt x="4004" y="6229"/>
                  </a:cubicBezTo>
                </a:path>
              </a:pathLst>
            </a:custGeom>
            <a:solidFill>
              <a:srgbClr val="47716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4" name="Shape 1475"/>
            <p:cNvSpPr/>
            <p:nvPr/>
          </p:nvSpPr>
          <p:spPr>
            <a:xfrm>
              <a:off x="1887198" y="452025"/>
              <a:ext cx="48723" cy="433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005" extrusionOk="0">
                  <a:moveTo>
                    <a:pt x="7873" y="80"/>
                  </a:moveTo>
                  <a:cubicBezTo>
                    <a:pt x="8479" y="-595"/>
                    <a:pt x="19379" y="3230"/>
                    <a:pt x="19379" y="3230"/>
                  </a:cubicBezTo>
                  <a:lnTo>
                    <a:pt x="21600" y="16505"/>
                  </a:lnTo>
                  <a:lnTo>
                    <a:pt x="3432" y="21005"/>
                  </a:lnTo>
                  <a:lnTo>
                    <a:pt x="0" y="7730"/>
                  </a:lnTo>
                  <a:cubicBezTo>
                    <a:pt x="606" y="7055"/>
                    <a:pt x="7873" y="80"/>
                    <a:pt x="7873" y="80"/>
                  </a:cubicBezTo>
                </a:path>
              </a:pathLst>
            </a:custGeom>
            <a:solidFill>
              <a:srgbClr val="FFE98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5" name="Shape 1476"/>
            <p:cNvSpPr/>
            <p:nvPr/>
          </p:nvSpPr>
          <p:spPr>
            <a:xfrm>
              <a:off x="1872855" y="374965"/>
              <a:ext cx="82977" cy="1020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54" h="21178" extrusionOk="0">
                  <a:moveTo>
                    <a:pt x="4126" y="7128"/>
                  </a:moveTo>
                  <a:cubicBezTo>
                    <a:pt x="4490" y="6555"/>
                    <a:pt x="3762" y="6268"/>
                    <a:pt x="2427" y="6555"/>
                  </a:cubicBezTo>
                  <a:cubicBezTo>
                    <a:pt x="1335" y="6268"/>
                    <a:pt x="728" y="5790"/>
                    <a:pt x="0" y="4643"/>
                  </a:cubicBezTo>
                  <a:cubicBezTo>
                    <a:pt x="971" y="3114"/>
                    <a:pt x="2063" y="1967"/>
                    <a:pt x="3034" y="1490"/>
                  </a:cubicBezTo>
                  <a:cubicBezTo>
                    <a:pt x="6189" y="151"/>
                    <a:pt x="9222" y="-422"/>
                    <a:pt x="12620" y="343"/>
                  </a:cubicBezTo>
                  <a:cubicBezTo>
                    <a:pt x="16139" y="916"/>
                    <a:pt x="18445" y="2254"/>
                    <a:pt x="19901" y="4452"/>
                  </a:cubicBezTo>
                  <a:cubicBezTo>
                    <a:pt x="20144" y="4930"/>
                    <a:pt x="20144" y="5504"/>
                    <a:pt x="20508" y="6077"/>
                  </a:cubicBezTo>
                  <a:cubicBezTo>
                    <a:pt x="21600" y="7702"/>
                    <a:pt x="21600" y="9518"/>
                    <a:pt x="21236" y="11429"/>
                  </a:cubicBezTo>
                  <a:cubicBezTo>
                    <a:pt x="20872" y="13819"/>
                    <a:pt x="20265" y="15443"/>
                    <a:pt x="19537" y="16590"/>
                  </a:cubicBezTo>
                  <a:cubicBezTo>
                    <a:pt x="18930" y="17642"/>
                    <a:pt x="18445" y="18215"/>
                    <a:pt x="18081" y="18406"/>
                  </a:cubicBezTo>
                  <a:cubicBezTo>
                    <a:pt x="17474" y="19266"/>
                    <a:pt x="17110" y="19840"/>
                    <a:pt x="16746" y="20031"/>
                  </a:cubicBezTo>
                  <a:cubicBezTo>
                    <a:pt x="16382" y="20031"/>
                    <a:pt x="15411" y="20318"/>
                    <a:pt x="14076" y="20605"/>
                  </a:cubicBezTo>
                  <a:cubicBezTo>
                    <a:pt x="12620" y="20891"/>
                    <a:pt x="11649" y="21178"/>
                    <a:pt x="10921" y="21178"/>
                  </a:cubicBezTo>
                  <a:cubicBezTo>
                    <a:pt x="10921" y="21178"/>
                    <a:pt x="10557" y="20891"/>
                    <a:pt x="9222" y="20891"/>
                  </a:cubicBezTo>
                  <a:cubicBezTo>
                    <a:pt x="7888" y="20891"/>
                    <a:pt x="6796" y="20031"/>
                    <a:pt x="6553" y="18406"/>
                  </a:cubicBezTo>
                  <a:lnTo>
                    <a:pt x="5461" y="16017"/>
                  </a:lnTo>
                  <a:cubicBezTo>
                    <a:pt x="5825" y="15443"/>
                    <a:pt x="6310" y="14583"/>
                    <a:pt x="6553" y="13819"/>
                  </a:cubicBezTo>
                  <a:cubicBezTo>
                    <a:pt x="6917" y="12959"/>
                    <a:pt x="6796" y="12481"/>
                    <a:pt x="6796" y="12003"/>
                  </a:cubicBezTo>
                  <a:cubicBezTo>
                    <a:pt x="6796" y="11429"/>
                    <a:pt x="6553" y="10856"/>
                    <a:pt x="5461" y="10378"/>
                  </a:cubicBezTo>
                  <a:cubicBezTo>
                    <a:pt x="4733" y="9805"/>
                    <a:pt x="4126" y="10091"/>
                    <a:pt x="3398" y="11143"/>
                  </a:cubicBezTo>
                  <a:cubicBezTo>
                    <a:pt x="3398" y="12290"/>
                    <a:pt x="3034" y="13054"/>
                    <a:pt x="3034" y="13628"/>
                  </a:cubicBezTo>
                  <a:lnTo>
                    <a:pt x="1699" y="13628"/>
                  </a:lnTo>
                  <a:cubicBezTo>
                    <a:pt x="1699" y="11716"/>
                    <a:pt x="1335" y="10665"/>
                    <a:pt x="1335" y="10091"/>
                  </a:cubicBezTo>
                  <a:cubicBezTo>
                    <a:pt x="3034" y="8466"/>
                    <a:pt x="3762" y="7702"/>
                    <a:pt x="4126" y="7128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6" name="Shape 1477"/>
            <p:cNvSpPr/>
            <p:nvPr/>
          </p:nvSpPr>
          <p:spPr>
            <a:xfrm>
              <a:off x="1869340" y="397520"/>
              <a:ext cx="29702" cy="855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84" h="21600" extrusionOk="0">
                  <a:moveTo>
                    <a:pt x="3130" y="15580"/>
                  </a:moveTo>
                  <a:cubicBezTo>
                    <a:pt x="229" y="13928"/>
                    <a:pt x="229" y="12275"/>
                    <a:pt x="229" y="9679"/>
                  </a:cubicBezTo>
                  <a:cubicBezTo>
                    <a:pt x="1196" y="7318"/>
                    <a:pt x="1196" y="5902"/>
                    <a:pt x="229" y="5311"/>
                  </a:cubicBezTo>
                  <a:cubicBezTo>
                    <a:pt x="-416" y="4013"/>
                    <a:pt x="229" y="2007"/>
                    <a:pt x="3130" y="0"/>
                  </a:cubicBezTo>
                  <a:cubicBezTo>
                    <a:pt x="4097" y="1298"/>
                    <a:pt x="6677" y="2243"/>
                    <a:pt x="9578" y="2243"/>
                  </a:cubicBezTo>
                  <a:cubicBezTo>
                    <a:pt x="13124" y="2243"/>
                    <a:pt x="14091" y="2597"/>
                    <a:pt x="14091" y="3305"/>
                  </a:cubicBezTo>
                  <a:cubicBezTo>
                    <a:pt x="13124" y="4013"/>
                    <a:pt x="11190" y="5311"/>
                    <a:pt x="6677" y="6964"/>
                  </a:cubicBezTo>
                  <a:cubicBezTo>
                    <a:pt x="6677" y="7672"/>
                    <a:pt x="6677" y="8970"/>
                    <a:pt x="7644" y="11331"/>
                  </a:cubicBezTo>
                  <a:lnTo>
                    <a:pt x="11190" y="11331"/>
                  </a:lnTo>
                  <a:cubicBezTo>
                    <a:pt x="11190" y="10623"/>
                    <a:pt x="12157" y="9679"/>
                    <a:pt x="12157" y="8262"/>
                  </a:cubicBezTo>
                  <a:cubicBezTo>
                    <a:pt x="13124" y="6964"/>
                    <a:pt x="15703" y="6610"/>
                    <a:pt x="17638" y="7318"/>
                  </a:cubicBezTo>
                  <a:cubicBezTo>
                    <a:pt x="19572" y="7908"/>
                    <a:pt x="21184" y="8616"/>
                    <a:pt x="21184" y="9325"/>
                  </a:cubicBezTo>
                  <a:cubicBezTo>
                    <a:pt x="21184" y="9679"/>
                    <a:pt x="21184" y="10623"/>
                    <a:pt x="20539" y="11567"/>
                  </a:cubicBezTo>
                  <a:cubicBezTo>
                    <a:pt x="20539" y="12630"/>
                    <a:pt x="19572" y="13574"/>
                    <a:pt x="17638" y="14282"/>
                  </a:cubicBezTo>
                  <a:lnTo>
                    <a:pt x="20539" y="17233"/>
                  </a:lnTo>
                  <a:cubicBezTo>
                    <a:pt x="19572" y="17587"/>
                    <a:pt x="18605" y="18295"/>
                    <a:pt x="17638" y="19593"/>
                  </a:cubicBezTo>
                  <a:cubicBezTo>
                    <a:pt x="17638" y="19948"/>
                    <a:pt x="16671" y="20302"/>
                    <a:pt x="15703" y="20892"/>
                  </a:cubicBezTo>
                  <a:lnTo>
                    <a:pt x="15059" y="21600"/>
                  </a:lnTo>
                  <a:lnTo>
                    <a:pt x="13124" y="21600"/>
                  </a:lnTo>
                  <a:cubicBezTo>
                    <a:pt x="11190" y="21600"/>
                    <a:pt x="9578" y="21600"/>
                    <a:pt x="7644" y="20892"/>
                  </a:cubicBezTo>
                  <a:cubicBezTo>
                    <a:pt x="5709" y="20302"/>
                    <a:pt x="4097" y="18649"/>
                    <a:pt x="3130" y="1558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7" name="Shape 1478"/>
            <p:cNvSpPr/>
            <p:nvPr/>
          </p:nvSpPr>
          <p:spPr>
            <a:xfrm>
              <a:off x="1934327" y="651605"/>
              <a:ext cx="147069" cy="2495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2919" y="1252"/>
                  </a:lnTo>
                  <a:cubicBezTo>
                    <a:pt x="12919" y="1252"/>
                    <a:pt x="12714" y="9326"/>
                    <a:pt x="12919" y="11830"/>
                  </a:cubicBezTo>
                  <a:lnTo>
                    <a:pt x="21600" y="19460"/>
                  </a:lnTo>
                  <a:cubicBezTo>
                    <a:pt x="21600" y="19460"/>
                    <a:pt x="18114" y="21600"/>
                    <a:pt x="15380" y="21600"/>
                  </a:cubicBezTo>
                  <a:cubicBezTo>
                    <a:pt x="15380" y="21600"/>
                    <a:pt x="7109" y="16351"/>
                    <a:pt x="5947" y="14131"/>
                  </a:cubicBezTo>
                  <a:cubicBezTo>
                    <a:pt x="4580" y="11951"/>
                    <a:pt x="0" y="0"/>
                    <a:pt x="0" y="0"/>
                  </a:cubicBezTo>
                </a:path>
              </a:pathLst>
            </a:custGeom>
            <a:solidFill>
              <a:srgbClr val="52858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8" name="Shape 1479"/>
            <p:cNvSpPr/>
            <p:nvPr/>
          </p:nvSpPr>
          <p:spPr>
            <a:xfrm>
              <a:off x="1788767" y="400912"/>
              <a:ext cx="106166" cy="1334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32" h="21385" extrusionOk="0">
                  <a:moveTo>
                    <a:pt x="18921" y="21385"/>
                  </a:moveTo>
                  <a:cubicBezTo>
                    <a:pt x="18921" y="21385"/>
                    <a:pt x="13410" y="18861"/>
                    <a:pt x="10832" y="17228"/>
                  </a:cubicBezTo>
                  <a:cubicBezTo>
                    <a:pt x="8343" y="15521"/>
                    <a:pt x="3632" y="7133"/>
                    <a:pt x="3632" y="7133"/>
                  </a:cubicBezTo>
                  <a:cubicBezTo>
                    <a:pt x="-1168" y="4387"/>
                    <a:pt x="-812" y="230"/>
                    <a:pt x="2388" y="8"/>
                  </a:cubicBezTo>
                  <a:cubicBezTo>
                    <a:pt x="5676" y="-215"/>
                    <a:pt x="6832" y="4610"/>
                    <a:pt x="6832" y="4610"/>
                  </a:cubicBezTo>
                  <a:cubicBezTo>
                    <a:pt x="9410" y="7133"/>
                    <a:pt x="16432" y="14037"/>
                    <a:pt x="16432" y="14037"/>
                  </a:cubicBezTo>
                  <a:lnTo>
                    <a:pt x="20432" y="14705"/>
                  </a:lnTo>
                  <a:lnTo>
                    <a:pt x="18921" y="21385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9" name="Shape 1480"/>
            <p:cNvSpPr/>
            <p:nvPr/>
          </p:nvSpPr>
          <p:spPr>
            <a:xfrm>
              <a:off x="1872737" y="487679"/>
              <a:ext cx="90592" cy="656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809" h="16554" extrusionOk="0">
                  <a:moveTo>
                    <a:pt x="18643" y="12678"/>
                  </a:moveTo>
                  <a:cubicBezTo>
                    <a:pt x="16415" y="21600"/>
                    <a:pt x="1402" y="12326"/>
                    <a:pt x="1402" y="12326"/>
                  </a:cubicBezTo>
                  <a:cubicBezTo>
                    <a:pt x="1402" y="12326"/>
                    <a:pt x="-826" y="8687"/>
                    <a:pt x="336" y="4696"/>
                  </a:cubicBezTo>
                  <a:cubicBezTo>
                    <a:pt x="1111" y="1057"/>
                    <a:pt x="1692" y="0"/>
                    <a:pt x="1692" y="0"/>
                  </a:cubicBezTo>
                  <a:cubicBezTo>
                    <a:pt x="1692" y="0"/>
                    <a:pt x="20774" y="3639"/>
                    <a:pt x="18643" y="12678"/>
                  </a:cubicBezTo>
                </a:path>
              </a:pathLst>
            </a:custGeom>
            <a:solidFill>
              <a:srgbClr val="47686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0" name="Shape 1481"/>
            <p:cNvSpPr/>
            <p:nvPr/>
          </p:nvSpPr>
          <p:spPr>
            <a:xfrm>
              <a:off x="1874904" y="482162"/>
              <a:ext cx="151166" cy="1932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7909" extrusionOk="0">
                  <a:moveTo>
                    <a:pt x="15600" y="2804"/>
                  </a:moveTo>
                  <a:cubicBezTo>
                    <a:pt x="18800" y="5741"/>
                    <a:pt x="21600" y="17189"/>
                    <a:pt x="21600" y="17189"/>
                  </a:cubicBezTo>
                  <a:cubicBezTo>
                    <a:pt x="14467" y="19263"/>
                    <a:pt x="3933" y="16196"/>
                    <a:pt x="3933" y="16196"/>
                  </a:cubicBezTo>
                  <a:lnTo>
                    <a:pt x="0" y="3279"/>
                  </a:lnTo>
                  <a:cubicBezTo>
                    <a:pt x="3733" y="-2337"/>
                    <a:pt x="13133" y="471"/>
                    <a:pt x="15600" y="2804"/>
                  </a:cubicBezTo>
                </a:path>
              </a:pathLst>
            </a:custGeom>
            <a:solidFill>
              <a:srgbClr val="477A7D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1" name="Shape 1482"/>
            <p:cNvSpPr/>
            <p:nvPr/>
          </p:nvSpPr>
          <p:spPr>
            <a:xfrm>
              <a:off x="1711533" y="468366"/>
              <a:ext cx="154713" cy="926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44" h="20017" extrusionOk="0">
                  <a:moveTo>
                    <a:pt x="20444" y="20017"/>
                  </a:moveTo>
                  <a:cubicBezTo>
                    <a:pt x="20444" y="20017"/>
                    <a:pt x="15794" y="19815"/>
                    <a:pt x="13346" y="18907"/>
                  </a:cubicBezTo>
                  <a:cubicBezTo>
                    <a:pt x="11082" y="17796"/>
                    <a:pt x="4535" y="9217"/>
                    <a:pt x="4535" y="9217"/>
                  </a:cubicBezTo>
                  <a:cubicBezTo>
                    <a:pt x="374" y="8107"/>
                    <a:pt x="-1156" y="2353"/>
                    <a:pt x="924" y="436"/>
                  </a:cubicBezTo>
                  <a:cubicBezTo>
                    <a:pt x="3005" y="-1583"/>
                    <a:pt x="5758" y="4069"/>
                    <a:pt x="5758" y="4069"/>
                  </a:cubicBezTo>
                  <a:cubicBezTo>
                    <a:pt x="8328" y="6088"/>
                    <a:pt x="15794" y="11841"/>
                    <a:pt x="15794" y="11841"/>
                  </a:cubicBezTo>
                  <a:lnTo>
                    <a:pt x="18731" y="10327"/>
                  </a:lnTo>
                  <a:lnTo>
                    <a:pt x="20444" y="20017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2" name="Shape 1483"/>
            <p:cNvSpPr/>
            <p:nvPr/>
          </p:nvSpPr>
          <p:spPr>
            <a:xfrm>
              <a:off x="1847496" y="505717"/>
              <a:ext cx="92559" cy="600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004" h="16752" extrusionOk="0">
                  <a:moveTo>
                    <a:pt x="19930" y="6532"/>
                  </a:moveTo>
                  <a:cubicBezTo>
                    <a:pt x="21324" y="17138"/>
                    <a:pt x="2511" y="16750"/>
                    <a:pt x="2511" y="16750"/>
                  </a:cubicBezTo>
                  <a:cubicBezTo>
                    <a:pt x="2511" y="16750"/>
                    <a:pt x="819" y="12999"/>
                    <a:pt x="222" y="8343"/>
                  </a:cubicBezTo>
                  <a:cubicBezTo>
                    <a:pt x="-276" y="3945"/>
                    <a:pt x="222" y="1746"/>
                    <a:pt x="222" y="1746"/>
                  </a:cubicBezTo>
                  <a:cubicBezTo>
                    <a:pt x="222" y="1746"/>
                    <a:pt x="18537" y="-4462"/>
                    <a:pt x="19930" y="6532"/>
                  </a:cubicBezTo>
                </a:path>
              </a:pathLst>
            </a:custGeom>
            <a:solidFill>
              <a:srgbClr val="475F5A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sp>
        <p:nvSpPr>
          <p:cNvPr id="393" name="Shape 1488"/>
          <p:cNvSpPr/>
          <p:nvPr/>
        </p:nvSpPr>
        <p:spPr>
          <a:xfrm>
            <a:off x="5440796" y="2297783"/>
            <a:ext cx="2494766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400">
                <a:solidFill>
                  <a:srgbClr val="726658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1. Executive </a:t>
            </a:r>
            <a:r>
              <a:rPr lang="en-US" altLang="de-DE" dirty="0"/>
              <a:t>Summary</a:t>
            </a:r>
          </a:p>
        </p:txBody>
      </p:sp>
      <p:sp>
        <p:nvSpPr>
          <p:cNvPr id="394" name="Shape 1489"/>
          <p:cNvSpPr/>
          <p:nvPr/>
        </p:nvSpPr>
        <p:spPr>
          <a:xfrm>
            <a:off x="1351884" y="4779082"/>
            <a:ext cx="2043460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400">
                <a:solidFill>
                  <a:srgbClr val="726658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5. Marketing </a:t>
            </a:r>
            <a:r>
              <a:rPr lang="en-US" altLang="de-DE" dirty="0"/>
              <a:t>Plan</a:t>
            </a:r>
          </a:p>
        </p:txBody>
      </p:sp>
      <p:sp>
        <p:nvSpPr>
          <p:cNvPr id="395" name="Shape 1392"/>
          <p:cNvSpPr/>
          <p:nvPr/>
        </p:nvSpPr>
        <p:spPr>
          <a:xfrm>
            <a:off x="5877113" y="1779946"/>
            <a:ext cx="348337" cy="3497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19101"/>
                </a:lnTo>
                <a:cubicBezTo>
                  <a:pt x="21600" y="20532"/>
                  <a:pt x="20507" y="21600"/>
                  <a:pt x="19090" y="21600"/>
                </a:cubicBezTo>
                <a:lnTo>
                  <a:pt x="2510" y="21600"/>
                </a:lnTo>
                <a:cubicBezTo>
                  <a:pt x="1093" y="21600"/>
                  <a:pt x="0" y="20472"/>
                  <a:pt x="0" y="19101"/>
                </a:cubicBezTo>
                <a:lnTo>
                  <a:pt x="0" y="6146"/>
                </a:lnTo>
                <a:lnTo>
                  <a:pt x="3320" y="6146"/>
                </a:lnTo>
                <a:lnTo>
                  <a:pt x="3320" y="0"/>
                </a:lnTo>
                <a:lnTo>
                  <a:pt x="21600" y="0"/>
                </a:lnTo>
                <a:close/>
                <a:moveTo>
                  <a:pt x="4919" y="1592"/>
                </a:moveTo>
                <a:lnTo>
                  <a:pt x="4919" y="17691"/>
                </a:lnTo>
                <a:cubicBezTo>
                  <a:pt x="4919" y="18134"/>
                  <a:pt x="4555" y="18477"/>
                  <a:pt x="4109" y="18477"/>
                </a:cubicBezTo>
                <a:cubicBezTo>
                  <a:pt x="3644" y="18477"/>
                  <a:pt x="3320" y="18134"/>
                  <a:pt x="3320" y="17691"/>
                </a:cubicBezTo>
                <a:lnTo>
                  <a:pt x="3320" y="7737"/>
                </a:lnTo>
                <a:lnTo>
                  <a:pt x="1539" y="7737"/>
                </a:lnTo>
                <a:lnTo>
                  <a:pt x="1539" y="19101"/>
                </a:lnTo>
                <a:cubicBezTo>
                  <a:pt x="1539" y="19625"/>
                  <a:pt x="2004" y="20008"/>
                  <a:pt x="2510" y="20008"/>
                </a:cubicBezTo>
                <a:lnTo>
                  <a:pt x="19151" y="20008"/>
                </a:lnTo>
                <a:cubicBezTo>
                  <a:pt x="19657" y="20008"/>
                  <a:pt x="20061" y="19625"/>
                  <a:pt x="20061" y="19101"/>
                </a:cubicBezTo>
                <a:lnTo>
                  <a:pt x="20061" y="1592"/>
                </a:lnTo>
                <a:lnTo>
                  <a:pt x="4919" y="1592"/>
                </a:lnTo>
                <a:close/>
                <a:moveTo>
                  <a:pt x="18462" y="3123"/>
                </a:moveTo>
                <a:lnTo>
                  <a:pt x="6518" y="3123"/>
                </a:lnTo>
                <a:lnTo>
                  <a:pt x="6518" y="9269"/>
                </a:lnTo>
                <a:lnTo>
                  <a:pt x="18462" y="9269"/>
                </a:lnTo>
                <a:lnTo>
                  <a:pt x="18462" y="3123"/>
                </a:lnTo>
                <a:close/>
                <a:moveTo>
                  <a:pt x="11539" y="10981"/>
                </a:moveTo>
                <a:lnTo>
                  <a:pt x="6518" y="10981"/>
                </a:lnTo>
                <a:lnTo>
                  <a:pt x="6518" y="12513"/>
                </a:lnTo>
                <a:lnTo>
                  <a:pt x="11539" y="12513"/>
                </a:lnTo>
                <a:lnTo>
                  <a:pt x="11539" y="10981"/>
                </a:lnTo>
                <a:close/>
                <a:moveTo>
                  <a:pt x="13482" y="12513"/>
                </a:moveTo>
                <a:lnTo>
                  <a:pt x="18462" y="12513"/>
                </a:lnTo>
                <a:lnTo>
                  <a:pt x="18462" y="10981"/>
                </a:lnTo>
                <a:lnTo>
                  <a:pt x="13482" y="10981"/>
                </a:lnTo>
                <a:lnTo>
                  <a:pt x="13482" y="12513"/>
                </a:lnTo>
                <a:close/>
                <a:moveTo>
                  <a:pt x="11539" y="13923"/>
                </a:moveTo>
                <a:lnTo>
                  <a:pt x="6518" y="13923"/>
                </a:lnTo>
                <a:lnTo>
                  <a:pt x="6518" y="15475"/>
                </a:lnTo>
                <a:lnTo>
                  <a:pt x="11539" y="15475"/>
                </a:lnTo>
                <a:lnTo>
                  <a:pt x="11539" y="13923"/>
                </a:lnTo>
                <a:close/>
                <a:moveTo>
                  <a:pt x="13482" y="15475"/>
                </a:moveTo>
                <a:lnTo>
                  <a:pt x="18462" y="15475"/>
                </a:lnTo>
                <a:lnTo>
                  <a:pt x="18462" y="13923"/>
                </a:lnTo>
                <a:lnTo>
                  <a:pt x="13482" y="13923"/>
                </a:lnTo>
                <a:lnTo>
                  <a:pt x="13482" y="15475"/>
                </a:lnTo>
                <a:close/>
                <a:moveTo>
                  <a:pt x="13482" y="18537"/>
                </a:moveTo>
                <a:lnTo>
                  <a:pt x="18462" y="18537"/>
                </a:lnTo>
                <a:lnTo>
                  <a:pt x="18462" y="17006"/>
                </a:lnTo>
                <a:lnTo>
                  <a:pt x="13482" y="17006"/>
                </a:lnTo>
                <a:lnTo>
                  <a:pt x="13482" y="18537"/>
                </a:lnTo>
                <a:close/>
                <a:moveTo>
                  <a:pt x="11539" y="17006"/>
                </a:moveTo>
                <a:lnTo>
                  <a:pt x="6518" y="17006"/>
                </a:lnTo>
                <a:lnTo>
                  <a:pt x="6518" y="18537"/>
                </a:lnTo>
                <a:lnTo>
                  <a:pt x="11539" y="18537"/>
                </a:lnTo>
                <a:lnTo>
                  <a:pt x="11539" y="17006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96" name="Shape 2963"/>
          <p:cNvSpPr/>
          <p:nvPr/>
        </p:nvSpPr>
        <p:spPr>
          <a:xfrm>
            <a:off x="6298067" y="3151061"/>
            <a:ext cx="326048" cy="4102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881" y="14735"/>
                </a:moveTo>
                <a:cubicBezTo>
                  <a:pt x="13821" y="14394"/>
                  <a:pt x="13370" y="14214"/>
                  <a:pt x="13370" y="13819"/>
                </a:cubicBezTo>
                <a:cubicBezTo>
                  <a:pt x="13370" y="13478"/>
                  <a:pt x="13709" y="13190"/>
                  <a:pt x="14543" y="13190"/>
                </a:cubicBezTo>
                <a:cubicBezTo>
                  <a:pt x="15309" y="13190"/>
                  <a:pt x="15918" y="13370"/>
                  <a:pt x="16211" y="13478"/>
                </a:cubicBezTo>
                <a:lnTo>
                  <a:pt x="16617" y="12309"/>
                </a:lnTo>
                <a:cubicBezTo>
                  <a:pt x="16234" y="12184"/>
                  <a:pt x="15783" y="12076"/>
                  <a:pt x="15152" y="12040"/>
                </a:cubicBezTo>
                <a:lnTo>
                  <a:pt x="15152" y="11088"/>
                </a:lnTo>
                <a:lnTo>
                  <a:pt x="13077" y="11088"/>
                </a:lnTo>
                <a:lnTo>
                  <a:pt x="13077" y="12184"/>
                </a:lnTo>
                <a:cubicBezTo>
                  <a:pt x="12018" y="12471"/>
                  <a:pt x="11409" y="13136"/>
                  <a:pt x="11409" y="13963"/>
                </a:cubicBezTo>
                <a:cubicBezTo>
                  <a:pt x="11409" y="14879"/>
                  <a:pt x="12288" y="15490"/>
                  <a:pt x="13663" y="15886"/>
                </a:cubicBezTo>
                <a:cubicBezTo>
                  <a:pt x="14633" y="16155"/>
                  <a:pt x="15016" y="16389"/>
                  <a:pt x="15016" y="16784"/>
                </a:cubicBezTo>
                <a:cubicBezTo>
                  <a:pt x="15016" y="17215"/>
                  <a:pt x="14565" y="17485"/>
                  <a:pt x="13754" y="17485"/>
                </a:cubicBezTo>
                <a:cubicBezTo>
                  <a:pt x="12965" y="17485"/>
                  <a:pt x="12198" y="17269"/>
                  <a:pt x="11702" y="17090"/>
                </a:cubicBezTo>
                <a:lnTo>
                  <a:pt x="11364" y="18294"/>
                </a:lnTo>
                <a:cubicBezTo>
                  <a:pt x="11702" y="18473"/>
                  <a:pt x="12401" y="18599"/>
                  <a:pt x="13100" y="18671"/>
                </a:cubicBezTo>
                <a:lnTo>
                  <a:pt x="13100" y="19587"/>
                </a:lnTo>
                <a:lnTo>
                  <a:pt x="15174" y="19587"/>
                </a:lnTo>
                <a:lnTo>
                  <a:pt x="15174" y="18509"/>
                </a:lnTo>
                <a:cubicBezTo>
                  <a:pt x="16347" y="18168"/>
                  <a:pt x="16910" y="17503"/>
                  <a:pt x="16910" y="16676"/>
                </a:cubicBezTo>
                <a:cubicBezTo>
                  <a:pt x="16978" y="15706"/>
                  <a:pt x="16301" y="15149"/>
                  <a:pt x="14881" y="14735"/>
                </a:cubicBezTo>
                <a:close/>
                <a:moveTo>
                  <a:pt x="18646" y="5984"/>
                </a:moveTo>
                <a:lnTo>
                  <a:pt x="18646" y="7188"/>
                </a:lnTo>
                <a:lnTo>
                  <a:pt x="9605" y="7188"/>
                </a:lnTo>
                <a:lnTo>
                  <a:pt x="9605" y="5984"/>
                </a:lnTo>
                <a:lnTo>
                  <a:pt x="18646" y="5984"/>
                </a:lnTo>
                <a:close/>
                <a:moveTo>
                  <a:pt x="18646" y="3576"/>
                </a:moveTo>
                <a:lnTo>
                  <a:pt x="18646" y="4798"/>
                </a:lnTo>
                <a:lnTo>
                  <a:pt x="9605" y="4798"/>
                </a:lnTo>
                <a:lnTo>
                  <a:pt x="9605" y="3576"/>
                </a:lnTo>
                <a:lnTo>
                  <a:pt x="18646" y="3576"/>
                </a:lnTo>
                <a:close/>
                <a:moveTo>
                  <a:pt x="21600" y="3235"/>
                </a:moveTo>
                <a:cubicBezTo>
                  <a:pt x="21555" y="1509"/>
                  <a:pt x="19841" y="144"/>
                  <a:pt x="17767" y="36"/>
                </a:cubicBezTo>
                <a:cubicBezTo>
                  <a:pt x="17699" y="36"/>
                  <a:pt x="17587" y="18"/>
                  <a:pt x="17519" y="18"/>
                </a:cubicBezTo>
                <a:cubicBezTo>
                  <a:pt x="17519" y="18"/>
                  <a:pt x="4149" y="0"/>
                  <a:pt x="4104" y="0"/>
                </a:cubicBezTo>
                <a:cubicBezTo>
                  <a:pt x="3224" y="0"/>
                  <a:pt x="2435" y="180"/>
                  <a:pt x="1781" y="557"/>
                </a:cubicBezTo>
                <a:cubicBezTo>
                  <a:pt x="1240" y="863"/>
                  <a:pt x="767" y="1276"/>
                  <a:pt x="451" y="1761"/>
                </a:cubicBezTo>
                <a:cubicBezTo>
                  <a:pt x="158" y="2192"/>
                  <a:pt x="0" y="2713"/>
                  <a:pt x="0" y="3253"/>
                </a:cubicBezTo>
                <a:lnTo>
                  <a:pt x="0" y="3342"/>
                </a:lnTo>
                <a:cubicBezTo>
                  <a:pt x="0" y="5139"/>
                  <a:pt x="1804" y="6613"/>
                  <a:pt x="4104" y="6613"/>
                </a:cubicBezTo>
                <a:cubicBezTo>
                  <a:pt x="5073" y="6613"/>
                  <a:pt x="5975" y="6325"/>
                  <a:pt x="6674" y="5858"/>
                </a:cubicBezTo>
                <a:lnTo>
                  <a:pt x="6674" y="21600"/>
                </a:lnTo>
                <a:lnTo>
                  <a:pt x="21600" y="21600"/>
                </a:lnTo>
                <a:lnTo>
                  <a:pt x="21600" y="3235"/>
                </a:lnTo>
                <a:close/>
                <a:moveTo>
                  <a:pt x="20112" y="3576"/>
                </a:moveTo>
                <a:lnTo>
                  <a:pt x="20112" y="20378"/>
                </a:lnTo>
                <a:lnTo>
                  <a:pt x="8162" y="20378"/>
                </a:lnTo>
                <a:cubicBezTo>
                  <a:pt x="8162" y="20378"/>
                  <a:pt x="8185" y="3342"/>
                  <a:pt x="8185" y="3253"/>
                </a:cubicBezTo>
                <a:cubicBezTo>
                  <a:pt x="8185" y="2498"/>
                  <a:pt x="7824" y="1761"/>
                  <a:pt x="7238" y="1204"/>
                </a:cubicBezTo>
                <a:lnTo>
                  <a:pt x="17564" y="1204"/>
                </a:lnTo>
                <a:cubicBezTo>
                  <a:pt x="19007" y="1420"/>
                  <a:pt x="20089" y="2408"/>
                  <a:pt x="20112" y="3576"/>
                </a:cubicBezTo>
                <a:close/>
                <a:moveTo>
                  <a:pt x="18646" y="8374"/>
                </a:moveTo>
                <a:lnTo>
                  <a:pt x="18646" y="9596"/>
                </a:lnTo>
                <a:lnTo>
                  <a:pt x="9605" y="9596"/>
                </a:lnTo>
                <a:lnTo>
                  <a:pt x="9605" y="8374"/>
                </a:lnTo>
                <a:lnTo>
                  <a:pt x="18646" y="8374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pSp>
        <p:nvGrpSpPr>
          <p:cNvPr id="397" name="bcgIcons_BarChartAnalysis">
            <a:extLst>
              <a:ext uri="{FF2B5EF4-FFF2-40B4-BE49-F238E27FC236}">
                <a16:creationId xmlns:a16="http://schemas.microsoft.com/office/drawing/2014/main" id="{32B50B14-3FFD-46C4-A9BB-B1DAD5BF33D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99180" y="4252467"/>
            <a:ext cx="453154" cy="491372"/>
            <a:chOff x="1682" y="0"/>
            <a:chExt cx="4316" cy="4320"/>
          </a:xfrm>
        </p:grpSpPr>
        <p:sp>
          <p:nvSpPr>
            <p:cNvPr id="398" name="AutoShape 13">
              <a:extLst>
                <a:ext uri="{FF2B5EF4-FFF2-40B4-BE49-F238E27FC236}">
                  <a16:creationId xmlns:a16="http://schemas.microsoft.com/office/drawing/2014/main" id="{2EA7B8A2-9428-4CA9-8BF1-97C056515EC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9" name="Freeform 28">
              <a:extLst>
                <a:ext uri="{FF2B5EF4-FFF2-40B4-BE49-F238E27FC236}">
                  <a16:creationId xmlns:a16="http://schemas.microsoft.com/office/drawing/2014/main" id="{E4E9C908-2225-4935-BE9B-CED0E639FE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1" y="855"/>
              <a:ext cx="2739" cy="2209"/>
            </a:xfrm>
            <a:custGeom>
              <a:avLst/>
              <a:gdLst>
                <a:gd name="T0" fmla="*/ 312 w 1462"/>
                <a:gd name="T1" fmla="*/ 609 h 1178"/>
                <a:gd name="T2" fmla="*/ 312 w 1462"/>
                <a:gd name="T3" fmla="*/ 1020 h 1178"/>
                <a:gd name="T4" fmla="*/ 303 w 1462"/>
                <a:gd name="T5" fmla="*/ 1030 h 1178"/>
                <a:gd name="T6" fmla="*/ 9 w 1462"/>
                <a:gd name="T7" fmla="*/ 1030 h 1178"/>
                <a:gd name="T8" fmla="*/ 0 w 1462"/>
                <a:gd name="T9" fmla="*/ 1020 h 1178"/>
                <a:gd name="T10" fmla="*/ 0 w 1462"/>
                <a:gd name="T11" fmla="*/ 609 h 1178"/>
                <a:gd name="T12" fmla="*/ 9 w 1462"/>
                <a:gd name="T13" fmla="*/ 600 h 1178"/>
                <a:gd name="T14" fmla="*/ 303 w 1462"/>
                <a:gd name="T15" fmla="*/ 600 h 1178"/>
                <a:gd name="T16" fmla="*/ 312 w 1462"/>
                <a:gd name="T17" fmla="*/ 609 h 1178"/>
                <a:gd name="T18" fmla="*/ 1453 w 1462"/>
                <a:gd name="T19" fmla="*/ 0 h 1178"/>
                <a:gd name="T20" fmla="*/ 1160 w 1462"/>
                <a:gd name="T21" fmla="*/ 0 h 1178"/>
                <a:gd name="T22" fmla="*/ 1150 w 1462"/>
                <a:gd name="T23" fmla="*/ 10 h 1178"/>
                <a:gd name="T24" fmla="*/ 1150 w 1462"/>
                <a:gd name="T25" fmla="*/ 420 h 1178"/>
                <a:gd name="T26" fmla="*/ 1286 w 1462"/>
                <a:gd name="T27" fmla="*/ 519 h 1178"/>
                <a:gd name="T28" fmla="*/ 1382 w 1462"/>
                <a:gd name="T29" fmla="*/ 1030 h 1178"/>
                <a:gd name="T30" fmla="*/ 1453 w 1462"/>
                <a:gd name="T31" fmla="*/ 1030 h 1178"/>
                <a:gd name="T32" fmla="*/ 1462 w 1462"/>
                <a:gd name="T33" fmla="*/ 1020 h 1178"/>
                <a:gd name="T34" fmla="*/ 1462 w 1462"/>
                <a:gd name="T35" fmla="*/ 10 h 1178"/>
                <a:gd name="T36" fmla="*/ 1453 w 1462"/>
                <a:gd name="T37" fmla="*/ 0 h 1178"/>
                <a:gd name="T38" fmla="*/ 735 w 1462"/>
                <a:gd name="T39" fmla="*/ 593 h 1178"/>
                <a:gd name="T40" fmla="*/ 715 w 1462"/>
                <a:gd name="T41" fmla="*/ 611 h 1178"/>
                <a:gd name="T42" fmla="*/ 706 w 1462"/>
                <a:gd name="T43" fmla="*/ 1077 h 1178"/>
                <a:gd name="T44" fmla="*/ 735 w 1462"/>
                <a:gd name="T45" fmla="*/ 1104 h 1178"/>
                <a:gd name="T46" fmla="*/ 735 w 1462"/>
                <a:gd name="T47" fmla="*/ 593 h 1178"/>
                <a:gd name="T48" fmla="*/ 944 w 1462"/>
                <a:gd name="T49" fmla="*/ 519 h 1178"/>
                <a:gd name="T50" fmla="*/ 838 w 1462"/>
                <a:gd name="T51" fmla="*/ 536 h 1178"/>
                <a:gd name="T52" fmla="*/ 838 w 1462"/>
                <a:gd name="T53" fmla="*/ 1161 h 1178"/>
                <a:gd name="T54" fmla="*/ 944 w 1462"/>
                <a:gd name="T55" fmla="*/ 1178 h 1178"/>
                <a:gd name="T56" fmla="*/ 1144 w 1462"/>
                <a:gd name="T57" fmla="*/ 1110 h 1178"/>
                <a:gd name="T58" fmla="*/ 1146 w 1462"/>
                <a:gd name="T59" fmla="*/ 1109 h 1178"/>
                <a:gd name="T60" fmla="*/ 1172 w 1462"/>
                <a:gd name="T61" fmla="*/ 1086 h 1178"/>
                <a:gd name="T62" fmla="*/ 1200 w 1462"/>
                <a:gd name="T63" fmla="*/ 1056 h 1178"/>
                <a:gd name="T64" fmla="*/ 1181 w 1462"/>
                <a:gd name="T65" fmla="*/ 620 h 1178"/>
                <a:gd name="T66" fmla="*/ 944 w 1462"/>
                <a:gd name="T67" fmla="*/ 519 h 1178"/>
                <a:gd name="T68" fmla="*/ 944 w 1462"/>
                <a:gd name="T69" fmla="*/ 374 h 1178"/>
                <a:gd name="T70" fmla="*/ 1079 w 1462"/>
                <a:gd name="T71" fmla="*/ 393 h 1178"/>
                <a:gd name="T72" fmla="*/ 1079 w 1462"/>
                <a:gd name="T73" fmla="*/ 253 h 1178"/>
                <a:gd name="T74" fmla="*/ 1069 w 1462"/>
                <a:gd name="T75" fmla="*/ 243 h 1178"/>
                <a:gd name="T76" fmla="*/ 776 w 1462"/>
                <a:gd name="T77" fmla="*/ 243 h 1178"/>
                <a:gd name="T78" fmla="*/ 766 w 1462"/>
                <a:gd name="T79" fmla="*/ 253 h 1178"/>
                <a:gd name="T80" fmla="*/ 766 w 1462"/>
                <a:gd name="T81" fmla="*/ 408 h 1178"/>
                <a:gd name="T82" fmla="*/ 944 w 1462"/>
                <a:gd name="T83" fmla="*/ 374 h 1178"/>
                <a:gd name="T84" fmla="*/ 614 w 1462"/>
                <a:gd name="T85" fmla="*/ 506 h 1178"/>
                <a:gd name="T86" fmla="*/ 696 w 1462"/>
                <a:gd name="T87" fmla="*/ 443 h 1178"/>
                <a:gd name="T88" fmla="*/ 696 w 1462"/>
                <a:gd name="T89" fmla="*/ 89 h 1178"/>
                <a:gd name="T90" fmla="*/ 686 w 1462"/>
                <a:gd name="T91" fmla="*/ 73 h 1178"/>
                <a:gd name="T92" fmla="*/ 393 w 1462"/>
                <a:gd name="T93" fmla="*/ 73 h 1178"/>
                <a:gd name="T94" fmla="*/ 383 w 1462"/>
                <a:gd name="T95" fmla="*/ 89 h 1178"/>
                <a:gd name="T96" fmla="*/ 383 w 1462"/>
                <a:gd name="T97" fmla="*/ 1015 h 1178"/>
                <a:gd name="T98" fmla="*/ 393 w 1462"/>
                <a:gd name="T99" fmla="*/ 1030 h 1178"/>
                <a:gd name="T100" fmla="*/ 505 w 1462"/>
                <a:gd name="T101" fmla="*/ 1030 h 1178"/>
                <a:gd name="T102" fmla="*/ 614 w 1462"/>
                <a:gd name="T103" fmla="*/ 506 h 1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62" h="1178">
                  <a:moveTo>
                    <a:pt x="312" y="609"/>
                  </a:moveTo>
                  <a:cubicBezTo>
                    <a:pt x="312" y="1020"/>
                    <a:pt x="312" y="1020"/>
                    <a:pt x="312" y="1020"/>
                  </a:cubicBezTo>
                  <a:cubicBezTo>
                    <a:pt x="312" y="1026"/>
                    <a:pt x="308" y="1030"/>
                    <a:pt x="303" y="1030"/>
                  </a:cubicBezTo>
                  <a:cubicBezTo>
                    <a:pt x="9" y="1030"/>
                    <a:pt x="9" y="1030"/>
                    <a:pt x="9" y="1030"/>
                  </a:cubicBezTo>
                  <a:cubicBezTo>
                    <a:pt x="4" y="1030"/>
                    <a:pt x="0" y="1026"/>
                    <a:pt x="0" y="1020"/>
                  </a:cubicBezTo>
                  <a:cubicBezTo>
                    <a:pt x="0" y="609"/>
                    <a:pt x="0" y="609"/>
                    <a:pt x="0" y="609"/>
                  </a:cubicBezTo>
                  <a:cubicBezTo>
                    <a:pt x="0" y="604"/>
                    <a:pt x="4" y="600"/>
                    <a:pt x="9" y="600"/>
                  </a:cubicBezTo>
                  <a:cubicBezTo>
                    <a:pt x="303" y="600"/>
                    <a:pt x="303" y="600"/>
                    <a:pt x="303" y="600"/>
                  </a:cubicBezTo>
                  <a:cubicBezTo>
                    <a:pt x="308" y="600"/>
                    <a:pt x="312" y="604"/>
                    <a:pt x="312" y="609"/>
                  </a:cubicBezTo>
                  <a:close/>
                  <a:moveTo>
                    <a:pt x="1453" y="0"/>
                  </a:moveTo>
                  <a:cubicBezTo>
                    <a:pt x="1160" y="0"/>
                    <a:pt x="1160" y="0"/>
                    <a:pt x="1160" y="0"/>
                  </a:cubicBezTo>
                  <a:cubicBezTo>
                    <a:pt x="1154" y="0"/>
                    <a:pt x="1150" y="4"/>
                    <a:pt x="1150" y="10"/>
                  </a:cubicBezTo>
                  <a:cubicBezTo>
                    <a:pt x="1150" y="420"/>
                    <a:pt x="1150" y="420"/>
                    <a:pt x="1150" y="420"/>
                  </a:cubicBezTo>
                  <a:cubicBezTo>
                    <a:pt x="1200" y="444"/>
                    <a:pt x="1246" y="478"/>
                    <a:pt x="1286" y="519"/>
                  </a:cubicBezTo>
                  <a:cubicBezTo>
                    <a:pt x="1419" y="658"/>
                    <a:pt x="1453" y="859"/>
                    <a:pt x="1382" y="1030"/>
                  </a:cubicBezTo>
                  <a:cubicBezTo>
                    <a:pt x="1453" y="1030"/>
                    <a:pt x="1453" y="1030"/>
                    <a:pt x="1453" y="1030"/>
                  </a:cubicBezTo>
                  <a:cubicBezTo>
                    <a:pt x="1458" y="1030"/>
                    <a:pt x="1462" y="1026"/>
                    <a:pt x="1462" y="1020"/>
                  </a:cubicBezTo>
                  <a:cubicBezTo>
                    <a:pt x="1462" y="10"/>
                    <a:pt x="1462" y="10"/>
                    <a:pt x="1462" y="10"/>
                  </a:cubicBezTo>
                  <a:cubicBezTo>
                    <a:pt x="1462" y="4"/>
                    <a:pt x="1458" y="0"/>
                    <a:pt x="1453" y="0"/>
                  </a:cubicBezTo>
                  <a:close/>
                  <a:moveTo>
                    <a:pt x="735" y="593"/>
                  </a:moveTo>
                  <a:cubicBezTo>
                    <a:pt x="728" y="599"/>
                    <a:pt x="721" y="605"/>
                    <a:pt x="715" y="611"/>
                  </a:cubicBezTo>
                  <a:cubicBezTo>
                    <a:pt x="584" y="737"/>
                    <a:pt x="580" y="946"/>
                    <a:pt x="706" y="1077"/>
                  </a:cubicBezTo>
                  <a:cubicBezTo>
                    <a:pt x="715" y="1087"/>
                    <a:pt x="725" y="1095"/>
                    <a:pt x="735" y="1104"/>
                  </a:cubicBezTo>
                  <a:lnTo>
                    <a:pt x="735" y="593"/>
                  </a:lnTo>
                  <a:close/>
                  <a:moveTo>
                    <a:pt x="944" y="519"/>
                  </a:moveTo>
                  <a:cubicBezTo>
                    <a:pt x="907" y="519"/>
                    <a:pt x="872" y="525"/>
                    <a:pt x="838" y="536"/>
                  </a:cubicBezTo>
                  <a:cubicBezTo>
                    <a:pt x="838" y="1161"/>
                    <a:pt x="838" y="1161"/>
                    <a:pt x="838" y="1161"/>
                  </a:cubicBezTo>
                  <a:cubicBezTo>
                    <a:pt x="872" y="1172"/>
                    <a:pt x="907" y="1178"/>
                    <a:pt x="944" y="1178"/>
                  </a:cubicBezTo>
                  <a:cubicBezTo>
                    <a:pt x="1016" y="1178"/>
                    <a:pt x="1087" y="1154"/>
                    <a:pt x="1144" y="1110"/>
                  </a:cubicBezTo>
                  <a:cubicBezTo>
                    <a:pt x="1146" y="1109"/>
                    <a:pt x="1146" y="1109"/>
                    <a:pt x="1146" y="1109"/>
                  </a:cubicBezTo>
                  <a:cubicBezTo>
                    <a:pt x="1153" y="1103"/>
                    <a:pt x="1162" y="1096"/>
                    <a:pt x="1172" y="1086"/>
                  </a:cubicBezTo>
                  <a:cubicBezTo>
                    <a:pt x="1182" y="1077"/>
                    <a:pt x="1191" y="1067"/>
                    <a:pt x="1200" y="1056"/>
                  </a:cubicBezTo>
                  <a:cubicBezTo>
                    <a:pt x="1304" y="927"/>
                    <a:pt x="1296" y="740"/>
                    <a:pt x="1181" y="620"/>
                  </a:cubicBezTo>
                  <a:cubicBezTo>
                    <a:pt x="1119" y="555"/>
                    <a:pt x="1034" y="519"/>
                    <a:pt x="944" y="519"/>
                  </a:cubicBezTo>
                  <a:close/>
                  <a:moveTo>
                    <a:pt x="944" y="374"/>
                  </a:moveTo>
                  <a:cubicBezTo>
                    <a:pt x="990" y="374"/>
                    <a:pt x="1036" y="380"/>
                    <a:pt x="1079" y="393"/>
                  </a:cubicBezTo>
                  <a:cubicBezTo>
                    <a:pt x="1079" y="253"/>
                    <a:pt x="1079" y="253"/>
                    <a:pt x="1079" y="253"/>
                  </a:cubicBezTo>
                  <a:cubicBezTo>
                    <a:pt x="1079" y="247"/>
                    <a:pt x="1075" y="243"/>
                    <a:pt x="1069" y="243"/>
                  </a:cubicBezTo>
                  <a:cubicBezTo>
                    <a:pt x="776" y="243"/>
                    <a:pt x="776" y="243"/>
                    <a:pt x="776" y="243"/>
                  </a:cubicBezTo>
                  <a:cubicBezTo>
                    <a:pt x="771" y="243"/>
                    <a:pt x="766" y="247"/>
                    <a:pt x="766" y="253"/>
                  </a:cubicBezTo>
                  <a:cubicBezTo>
                    <a:pt x="766" y="408"/>
                    <a:pt x="766" y="408"/>
                    <a:pt x="766" y="408"/>
                  </a:cubicBezTo>
                  <a:cubicBezTo>
                    <a:pt x="822" y="385"/>
                    <a:pt x="882" y="374"/>
                    <a:pt x="944" y="374"/>
                  </a:cubicBezTo>
                  <a:close/>
                  <a:moveTo>
                    <a:pt x="614" y="506"/>
                  </a:moveTo>
                  <a:cubicBezTo>
                    <a:pt x="639" y="482"/>
                    <a:pt x="667" y="461"/>
                    <a:pt x="696" y="443"/>
                  </a:cubicBezTo>
                  <a:cubicBezTo>
                    <a:pt x="696" y="89"/>
                    <a:pt x="696" y="89"/>
                    <a:pt x="696" y="89"/>
                  </a:cubicBezTo>
                  <a:cubicBezTo>
                    <a:pt x="696" y="80"/>
                    <a:pt x="691" y="73"/>
                    <a:pt x="686" y="73"/>
                  </a:cubicBezTo>
                  <a:cubicBezTo>
                    <a:pt x="393" y="73"/>
                    <a:pt x="393" y="73"/>
                    <a:pt x="393" y="73"/>
                  </a:cubicBezTo>
                  <a:cubicBezTo>
                    <a:pt x="387" y="73"/>
                    <a:pt x="383" y="80"/>
                    <a:pt x="383" y="89"/>
                  </a:cubicBezTo>
                  <a:cubicBezTo>
                    <a:pt x="383" y="1015"/>
                    <a:pt x="383" y="1015"/>
                    <a:pt x="383" y="1015"/>
                  </a:cubicBezTo>
                  <a:cubicBezTo>
                    <a:pt x="383" y="1023"/>
                    <a:pt x="387" y="1030"/>
                    <a:pt x="393" y="1030"/>
                  </a:cubicBezTo>
                  <a:cubicBezTo>
                    <a:pt x="505" y="1030"/>
                    <a:pt x="505" y="1030"/>
                    <a:pt x="505" y="1030"/>
                  </a:cubicBezTo>
                  <a:cubicBezTo>
                    <a:pt x="433" y="855"/>
                    <a:pt x="470" y="645"/>
                    <a:pt x="614" y="50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0" name="Freeform 29">
              <a:extLst>
                <a:ext uri="{FF2B5EF4-FFF2-40B4-BE49-F238E27FC236}">
                  <a16:creationId xmlns:a16="http://schemas.microsoft.com/office/drawing/2014/main" id="{07385039-B208-433D-97C3-719751E80D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63" y="667"/>
              <a:ext cx="3560" cy="3417"/>
            </a:xfrm>
            <a:custGeom>
              <a:avLst/>
              <a:gdLst>
                <a:gd name="T0" fmla="*/ 734 w 1900"/>
                <a:gd name="T1" fmla="*/ 1246 h 1822"/>
                <a:gd name="T2" fmla="*/ 1284 w 1900"/>
                <a:gd name="T3" fmla="*/ 1303 h 1822"/>
                <a:gd name="T4" fmla="*/ 1385 w 1900"/>
                <a:gd name="T5" fmla="*/ 1407 h 1822"/>
                <a:gd name="T6" fmla="*/ 1401 w 1900"/>
                <a:gd name="T7" fmla="*/ 1407 h 1822"/>
                <a:gd name="T8" fmla="*/ 1493 w 1900"/>
                <a:gd name="T9" fmla="*/ 1320 h 1822"/>
                <a:gd name="T10" fmla="*/ 1493 w 1900"/>
                <a:gd name="T11" fmla="*/ 1303 h 1822"/>
                <a:gd name="T12" fmla="*/ 1392 w 1900"/>
                <a:gd name="T13" fmla="*/ 1198 h 1822"/>
                <a:gd name="T14" fmla="*/ 1353 w 1900"/>
                <a:gd name="T15" fmla="*/ 651 h 1822"/>
                <a:gd name="T16" fmla="*/ 746 w 1900"/>
                <a:gd name="T17" fmla="*/ 639 h 1822"/>
                <a:gd name="T18" fmla="*/ 734 w 1900"/>
                <a:gd name="T19" fmla="*/ 1246 h 1822"/>
                <a:gd name="T20" fmla="*/ 1272 w 1900"/>
                <a:gd name="T21" fmla="*/ 1246 h 1822"/>
                <a:gd name="T22" fmla="*/ 773 w 1900"/>
                <a:gd name="T23" fmla="*/ 1209 h 1822"/>
                <a:gd name="T24" fmla="*/ 783 w 1900"/>
                <a:gd name="T25" fmla="*/ 678 h 1822"/>
                <a:gd name="T26" fmla="*/ 1314 w 1900"/>
                <a:gd name="T27" fmla="*/ 688 h 1822"/>
                <a:gd name="T28" fmla="*/ 1336 w 1900"/>
                <a:gd name="T29" fmla="*/ 1185 h 1822"/>
                <a:gd name="T30" fmla="*/ 1304 w 1900"/>
                <a:gd name="T31" fmla="*/ 1219 h 1822"/>
                <a:gd name="T32" fmla="*/ 1272 w 1900"/>
                <a:gd name="T33" fmla="*/ 1246 h 1822"/>
                <a:gd name="T34" fmla="*/ 1765 w 1900"/>
                <a:gd name="T35" fmla="*/ 1822 h 1822"/>
                <a:gd name="T36" fmla="*/ 1727 w 1900"/>
                <a:gd name="T37" fmla="*/ 1807 h 1822"/>
                <a:gd name="T38" fmla="*/ 1417 w 1900"/>
                <a:gd name="T39" fmla="*/ 1484 h 1822"/>
                <a:gd name="T40" fmla="*/ 1418 w 1900"/>
                <a:gd name="T41" fmla="*/ 1453 h 1822"/>
                <a:gd name="T42" fmla="*/ 1541 w 1900"/>
                <a:gd name="T43" fmla="*/ 1334 h 1822"/>
                <a:gd name="T44" fmla="*/ 1557 w 1900"/>
                <a:gd name="T45" fmla="*/ 1327 h 1822"/>
                <a:gd name="T46" fmla="*/ 1572 w 1900"/>
                <a:gd name="T47" fmla="*/ 1334 h 1822"/>
                <a:gd name="T48" fmla="*/ 1882 w 1900"/>
                <a:gd name="T49" fmla="*/ 1659 h 1822"/>
                <a:gd name="T50" fmla="*/ 1891 w 1900"/>
                <a:gd name="T51" fmla="*/ 1721 h 1822"/>
                <a:gd name="T52" fmla="*/ 1851 w 1900"/>
                <a:gd name="T53" fmla="*/ 1781 h 1822"/>
                <a:gd name="T54" fmla="*/ 1789 w 1900"/>
                <a:gd name="T55" fmla="*/ 1819 h 1822"/>
                <a:gd name="T56" fmla="*/ 1765 w 1900"/>
                <a:gd name="T57" fmla="*/ 1822 h 1822"/>
                <a:gd name="T58" fmla="*/ 1464 w 1900"/>
                <a:gd name="T59" fmla="*/ 1469 h 1822"/>
                <a:gd name="T60" fmla="*/ 1759 w 1900"/>
                <a:gd name="T61" fmla="*/ 1777 h 1822"/>
                <a:gd name="T62" fmla="*/ 1777 w 1900"/>
                <a:gd name="T63" fmla="*/ 1777 h 1822"/>
                <a:gd name="T64" fmla="*/ 1820 w 1900"/>
                <a:gd name="T65" fmla="*/ 1749 h 1822"/>
                <a:gd name="T66" fmla="*/ 1849 w 1900"/>
                <a:gd name="T67" fmla="*/ 1707 h 1822"/>
                <a:gd name="T68" fmla="*/ 1851 w 1900"/>
                <a:gd name="T69" fmla="*/ 1689 h 1822"/>
                <a:gd name="T70" fmla="*/ 1556 w 1900"/>
                <a:gd name="T71" fmla="*/ 1381 h 1822"/>
                <a:gd name="T72" fmla="*/ 1464 w 1900"/>
                <a:gd name="T73" fmla="*/ 1469 h 1822"/>
                <a:gd name="T74" fmla="*/ 1640 w 1900"/>
                <a:gd name="T75" fmla="*/ 0 h 1822"/>
                <a:gd name="T76" fmla="*/ 22 w 1900"/>
                <a:gd name="T77" fmla="*/ 0 h 1822"/>
                <a:gd name="T78" fmla="*/ 0 w 1900"/>
                <a:gd name="T79" fmla="*/ 22 h 1822"/>
                <a:gd name="T80" fmla="*/ 0 w 1900"/>
                <a:gd name="T81" fmla="*/ 1208 h 1822"/>
                <a:gd name="T82" fmla="*/ 22 w 1900"/>
                <a:gd name="T83" fmla="*/ 1230 h 1822"/>
                <a:gd name="T84" fmla="*/ 661 w 1900"/>
                <a:gd name="T85" fmla="*/ 1230 h 1822"/>
                <a:gd name="T86" fmla="*/ 633 w 1900"/>
                <a:gd name="T87" fmla="*/ 1186 h 1822"/>
                <a:gd name="T88" fmla="*/ 44 w 1900"/>
                <a:gd name="T89" fmla="*/ 1186 h 1822"/>
                <a:gd name="T90" fmla="*/ 44 w 1900"/>
                <a:gd name="T91" fmla="*/ 44 h 1822"/>
                <a:gd name="T92" fmla="*/ 1618 w 1900"/>
                <a:gd name="T93" fmla="*/ 44 h 1822"/>
                <a:gd name="T94" fmla="*/ 1618 w 1900"/>
                <a:gd name="T95" fmla="*/ 1186 h 1822"/>
                <a:gd name="T96" fmla="*/ 1454 w 1900"/>
                <a:gd name="T97" fmla="*/ 1186 h 1822"/>
                <a:gd name="T98" fmla="*/ 1451 w 1900"/>
                <a:gd name="T99" fmla="*/ 1192 h 1822"/>
                <a:gd name="T100" fmla="*/ 1487 w 1900"/>
                <a:gd name="T101" fmla="*/ 1230 h 1822"/>
                <a:gd name="T102" fmla="*/ 1640 w 1900"/>
                <a:gd name="T103" fmla="*/ 1230 h 1822"/>
                <a:gd name="T104" fmla="*/ 1662 w 1900"/>
                <a:gd name="T105" fmla="*/ 1208 h 1822"/>
                <a:gd name="T106" fmla="*/ 1662 w 1900"/>
                <a:gd name="T107" fmla="*/ 22 h 1822"/>
                <a:gd name="T108" fmla="*/ 1640 w 1900"/>
                <a:gd name="T109" fmla="*/ 0 h 18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900" h="1822">
                  <a:moveTo>
                    <a:pt x="734" y="1246"/>
                  </a:moveTo>
                  <a:cubicBezTo>
                    <a:pt x="881" y="1399"/>
                    <a:pt x="1115" y="1418"/>
                    <a:pt x="1284" y="1303"/>
                  </a:cubicBezTo>
                  <a:cubicBezTo>
                    <a:pt x="1284" y="1303"/>
                    <a:pt x="1284" y="1303"/>
                    <a:pt x="1385" y="1407"/>
                  </a:cubicBezTo>
                  <a:cubicBezTo>
                    <a:pt x="1389" y="1412"/>
                    <a:pt x="1397" y="1412"/>
                    <a:pt x="1401" y="1407"/>
                  </a:cubicBezTo>
                  <a:cubicBezTo>
                    <a:pt x="1401" y="1407"/>
                    <a:pt x="1401" y="1407"/>
                    <a:pt x="1493" y="1320"/>
                  </a:cubicBezTo>
                  <a:cubicBezTo>
                    <a:pt x="1498" y="1315"/>
                    <a:pt x="1498" y="1308"/>
                    <a:pt x="1493" y="1303"/>
                  </a:cubicBezTo>
                  <a:cubicBezTo>
                    <a:pt x="1493" y="1303"/>
                    <a:pt x="1493" y="1303"/>
                    <a:pt x="1392" y="1198"/>
                  </a:cubicBezTo>
                  <a:cubicBezTo>
                    <a:pt x="1510" y="1033"/>
                    <a:pt x="1498" y="802"/>
                    <a:pt x="1353" y="651"/>
                  </a:cubicBezTo>
                  <a:cubicBezTo>
                    <a:pt x="1188" y="480"/>
                    <a:pt x="917" y="475"/>
                    <a:pt x="746" y="639"/>
                  </a:cubicBezTo>
                  <a:cubicBezTo>
                    <a:pt x="576" y="803"/>
                    <a:pt x="571" y="1075"/>
                    <a:pt x="734" y="1246"/>
                  </a:cubicBezTo>
                  <a:close/>
                  <a:moveTo>
                    <a:pt x="1272" y="1246"/>
                  </a:moveTo>
                  <a:cubicBezTo>
                    <a:pt x="1123" y="1361"/>
                    <a:pt x="907" y="1348"/>
                    <a:pt x="773" y="1209"/>
                  </a:cubicBezTo>
                  <a:cubicBezTo>
                    <a:pt x="630" y="1060"/>
                    <a:pt x="634" y="821"/>
                    <a:pt x="783" y="678"/>
                  </a:cubicBezTo>
                  <a:cubicBezTo>
                    <a:pt x="932" y="534"/>
                    <a:pt x="1171" y="539"/>
                    <a:pt x="1314" y="688"/>
                  </a:cubicBezTo>
                  <a:cubicBezTo>
                    <a:pt x="1447" y="826"/>
                    <a:pt x="1453" y="1040"/>
                    <a:pt x="1336" y="1185"/>
                  </a:cubicBezTo>
                  <a:cubicBezTo>
                    <a:pt x="1326" y="1197"/>
                    <a:pt x="1315" y="1208"/>
                    <a:pt x="1304" y="1219"/>
                  </a:cubicBezTo>
                  <a:cubicBezTo>
                    <a:pt x="1294" y="1229"/>
                    <a:pt x="1284" y="1238"/>
                    <a:pt x="1272" y="1246"/>
                  </a:cubicBezTo>
                  <a:close/>
                  <a:moveTo>
                    <a:pt x="1765" y="1822"/>
                  </a:moveTo>
                  <a:cubicBezTo>
                    <a:pt x="1750" y="1822"/>
                    <a:pt x="1736" y="1817"/>
                    <a:pt x="1727" y="1807"/>
                  </a:cubicBezTo>
                  <a:cubicBezTo>
                    <a:pt x="1417" y="1484"/>
                    <a:pt x="1417" y="1484"/>
                    <a:pt x="1417" y="1484"/>
                  </a:cubicBezTo>
                  <a:cubicBezTo>
                    <a:pt x="1409" y="1475"/>
                    <a:pt x="1409" y="1461"/>
                    <a:pt x="1418" y="1453"/>
                  </a:cubicBezTo>
                  <a:cubicBezTo>
                    <a:pt x="1541" y="1334"/>
                    <a:pt x="1541" y="1334"/>
                    <a:pt x="1541" y="1334"/>
                  </a:cubicBezTo>
                  <a:cubicBezTo>
                    <a:pt x="1545" y="1330"/>
                    <a:pt x="1551" y="1327"/>
                    <a:pt x="1557" y="1327"/>
                  </a:cubicBezTo>
                  <a:cubicBezTo>
                    <a:pt x="1563" y="1328"/>
                    <a:pt x="1568" y="1330"/>
                    <a:pt x="1572" y="1334"/>
                  </a:cubicBezTo>
                  <a:cubicBezTo>
                    <a:pt x="1882" y="1659"/>
                    <a:pt x="1882" y="1659"/>
                    <a:pt x="1882" y="1659"/>
                  </a:cubicBezTo>
                  <a:cubicBezTo>
                    <a:pt x="1896" y="1673"/>
                    <a:pt x="1900" y="1696"/>
                    <a:pt x="1891" y="1721"/>
                  </a:cubicBezTo>
                  <a:cubicBezTo>
                    <a:pt x="1884" y="1742"/>
                    <a:pt x="1870" y="1763"/>
                    <a:pt x="1851" y="1781"/>
                  </a:cubicBezTo>
                  <a:cubicBezTo>
                    <a:pt x="1832" y="1799"/>
                    <a:pt x="1810" y="1813"/>
                    <a:pt x="1789" y="1819"/>
                  </a:cubicBezTo>
                  <a:cubicBezTo>
                    <a:pt x="1781" y="1821"/>
                    <a:pt x="1773" y="1822"/>
                    <a:pt x="1765" y="1822"/>
                  </a:cubicBezTo>
                  <a:close/>
                  <a:moveTo>
                    <a:pt x="1464" y="1469"/>
                  </a:moveTo>
                  <a:cubicBezTo>
                    <a:pt x="1759" y="1777"/>
                    <a:pt x="1759" y="1777"/>
                    <a:pt x="1759" y="1777"/>
                  </a:cubicBezTo>
                  <a:cubicBezTo>
                    <a:pt x="1760" y="1778"/>
                    <a:pt x="1766" y="1780"/>
                    <a:pt x="1777" y="1777"/>
                  </a:cubicBezTo>
                  <a:cubicBezTo>
                    <a:pt x="1791" y="1773"/>
                    <a:pt x="1806" y="1763"/>
                    <a:pt x="1820" y="1749"/>
                  </a:cubicBezTo>
                  <a:cubicBezTo>
                    <a:pt x="1834" y="1736"/>
                    <a:pt x="1845" y="1721"/>
                    <a:pt x="1849" y="1707"/>
                  </a:cubicBezTo>
                  <a:cubicBezTo>
                    <a:pt x="1853" y="1696"/>
                    <a:pt x="1852" y="1690"/>
                    <a:pt x="1851" y="1689"/>
                  </a:cubicBezTo>
                  <a:cubicBezTo>
                    <a:pt x="1556" y="1381"/>
                    <a:pt x="1556" y="1381"/>
                    <a:pt x="1556" y="1381"/>
                  </a:cubicBezTo>
                  <a:lnTo>
                    <a:pt x="1464" y="1469"/>
                  </a:lnTo>
                  <a:close/>
                  <a:moveTo>
                    <a:pt x="1640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1208"/>
                    <a:pt x="0" y="1208"/>
                    <a:pt x="0" y="1208"/>
                  </a:cubicBezTo>
                  <a:cubicBezTo>
                    <a:pt x="0" y="1220"/>
                    <a:pt x="10" y="1230"/>
                    <a:pt x="22" y="1230"/>
                  </a:cubicBezTo>
                  <a:cubicBezTo>
                    <a:pt x="661" y="1230"/>
                    <a:pt x="661" y="1230"/>
                    <a:pt x="661" y="1230"/>
                  </a:cubicBezTo>
                  <a:cubicBezTo>
                    <a:pt x="651" y="1216"/>
                    <a:pt x="641" y="1201"/>
                    <a:pt x="633" y="1186"/>
                  </a:cubicBezTo>
                  <a:cubicBezTo>
                    <a:pt x="44" y="1186"/>
                    <a:pt x="44" y="1186"/>
                    <a:pt x="44" y="1186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1618" y="44"/>
                    <a:pt x="1618" y="44"/>
                    <a:pt x="1618" y="44"/>
                  </a:cubicBezTo>
                  <a:cubicBezTo>
                    <a:pt x="1618" y="1186"/>
                    <a:pt x="1618" y="1186"/>
                    <a:pt x="1618" y="1186"/>
                  </a:cubicBezTo>
                  <a:cubicBezTo>
                    <a:pt x="1454" y="1186"/>
                    <a:pt x="1454" y="1186"/>
                    <a:pt x="1454" y="1186"/>
                  </a:cubicBezTo>
                  <a:cubicBezTo>
                    <a:pt x="1453" y="1188"/>
                    <a:pt x="1452" y="1190"/>
                    <a:pt x="1451" y="1192"/>
                  </a:cubicBezTo>
                  <a:cubicBezTo>
                    <a:pt x="1487" y="1230"/>
                    <a:pt x="1487" y="1230"/>
                    <a:pt x="1487" y="1230"/>
                  </a:cubicBezTo>
                  <a:cubicBezTo>
                    <a:pt x="1640" y="1230"/>
                    <a:pt x="1640" y="1230"/>
                    <a:pt x="1640" y="1230"/>
                  </a:cubicBezTo>
                  <a:cubicBezTo>
                    <a:pt x="1652" y="1230"/>
                    <a:pt x="1662" y="1220"/>
                    <a:pt x="1662" y="1208"/>
                  </a:cubicBezTo>
                  <a:cubicBezTo>
                    <a:pt x="1662" y="22"/>
                    <a:pt x="1662" y="22"/>
                    <a:pt x="1662" y="22"/>
                  </a:cubicBezTo>
                  <a:cubicBezTo>
                    <a:pt x="1662" y="10"/>
                    <a:pt x="1652" y="0"/>
                    <a:pt x="164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401" name="Shape 2872"/>
          <p:cNvSpPr/>
          <p:nvPr/>
        </p:nvSpPr>
        <p:spPr>
          <a:xfrm>
            <a:off x="4579270" y="4909175"/>
            <a:ext cx="69757" cy="6975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744"/>
                  <a:pt x="21168" y="14472"/>
                  <a:pt x="20088" y="16200"/>
                </a:cubicBezTo>
                <a:cubicBezTo>
                  <a:pt x="19116" y="17928"/>
                  <a:pt x="17928" y="19008"/>
                  <a:pt x="16200" y="20088"/>
                </a:cubicBezTo>
                <a:cubicBezTo>
                  <a:pt x="14472" y="21060"/>
                  <a:pt x="12744" y="21600"/>
                  <a:pt x="10800" y="21600"/>
                </a:cubicBezTo>
                <a:cubicBezTo>
                  <a:pt x="8856" y="21600"/>
                  <a:pt x="7128" y="21060"/>
                  <a:pt x="5400" y="20088"/>
                </a:cubicBezTo>
                <a:cubicBezTo>
                  <a:pt x="3672" y="19008"/>
                  <a:pt x="2484" y="17928"/>
                  <a:pt x="1404" y="16200"/>
                </a:cubicBezTo>
                <a:cubicBezTo>
                  <a:pt x="432" y="14472"/>
                  <a:pt x="0" y="12744"/>
                  <a:pt x="0" y="10800"/>
                </a:cubicBezTo>
                <a:cubicBezTo>
                  <a:pt x="0" y="8856"/>
                  <a:pt x="432" y="7128"/>
                  <a:pt x="1404" y="5400"/>
                </a:cubicBezTo>
                <a:cubicBezTo>
                  <a:pt x="2484" y="3672"/>
                  <a:pt x="3672" y="2376"/>
                  <a:pt x="5400" y="1404"/>
                </a:cubicBezTo>
                <a:cubicBezTo>
                  <a:pt x="7128" y="324"/>
                  <a:pt x="8856" y="0"/>
                  <a:pt x="10800" y="0"/>
                </a:cubicBezTo>
                <a:cubicBezTo>
                  <a:pt x="12744" y="0"/>
                  <a:pt x="14472" y="324"/>
                  <a:pt x="16200" y="1404"/>
                </a:cubicBezTo>
                <a:cubicBezTo>
                  <a:pt x="17928" y="2376"/>
                  <a:pt x="19116" y="3672"/>
                  <a:pt x="20088" y="5400"/>
                </a:cubicBezTo>
                <a:cubicBezTo>
                  <a:pt x="21168" y="7128"/>
                  <a:pt x="21600" y="8856"/>
                  <a:pt x="21600" y="1080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2" name="Shape 2873"/>
          <p:cNvSpPr/>
          <p:nvPr/>
        </p:nvSpPr>
        <p:spPr>
          <a:xfrm>
            <a:off x="4528770" y="4986902"/>
            <a:ext cx="172076" cy="3379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36" h="21600" extrusionOk="0">
                <a:moveTo>
                  <a:pt x="5236" y="0"/>
                </a:moveTo>
                <a:lnTo>
                  <a:pt x="16036" y="0"/>
                </a:lnTo>
                <a:cubicBezTo>
                  <a:pt x="19060" y="0"/>
                  <a:pt x="21436" y="1236"/>
                  <a:pt x="21436" y="2758"/>
                </a:cubicBezTo>
                <a:lnTo>
                  <a:pt x="21436" y="9509"/>
                </a:lnTo>
                <a:cubicBezTo>
                  <a:pt x="21436" y="10039"/>
                  <a:pt x="20615" y="10480"/>
                  <a:pt x="19492" y="10480"/>
                </a:cubicBezTo>
                <a:cubicBezTo>
                  <a:pt x="18412" y="10480"/>
                  <a:pt x="17591" y="10061"/>
                  <a:pt x="17591" y="9509"/>
                </a:cubicBezTo>
                <a:lnTo>
                  <a:pt x="17591" y="3332"/>
                </a:lnTo>
                <a:cubicBezTo>
                  <a:pt x="17591" y="3199"/>
                  <a:pt x="17375" y="3067"/>
                  <a:pt x="17073" y="3067"/>
                </a:cubicBezTo>
                <a:cubicBezTo>
                  <a:pt x="16814" y="3067"/>
                  <a:pt x="16554" y="3155"/>
                  <a:pt x="16554" y="3332"/>
                </a:cubicBezTo>
                <a:lnTo>
                  <a:pt x="16554" y="20034"/>
                </a:lnTo>
                <a:cubicBezTo>
                  <a:pt x="16554" y="20872"/>
                  <a:pt x="15345" y="21556"/>
                  <a:pt x="13876" y="21556"/>
                </a:cubicBezTo>
                <a:cubicBezTo>
                  <a:pt x="12450" y="21556"/>
                  <a:pt x="11241" y="20894"/>
                  <a:pt x="11241" y="20034"/>
                </a:cubicBezTo>
                <a:lnTo>
                  <a:pt x="11241" y="10546"/>
                </a:lnTo>
                <a:cubicBezTo>
                  <a:pt x="11241" y="10414"/>
                  <a:pt x="11025" y="10282"/>
                  <a:pt x="10722" y="10282"/>
                </a:cubicBezTo>
                <a:cubicBezTo>
                  <a:pt x="10463" y="10282"/>
                  <a:pt x="10204" y="10370"/>
                  <a:pt x="10204" y="10546"/>
                </a:cubicBezTo>
                <a:lnTo>
                  <a:pt x="10204" y="20100"/>
                </a:lnTo>
                <a:cubicBezTo>
                  <a:pt x="10204" y="20916"/>
                  <a:pt x="9038" y="21600"/>
                  <a:pt x="7569" y="21600"/>
                </a:cubicBezTo>
                <a:cubicBezTo>
                  <a:pt x="6143" y="21600"/>
                  <a:pt x="4890" y="20938"/>
                  <a:pt x="4890" y="20100"/>
                </a:cubicBezTo>
                <a:lnTo>
                  <a:pt x="4890" y="3354"/>
                </a:lnTo>
                <a:cubicBezTo>
                  <a:pt x="4890" y="3221"/>
                  <a:pt x="4718" y="3089"/>
                  <a:pt x="4372" y="3089"/>
                </a:cubicBezTo>
                <a:cubicBezTo>
                  <a:pt x="4113" y="3089"/>
                  <a:pt x="3854" y="3199"/>
                  <a:pt x="3854" y="3354"/>
                </a:cubicBezTo>
                <a:lnTo>
                  <a:pt x="3854" y="9553"/>
                </a:lnTo>
                <a:cubicBezTo>
                  <a:pt x="3854" y="10083"/>
                  <a:pt x="3033" y="10546"/>
                  <a:pt x="1953" y="10546"/>
                </a:cubicBezTo>
                <a:cubicBezTo>
                  <a:pt x="873" y="10546"/>
                  <a:pt x="9" y="10105"/>
                  <a:pt x="9" y="9553"/>
                </a:cubicBezTo>
                <a:lnTo>
                  <a:pt x="9" y="2780"/>
                </a:lnTo>
                <a:cubicBezTo>
                  <a:pt x="-164" y="1236"/>
                  <a:pt x="2255" y="0"/>
                  <a:pt x="5236" y="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3" name="Shape 2874"/>
          <p:cNvSpPr/>
          <p:nvPr/>
        </p:nvSpPr>
        <p:spPr>
          <a:xfrm>
            <a:off x="4387241" y="4909175"/>
            <a:ext cx="69758" cy="6975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744"/>
                  <a:pt x="21168" y="14472"/>
                  <a:pt x="20088" y="16200"/>
                </a:cubicBezTo>
                <a:cubicBezTo>
                  <a:pt x="19116" y="17928"/>
                  <a:pt x="17928" y="19008"/>
                  <a:pt x="16200" y="20088"/>
                </a:cubicBezTo>
                <a:cubicBezTo>
                  <a:pt x="14472" y="21060"/>
                  <a:pt x="12744" y="21600"/>
                  <a:pt x="10800" y="21600"/>
                </a:cubicBezTo>
                <a:cubicBezTo>
                  <a:pt x="8856" y="21600"/>
                  <a:pt x="7128" y="21060"/>
                  <a:pt x="5400" y="20088"/>
                </a:cubicBezTo>
                <a:cubicBezTo>
                  <a:pt x="3672" y="19008"/>
                  <a:pt x="2592" y="17928"/>
                  <a:pt x="1512" y="16200"/>
                </a:cubicBezTo>
                <a:cubicBezTo>
                  <a:pt x="540" y="14472"/>
                  <a:pt x="0" y="12744"/>
                  <a:pt x="0" y="10800"/>
                </a:cubicBezTo>
                <a:cubicBezTo>
                  <a:pt x="0" y="8856"/>
                  <a:pt x="540" y="7128"/>
                  <a:pt x="1512" y="5400"/>
                </a:cubicBezTo>
                <a:cubicBezTo>
                  <a:pt x="2592" y="3672"/>
                  <a:pt x="3672" y="2376"/>
                  <a:pt x="5400" y="1404"/>
                </a:cubicBezTo>
                <a:cubicBezTo>
                  <a:pt x="7128" y="324"/>
                  <a:pt x="8856" y="0"/>
                  <a:pt x="10800" y="0"/>
                </a:cubicBezTo>
                <a:cubicBezTo>
                  <a:pt x="12744" y="0"/>
                  <a:pt x="14472" y="324"/>
                  <a:pt x="16200" y="1404"/>
                </a:cubicBezTo>
                <a:cubicBezTo>
                  <a:pt x="17928" y="2376"/>
                  <a:pt x="19116" y="3672"/>
                  <a:pt x="20088" y="5400"/>
                </a:cubicBezTo>
                <a:cubicBezTo>
                  <a:pt x="21168" y="7128"/>
                  <a:pt x="21600" y="8856"/>
                  <a:pt x="21600" y="1080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4" name="Shape 2875"/>
          <p:cNvSpPr/>
          <p:nvPr/>
        </p:nvSpPr>
        <p:spPr>
          <a:xfrm>
            <a:off x="4337051" y="4986902"/>
            <a:ext cx="171767" cy="3379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397" h="21600" extrusionOk="0">
                <a:moveTo>
                  <a:pt x="5197" y="0"/>
                </a:moveTo>
                <a:lnTo>
                  <a:pt x="15997" y="0"/>
                </a:lnTo>
                <a:cubicBezTo>
                  <a:pt x="19021" y="0"/>
                  <a:pt x="21397" y="1236"/>
                  <a:pt x="21397" y="2758"/>
                </a:cubicBezTo>
                <a:lnTo>
                  <a:pt x="21397" y="9509"/>
                </a:lnTo>
                <a:cubicBezTo>
                  <a:pt x="21397" y="10039"/>
                  <a:pt x="20619" y="10480"/>
                  <a:pt x="19496" y="10480"/>
                </a:cubicBezTo>
                <a:cubicBezTo>
                  <a:pt x="18416" y="10480"/>
                  <a:pt x="17552" y="10061"/>
                  <a:pt x="17552" y="9509"/>
                </a:cubicBezTo>
                <a:lnTo>
                  <a:pt x="17552" y="3332"/>
                </a:lnTo>
                <a:cubicBezTo>
                  <a:pt x="17552" y="3199"/>
                  <a:pt x="17336" y="3067"/>
                  <a:pt x="17034" y="3067"/>
                </a:cubicBezTo>
                <a:cubicBezTo>
                  <a:pt x="16775" y="3067"/>
                  <a:pt x="16515" y="3155"/>
                  <a:pt x="16515" y="3332"/>
                </a:cubicBezTo>
                <a:lnTo>
                  <a:pt x="16515" y="20034"/>
                </a:lnTo>
                <a:cubicBezTo>
                  <a:pt x="16515" y="20872"/>
                  <a:pt x="15349" y="21556"/>
                  <a:pt x="13880" y="21556"/>
                </a:cubicBezTo>
                <a:cubicBezTo>
                  <a:pt x="12455" y="21556"/>
                  <a:pt x="11202" y="20894"/>
                  <a:pt x="11202" y="20034"/>
                </a:cubicBezTo>
                <a:lnTo>
                  <a:pt x="11202" y="10546"/>
                </a:lnTo>
                <a:cubicBezTo>
                  <a:pt x="11202" y="10414"/>
                  <a:pt x="11029" y="10282"/>
                  <a:pt x="10683" y="10282"/>
                </a:cubicBezTo>
                <a:cubicBezTo>
                  <a:pt x="10424" y="10282"/>
                  <a:pt x="10165" y="10370"/>
                  <a:pt x="10165" y="10546"/>
                </a:cubicBezTo>
                <a:lnTo>
                  <a:pt x="10165" y="20100"/>
                </a:lnTo>
                <a:cubicBezTo>
                  <a:pt x="10165" y="20916"/>
                  <a:pt x="8999" y="21600"/>
                  <a:pt x="7530" y="21600"/>
                </a:cubicBezTo>
                <a:cubicBezTo>
                  <a:pt x="6061" y="21600"/>
                  <a:pt x="4895" y="20938"/>
                  <a:pt x="4895" y="20100"/>
                </a:cubicBezTo>
                <a:lnTo>
                  <a:pt x="4895" y="3354"/>
                </a:lnTo>
                <a:cubicBezTo>
                  <a:pt x="4895" y="3221"/>
                  <a:pt x="4679" y="3089"/>
                  <a:pt x="4376" y="3089"/>
                </a:cubicBezTo>
                <a:cubicBezTo>
                  <a:pt x="4117" y="3089"/>
                  <a:pt x="3858" y="3199"/>
                  <a:pt x="3858" y="3354"/>
                </a:cubicBezTo>
                <a:lnTo>
                  <a:pt x="3858" y="9553"/>
                </a:lnTo>
                <a:cubicBezTo>
                  <a:pt x="3858" y="10083"/>
                  <a:pt x="2994" y="10546"/>
                  <a:pt x="1914" y="10546"/>
                </a:cubicBezTo>
                <a:cubicBezTo>
                  <a:pt x="834" y="10546"/>
                  <a:pt x="13" y="10105"/>
                  <a:pt x="13" y="9553"/>
                </a:cubicBezTo>
                <a:lnTo>
                  <a:pt x="13" y="2780"/>
                </a:lnTo>
                <a:cubicBezTo>
                  <a:pt x="-203" y="1236"/>
                  <a:pt x="2216" y="0"/>
                  <a:pt x="5197" y="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5" name="Shape 2876"/>
          <p:cNvSpPr/>
          <p:nvPr/>
        </p:nvSpPr>
        <p:spPr>
          <a:xfrm>
            <a:off x="4771298" y="4909175"/>
            <a:ext cx="68239" cy="6975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744"/>
                  <a:pt x="21166" y="14472"/>
                  <a:pt x="20189" y="16200"/>
                </a:cubicBezTo>
                <a:cubicBezTo>
                  <a:pt x="19212" y="17928"/>
                  <a:pt x="17910" y="19008"/>
                  <a:pt x="16173" y="20088"/>
                </a:cubicBezTo>
                <a:cubicBezTo>
                  <a:pt x="14545" y="21060"/>
                  <a:pt x="12917" y="21600"/>
                  <a:pt x="10854" y="21600"/>
                </a:cubicBezTo>
                <a:cubicBezTo>
                  <a:pt x="8901" y="21600"/>
                  <a:pt x="7164" y="21060"/>
                  <a:pt x="5427" y="20088"/>
                </a:cubicBezTo>
                <a:cubicBezTo>
                  <a:pt x="3690" y="19008"/>
                  <a:pt x="2388" y="17928"/>
                  <a:pt x="1411" y="16200"/>
                </a:cubicBezTo>
                <a:cubicBezTo>
                  <a:pt x="434" y="14472"/>
                  <a:pt x="0" y="12744"/>
                  <a:pt x="0" y="10800"/>
                </a:cubicBezTo>
                <a:cubicBezTo>
                  <a:pt x="0" y="8856"/>
                  <a:pt x="434" y="7128"/>
                  <a:pt x="1411" y="5400"/>
                </a:cubicBezTo>
                <a:cubicBezTo>
                  <a:pt x="2388" y="3672"/>
                  <a:pt x="3690" y="2376"/>
                  <a:pt x="5427" y="1404"/>
                </a:cubicBezTo>
                <a:cubicBezTo>
                  <a:pt x="7164" y="324"/>
                  <a:pt x="8792" y="0"/>
                  <a:pt x="10854" y="0"/>
                </a:cubicBezTo>
                <a:cubicBezTo>
                  <a:pt x="12808" y="0"/>
                  <a:pt x="14545" y="324"/>
                  <a:pt x="16173" y="1404"/>
                </a:cubicBezTo>
                <a:cubicBezTo>
                  <a:pt x="17910" y="2376"/>
                  <a:pt x="19212" y="3672"/>
                  <a:pt x="20189" y="5400"/>
                </a:cubicBezTo>
                <a:cubicBezTo>
                  <a:pt x="21166" y="7128"/>
                  <a:pt x="21600" y="8856"/>
                  <a:pt x="21600" y="1080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6" name="Shape 2877"/>
          <p:cNvSpPr/>
          <p:nvPr/>
        </p:nvSpPr>
        <p:spPr>
          <a:xfrm>
            <a:off x="4721998" y="4986902"/>
            <a:ext cx="170878" cy="3379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75" h="21600" extrusionOk="0">
                <a:moveTo>
                  <a:pt x="5199" y="0"/>
                </a:moveTo>
                <a:lnTo>
                  <a:pt x="16064" y="0"/>
                </a:lnTo>
                <a:cubicBezTo>
                  <a:pt x="19051" y="0"/>
                  <a:pt x="21475" y="1236"/>
                  <a:pt x="21475" y="2758"/>
                </a:cubicBezTo>
                <a:lnTo>
                  <a:pt x="21475" y="9509"/>
                </a:lnTo>
                <a:cubicBezTo>
                  <a:pt x="21475" y="10039"/>
                  <a:pt x="20609" y="10480"/>
                  <a:pt x="19527" y="10480"/>
                </a:cubicBezTo>
                <a:cubicBezTo>
                  <a:pt x="18445" y="10480"/>
                  <a:pt x="17622" y="10061"/>
                  <a:pt x="17622" y="9509"/>
                </a:cubicBezTo>
                <a:lnTo>
                  <a:pt x="17622" y="3332"/>
                </a:lnTo>
                <a:cubicBezTo>
                  <a:pt x="17622" y="3199"/>
                  <a:pt x="17406" y="3067"/>
                  <a:pt x="17103" y="3067"/>
                </a:cubicBezTo>
                <a:cubicBezTo>
                  <a:pt x="16843" y="3067"/>
                  <a:pt x="16584" y="3155"/>
                  <a:pt x="16584" y="3332"/>
                </a:cubicBezTo>
                <a:lnTo>
                  <a:pt x="16584" y="20034"/>
                </a:lnTo>
                <a:cubicBezTo>
                  <a:pt x="16584" y="20872"/>
                  <a:pt x="15372" y="21556"/>
                  <a:pt x="13900" y="21556"/>
                </a:cubicBezTo>
                <a:cubicBezTo>
                  <a:pt x="12471" y="21556"/>
                  <a:pt x="11259" y="20894"/>
                  <a:pt x="11259" y="20034"/>
                </a:cubicBezTo>
                <a:lnTo>
                  <a:pt x="11259" y="10546"/>
                </a:lnTo>
                <a:cubicBezTo>
                  <a:pt x="11259" y="10414"/>
                  <a:pt x="11043" y="10282"/>
                  <a:pt x="10740" y="10282"/>
                </a:cubicBezTo>
                <a:cubicBezTo>
                  <a:pt x="10480" y="10282"/>
                  <a:pt x="10220" y="10370"/>
                  <a:pt x="10220" y="10546"/>
                </a:cubicBezTo>
                <a:lnTo>
                  <a:pt x="10220" y="20100"/>
                </a:lnTo>
                <a:cubicBezTo>
                  <a:pt x="10220" y="20916"/>
                  <a:pt x="9052" y="21600"/>
                  <a:pt x="7580" y="21600"/>
                </a:cubicBezTo>
                <a:cubicBezTo>
                  <a:pt x="6152" y="21600"/>
                  <a:pt x="4896" y="20938"/>
                  <a:pt x="4896" y="20100"/>
                </a:cubicBezTo>
                <a:lnTo>
                  <a:pt x="4896" y="3354"/>
                </a:lnTo>
                <a:cubicBezTo>
                  <a:pt x="4896" y="3221"/>
                  <a:pt x="4680" y="3089"/>
                  <a:pt x="4377" y="3089"/>
                </a:cubicBezTo>
                <a:cubicBezTo>
                  <a:pt x="4117" y="3089"/>
                  <a:pt x="3857" y="3199"/>
                  <a:pt x="3857" y="3354"/>
                </a:cubicBezTo>
                <a:lnTo>
                  <a:pt x="3857" y="9553"/>
                </a:lnTo>
                <a:cubicBezTo>
                  <a:pt x="3857" y="10083"/>
                  <a:pt x="3078" y="10546"/>
                  <a:pt x="1953" y="10546"/>
                </a:cubicBezTo>
                <a:cubicBezTo>
                  <a:pt x="871" y="10546"/>
                  <a:pt x="5" y="10105"/>
                  <a:pt x="5" y="9553"/>
                </a:cubicBezTo>
                <a:lnTo>
                  <a:pt x="5" y="2780"/>
                </a:lnTo>
                <a:cubicBezTo>
                  <a:pt x="-125" y="1236"/>
                  <a:pt x="2299" y="0"/>
                  <a:pt x="5199" y="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7" name="Shape 2959"/>
          <p:cNvSpPr/>
          <p:nvPr/>
        </p:nvSpPr>
        <p:spPr>
          <a:xfrm>
            <a:off x="2498223" y="3181017"/>
            <a:ext cx="345600" cy="41027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8205"/>
                </a:moveTo>
                <a:cubicBezTo>
                  <a:pt x="21600" y="10827"/>
                  <a:pt x="20149" y="13161"/>
                  <a:pt x="17886" y="14651"/>
                </a:cubicBezTo>
                <a:lnTo>
                  <a:pt x="17886" y="21600"/>
                </a:lnTo>
                <a:lnTo>
                  <a:pt x="7492" y="21600"/>
                </a:lnTo>
                <a:lnTo>
                  <a:pt x="7492" y="19266"/>
                </a:lnTo>
                <a:lnTo>
                  <a:pt x="5955" y="19266"/>
                </a:lnTo>
                <a:cubicBezTo>
                  <a:pt x="3821" y="19266"/>
                  <a:pt x="2092" y="17811"/>
                  <a:pt x="2092" y="16016"/>
                </a:cubicBezTo>
                <a:lnTo>
                  <a:pt x="2092" y="13736"/>
                </a:lnTo>
                <a:lnTo>
                  <a:pt x="790" y="13736"/>
                </a:lnTo>
                <a:cubicBezTo>
                  <a:pt x="342" y="13736"/>
                  <a:pt x="0" y="13430"/>
                  <a:pt x="0" y="13071"/>
                </a:cubicBezTo>
                <a:cubicBezTo>
                  <a:pt x="0" y="12964"/>
                  <a:pt x="21" y="12892"/>
                  <a:pt x="43" y="12802"/>
                </a:cubicBezTo>
                <a:lnTo>
                  <a:pt x="2070" y="8313"/>
                </a:lnTo>
                <a:cubicBezTo>
                  <a:pt x="2070" y="8313"/>
                  <a:pt x="2284" y="6518"/>
                  <a:pt x="2476" y="5853"/>
                </a:cubicBezTo>
                <a:cubicBezTo>
                  <a:pt x="3330" y="2783"/>
                  <a:pt x="7406" y="0"/>
                  <a:pt x="11825" y="0"/>
                </a:cubicBezTo>
                <a:cubicBezTo>
                  <a:pt x="17246" y="0"/>
                  <a:pt x="21600" y="3681"/>
                  <a:pt x="21600" y="8205"/>
                </a:cubicBezTo>
                <a:close/>
                <a:moveTo>
                  <a:pt x="5613" y="9049"/>
                </a:moveTo>
                <a:cubicBezTo>
                  <a:pt x="5613" y="8547"/>
                  <a:pt x="5123" y="8152"/>
                  <a:pt x="4504" y="8152"/>
                </a:cubicBezTo>
                <a:cubicBezTo>
                  <a:pt x="3927" y="8152"/>
                  <a:pt x="3436" y="8547"/>
                  <a:pt x="3436" y="9049"/>
                </a:cubicBezTo>
                <a:cubicBezTo>
                  <a:pt x="3436" y="9570"/>
                  <a:pt x="3927" y="9983"/>
                  <a:pt x="4504" y="9983"/>
                </a:cubicBezTo>
                <a:cubicBezTo>
                  <a:pt x="5123" y="9983"/>
                  <a:pt x="5613" y="9570"/>
                  <a:pt x="5613" y="9049"/>
                </a:cubicBezTo>
                <a:close/>
                <a:moveTo>
                  <a:pt x="20362" y="8098"/>
                </a:moveTo>
                <a:cubicBezTo>
                  <a:pt x="20362" y="4184"/>
                  <a:pt x="16606" y="1023"/>
                  <a:pt x="11953" y="1023"/>
                </a:cubicBezTo>
                <a:cubicBezTo>
                  <a:pt x="9519" y="1023"/>
                  <a:pt x="7364" y="1885"/>
                  <a:pt x="5827" y="3268"/>
                </a:cubicBezTo>
                <a:cubicBezTo>
                  <a:pt x="5827" y="3268"/>
                  <a:pt x="5720" y="8924"/>
                  <a:pt x="13340" y="9049"/>
                </a:cubicBezTo>
                <a:cubicBezTo>
                  <a:pt x="18633" y="9049"/>
                  <a:pt x="18249" y="12820"/>
                  <a:pt x="18249" y="12820"/>
                </a:cubicBezTo>
                <a:cubicBezTo>
                  <a:pt x="19551" y="11563"/>
                  <a:pt x="20362" y="9911"/>
                  <a:pt x="20362" y="8098"/>
                </a:cubicBezTo>
                <a:close/>
                <a:moveTo>
                  <a:pt x="8281" y="4812"/>
                </a:moveTo>
                <a:cubicBezTo>
                  <a:pt x="8281" y="2963"/>
                  <a:pt x="10053" y="1454"/>
                  <a:pt x="12251" y="1454"/>
                </a:cubicBezTo>
                <a:cubicBezTo>
                  <a:pt x="14471" y="1454"/>
                  <a:pt x="16243" y="2927"/>
                  <a:pt x="16243" y="4794"/>
                </a:cubicBezTo>
                <a:cubicBezTo>
                  <a:pt x="16243" y="6643"/>
                  <a:pt x="14450" y="8152"/>
                  <a:pt x="12251" y="8152"/>
                </a:cubicBezTo>
                <a:cubicBezTo>
                  <a:pt x="10074" y="8152"/>
                  <a:pt x="8281" y="6661"/>
                  <a:pt x="8281" y="4812"/>
                </a:cubicBezTo>
                <a:close/>
                <a:moveTo>
                  <a:pt x="12764" y="5602"/>
                </a:moveTo>
                <a:cubicBezTo>
                  <a:pt x="12764" y="5835"/>
                  <a:pt x="12550" y="5997"/>
                  <a:pt x="12102" y="5997"/>
                </a:cubicBezTo>
                <a:cubicBezTo>
                  <a:pt x="11675" y="5997"/>
                  <a:pt x="11291" y="5871"/>
                  <a:pt x="11035" y="5764"/>
                </a:cubicBezTo>
                <a:lnTo>
                  <a:pt x="10821" y="6428"/>
                </a:lnTo>
                <a:cubicBezTo>
                  <a:pt x="11056" y="6554"/>
                  <a:pt x="11547" y="6661"/>
                  <a:pt x="11995" y="6661"/>
                </a:cubicBezTo>
                <a:lnTo>
                  <a:pt x="11995" y="7164"/>
                </a:lnTo>
                <a:lnTo>
                  <a:pt x="12550" y="7164"/>
                </a:lnTo>
                <a:lnTo>
                  <a:pt x="12550" y="6661"/>
                </a:lnTo>
                <a:cubicBezTo>
                  <a:pt x="13340" y="6500"/>
                  <a:pt x="13724" y="6069"/>
                  <a:pt x="13724" y="5566"/>
                </a:cubicBezTo>
                <a:cubicBezTo>
                  <a:pt x="13724" y="5045"/>
                  <a:pt x="13361" y="4722"/>
                  <a:pt x="12614" y="4489"/>
                </a:cubicBezTo>
                <a:cubicBezTo>
                  <a:pt x="12081" y="4291"/>
                  <a:pt x="11825" y="4219"/>
                  <a:pt x="11825" y="3968"/>
                </a:cubicBezTo>
                <a:cubicBezTo>
                  <a:pt x="11825" y="3806"/>
                  <a:pt x="12059" y="3627"/>
                  <a:pt x="12443" y="3627"/>
                </a:cubicBezTo>
                <a:cubicBezTo>
                  <a:pt x="12849" y="3627"/>
                  <a:pt x="13126" y="3735"/>
                  <a:pt x="13319" y="3806"/>
                </a:cubicBezTo>
                <a:lnTo>
                  <a:pt x="13553" y="3124"/>
                </a:lnTo>
                <a:cubicBezTo>
                  <a:pt x="13297" y="3016"/>
                  <a:pt x="12977" y="2945"/>
                  <a:pt x="12508" y="2945"/>
                </a:cubicBezTo>
                <a:lnTo>
                  <a:pt x="12508" y="2424"/>
                </a:lnTo>
                <a:lnTo>
                  <a:pt x="11974" y="2424"/>
                </a:lnTo>
                <a:lnTo>
                  <a:pt x="11974" y="2981"/>
                </a:lnTo>
                <a:cubicBezTo>
                  <a:pt x="11227" y="3106"/>
                  <a:pt x="10843" y="3501"/>
                  <a:pt x="10843" y="4022"/>
                </a:cubicBezTo>
                <a:cubicBezTo>
                  <a:pt x="10843" y="4579"/>
                  <a:pt x="11312" y="4884"/>
                  <a:pt x="12038" y="5099"/>
                </a:cubicBezTo>
                <a:cubicBezTo>
                  <a:pt x="12572" y="5243"/>
                  <a:pt x="12764" y="5351"/>
                  <a:pt x="12764" y="5602"/>
                </a:cubicBez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13" name="Shape 1393"/>
          <p:cNvSpPr/>
          <p:nvPr/>
        </p:nvSpPr>
        <p:spPr>
          <a:xfrm>
            <a:off x="2188637" y="462870"/>
            <a:ext cx="4482800" cy="38779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endParaRPr lang="en-US" altLang="de-DE" sz="2800" b="1" dirty="0">
              <a:solidFill>
                <a:srgbClr val="B52227"/>
              </a:solidFill>
              <a:latin typeface="Calibri" pitchFamily="34" charset="0"/>
              <a:ea typeface="+mj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32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Business Plan Development </a:t>
            </a:r>
          </a:p>
        </p:txBody>
      </p:sp>
    </p:spTree>
    <p:extLst>
      <p:ext uri="{BB962C8B-B14F-4D97-AF65-F5344CB8AC3E}">
        <p14:creationId xmlns:p14="http://schemas.microsoft.com/office/powerpoint/2010/main" val="2075617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 txBox="1">
            <a:spLocks/>
          </p:cNvSpPr>
          <p:nvPr/>
        </p:nvSpPr>
        <p:spPr>
          <a:xfrm>
            <a:off x="458986" y="368301"/>
            <a:ext cx="8145462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GB" dirty="0">
                <a:solidFill>
                  <a:schemeClr val="bg1"/>
                </a:solidFill>
              </a:rPr>
              <a:t>To start </a:t>
            </a:r>
            <a:r>
              <a:rPr lang="en-GB" dirty="0" smtClean="0">
                <a:solidFill>
                  <a:schemeClr val="bg1"/>
                </a:solidFill>
              </a:rPr>
              <a:t>your professional </a:t>
            </a:r>
            <a:r>
              <a:rPr lang="en-GB" dirty="0">
                <a:solidFill>
                  <a:schemeClr val="bg1"/>
                </a:solidFill>
              </a:rPr>
              <a:t>path there are </a:t>
            </a:r>
            <a:r>
              <a:rPr lang="en-GB" dirty="0" smtClean="0">
                <a:solidFill>
                  <a:schemeClr val="bg1"/>
                </a:solidFill>
              </a:rPr>
              <a:t>two </a:t>
            </a:r>
            <a:r>
              <a:rPr lang="en-GB" dirty="0">
                <a:solidFill>
                  <a:schemeClr val="bg1"/>
                </a:solidFill>
              </a:rPr>
              <a:t>ways </a:t>
            </a:r>
            <a:endParaRPr lang="es-AR" dirty="0">
              <a:solidFill>
                <a:schemeClr val="bg1"/>
              </a:solidFill>
            </a:endParaRPr>
          </a:p>
        </p:txBody>
      </p:sp>
      <p:grpSp>
        <p:nvGrpSpPr>
          <p:cNvPr id="5" name="Group 1015"/>
          <p:cNvGrpSpPr/>
          <p:nvPr/>
        </p:nvGrpSpPr>
        <p:grpSpPr>
          <a:xfrm>
            <a:off x="657390" y="1975443"/>
            <a:ext cx="7810136" cy="3206004"/>
            <a:chOff x="0" y="1304942"/>
            <a:chExt cx="10674912" cy="4559651"/>
          </a:xfrm>
        </p:grpSpPr>
        <p:sp>
          <p:nvSpPr>
            <p:cNvPr id="6" name="Shape 947"/>
            <p:cNvSpPr/>
            <p:nvPr/>
          </p:nvSpPr>
          <p:spPr>
            <a:xfrm>
              <a:off x="2686152" y="1552873"/>
              <a:ext cx="2501303" cy="20382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cubicBezTo>
                    <a:pt x="10801" y="21600"/>
                    <a:pt x="10801" y="0"/>
                    <a:pt x="21600" y="0"/>
                  </a:cubicBezTo>
                </a:path>
              </a:pathLst>
            </a:custGeom>
            <a:noFill/>
            <a:ln w="38100" cap="flat">
              <a:solidFill>
                <a:schemeClr val="tx2"/>
              </a:solidFill>
              <a:prstDash val="solid"/>
              <a:miter lim="800000"/>
            </a:ln>
            <a:effectLst/>
          </p:spPr>
          <p:txBody>
            <a:bodyPr wrap="square" lIns="59013" tIns="59013" rIns="59013" bIns="59013" numCol="1" anchor="t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" name="Shape 957"/>
            <p:cNvSpPr/>
            <p:nvPr/>
          </p:nvSpPr>
          <p:spPr>
            <a:xfrm>
              <a:off x="2686152" y="3591707"/>
              <a:ext cx="2501303" cy="19369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cubicBezTo>
                    <a:pt x="10801" y="0"/>
                    <a:pt x="10801" y="21600"/>
                    <a:pt x="21600" y="21600"/>
                  </a:cubicBezTo>
                </a:path>
              </a:pathLst>
            </a:custGeom>
            <a:solidFill>
              <a:schemeClr val="bg1"/>
            </a:solidFill>
            <a:ln w="38100" cap="flat">
              <a:solidFill>
                <a:schemeClr val="tx2"/>
              </a:solidFill>
              <a:prstDash val="solid"/>
              <a:miter lim="800000"/>
            </a:ln>
            <a:effectLst/>
          </p:spPr>
          <p:txBody>
            <a:bodyPr wrap="square" lIns="59013" tIns="59013" rIns="59013" bIns="59013" numCol="1" anchor="t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8" name="Shape 959"/>
            <p:cNvSpPr/>
            <p:nvPr/>
          </p:nvSpPr>
          <p:spPr>
            <a:xfrm>
              <a:off x="5938904" y="5620703"/>
              <a:ext cx="1208760" cy="243890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noAutofit/>
            </a:bodyPr>
            <a:lstStyle>
              <a:lvl1pPr algn="l" defTabSz="590133">
                <a:lnSpc>
                  <a:spcPct val="93000"/>
                </a:lnSpc>
                <a:tabLst>
                  <a:tab pos="584200" algn="l"/>
                  <a:tab pos="1168400" algn="l"/>
                  <a:tab pos="1765300" algn="l"/>
                  <a:tab pos="2349500" algn="l"/>
                  <a:tab pos="2946400" algn="l"/>
                  <a:tab pos="3530600" algn="l"/>
                  <a:tab pos="4127500" algn="l"/>
                  <a:tab pos="4711700" algn="l"/>
                  <a:tab pos="5308600" algn="l"/>
                  <a:tab pos="5892800" algn="l"/>
                  <a:tab pos="6489700" algn="l"/>
                  <a:tab pos="7073900" algn="l"/>
                  <a:tab pos="7670800" algn="l"/>
                  <a:tab pos="8255000" algn="l"/>
                  <a:tab pos="8851900" algn="l"/>
                  <a:tab pos="9436100" algn="l"/>
                  <a:tab pos="10020300" algn="l"/>
                  <a:tab pos="10617200" algn="l"/>
                  <a:tab pos="11201400" algn="l"/>
                  <a:tab pos="11798300" algn="l"/>
                </a:tabLst>
                <a:defRPr sz="1400">
                  <a:solidFill>
                    <a:srgbClr val="726658"/>
                  </a:solidFill>
                  <a:latin typeface="Roboto Regular"/>
                  <a:ea typeface="Roboto Regular"/>
                  <a:cs typeface="Roboto Regular"/>
                  <a:sym typeface="Roboto Regular"/>
                </a:defRPr>
              </a:lvl1pPr>
            </a:lstStyle>
            <a:p>
              <a:endParaRPr dirty="0"/>
            </a:p>
          </p:txBody>
        </p:sp>
        <p:pic>
          <p:nvPicPr>
            <p:cNvPr id="9" name="image.png"/>
            <p:cNvPicPr>
              <a:picLocks noChangeAspect="1"/>
            </p:cNvPicPr>
            <p:nvPr/>
          </p:nvPicPr>
          <p:blipFill>
            <a:blip r:embed="rId2">
              <a:extLst/>
            </a:blip>
            <a:stretch>
              <a:fillRect/>
            </a:stretch>
          </p:blipFill>
          <p:spPr>
            <a:xfrm>
              <a:off x="287748" y="4927155"/>
              <a:ext cx="1908487" cy="693548"/>
            </a:xfrm>
            <a:prstGeom prst="rect">
              <a:avLst/>
            </a:prstGeom>
            <a:ln w="3175" cap="flat">
              <a:noFill/>
              <a:miter lim="400000"/>
            </a:ln>
            <a:effectLst/>
          </p:spPr>
        </p:pic>
        <p:sp>
          <p:nvSpPr>
            <p:cNvPr id="10" name="Shape 966"/>
            <p:cNvSpPr/>
            <p:nvPr/>
          </p:nvSpPr>
          <p:spPr>
            <a:xfrm>
              <a:off x="457933" y="4698432"/>
              <a:ext cx="262039" cy="5023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376" h="20932" extrusionOk="0">
                  <a:moveTo>
                    <a:pt x="1459" y="1972"/>
                  </a:moveTo>
                  <a:cubicBezTo>
                    <a:pt x="-763" y="3016"/>
                    <a:pt x="-187" y="4315"/>
                    <a:pt x="1459" y="6798"/>
                  </a:cubicBezTo>
                  <a:cubicBezTo>
                    <a:pt x="3063" y="9304"/>
                    <a:pt x="4215" y="9489"/>
                    <a:pt x="4215" y="9489"/>
                  </a:cubicBezTo>
                  <a:cubicBezTo>
                    <a:pt x="4215" y="9489"/>
                    <a:pt x="5984" y="11972"/>
                    <a:pt x="6108" y="13294"/>
                  </a:cubicBezTo>
                  <a:cubicBezTo>
                    <a:pt x="6190" y="14524"/>
                    <a:pt x="12608" y="19767"/>
                    <a:pt x="15159" y="20695"/>
                  </a:cubicBezTo>
                  <a:cubicBezTo>
                    <a:pt x="17710" y="21600"/>
                    <a:pt x="19891" y="19767"/>
                    <a:pt x="18986" y="17609"/>
                  </a:cubicBezTo>
                  <a:cubicBezTo>
                    <a:pt x="18039" y="15452"/>
                    <a:pt x="17587" y="9420"/>
                    <a:pt x="19232" y="6798"/>
                  </a:cubicBezTo>
                  <a:cubicBezTo>
                    <a:pt x="20837" y="4176"/>
                    <a:pt x="8535" y="0"/>
                    <a:pt x="8535" y="0"/>
                  </a:cubicBezTo>
                  <a:cubicBezTo>
                    <a:pt x="8535" y="0"/>
                    <a:pt x="3763" y="905"/>
                    <a:pt x="1459" y="1972"/>
                  </a:cubicBezTo>
                </a:path>
              </a:pathLst>
            </a:custGeom>
            <a:solidFill>
              <a:srgbClr val="0E504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1" name="Shape 967"/>
            <p:cNvSpPr/>
            <p:nvPr/>
          </p:nvSpPr>
          <p:spPr>
            <a:xfrm>
              <a:off x="1350500" y="5266878"/>
              <a:ext cx="498843" cy="26180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79" h="18282" extrusionOk="0">
                  <a:moveTo>
                    <a:pt x="870" y="1698"/>
                  </a:moveTo>
                  <a:cubicBezTo>
                    <a:pt x="870" y="1698"/>
                    <a:pt x="-687" y="12048"/>
                    <a:pt x="366" y="13806"/>
                  </a:cubicBezTo>
                  <a:cubicBezTo>
                    <a:pt x="1352" y="15603"/>
                    <a:pt x="4554" y="17478"/>
                    <a:pt x="6111" y="15017"/>
                  </a:cubicBezTo>
                  <a:cubicBezTo>
                    <a:pt x="7646" y="12595"/>
                    <a:pt x="7843" y="16228"/>
                    <a:pt x="7843" y="16228"/>
                  </a:cubicBezTo>
                  <a:cubicBezTo>
                    <a:pt x="7843" y="16228"/>
                    <a:pt x="13786" y="19001"/>
                    <a:pt x="17317" y="18103"/>
                  </a:cubicBezTo>
                  <a:cubicBezTo>
                    <a:pt x="20913" y="17243"/>
                    <a:pt x="19619" y="12283"/>
                    <a:pt x="17580" y="10056"/>
                  </a:cubicBezTo>
                  <a:cubicBezTo>
                    <a:pt x="15518" y="7869"/>
                    <a:pt x="10760" y="7322"/>
                    <a:pt x="9335" y="2479"/>
                  </a:cubicBezTo>
                  <a:cubicBezTo>
                    <a:pt x="7843" y="-2599"/>
                    <a:pt x="870" y="1698"/>
                    <a:pt x="870" y="1698"/>
                  </a:cubicBezTo>
                </a:path>
              </a:pathLst>
            </a:custGeom>
            <a:solidFill>
              <a:srgbClr val="0E504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2" name="Shape 968"/>
            <p:cNvSpPr/>
            <p:nvPr/>
          </p:nvSpPr>
          <p:spPr>
            <a:xfrm>
              <a:off x="541102" y="3906508"/>
              <a:ext cx="776573" cy="10225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65" h="21600" extrusionOk="0">
                  <a:moveTo>
                    <a:pt x="15423" y="1002"/>
                  </a:moveTo>
                  <a:cubicBezTo>
                    <a:pt x="15423" y="1002"/>
                    <a:pt x="13623" y="5565"/>
                    <a:pt x="11278" y="7593"/>
                  </a:cubicBezTo>
                  <a:cubicBezTo>
                    <a:pt x="8919" y="9621"/>
                    <a:pt x="872" y="15280"/>
                    <a:pt x="146" y="16011"/>
                  </a:cubicBezTo>
                  <a:cubicBezTo>
                    <a:pt x="-535" y="16742"/>
                    <a:pt x="1341" y="18947"/>
                    <a:pt x="2157" y="19772"/>
                  </a:cubicBezTo>
                  <a:cubicBezTo>
                    <a:pt x="2959" y="20610"/>
                    <a:pt x="5909" y="21600"/>
                    <a:pt x="5909" y="21600"/>
                  </a:cubicBezTo>
                  <a:lnTo>
                    <a:pt x="10734" y="17379"/>
                  </a:lnTo>
                  <a:lnTo>
                    <a:pt x="17480" y="12345"/>
                  </a:lnTo>
                  <a:lnTo>
                    <a:pt x="21065" y="8324"/>
                  </a:lnTo>
                  <a:lnTo>
                    <a:pt x="19522" y="0"/>
                  </a:lnTo>
                  <a:lnTo>
                    <a:pt x="15423" y="1002"/>
                  </a:lnTo>
                </a:path>
              </a:pathLst>
            </a:custGeom>
            <a:solidFill>
              <a:srgbClr val="1456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3" name="Shape 969"/>
            <p:cNvSpPr/>
            <p:nvPr/>
          </p:nvSpPr>
          <p:spPr>
            <a:xfrm>
              <a:off x="1000971" y="3667948"/>
              <a:ext cx="587238" cy="16988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cubicBezTo>
                    <a:pt x="0" y="0"/>
                    <a:pt x="4259" y="3384"/>
                    <a:pt x="5016" y="4526"/>
                  </a:cubicBezTo>
                  <a:cubicBezTo>
                    <a:pt x="5876" y="5788"/>
                    <a:pt x="6224" y="9534"/>
                    <a:pt x="7493" y="10094"/>
                  </a:cubicBezTo>
                  <a:cubicBezTo>
                    <a:pt x="8722" y="10655"/>
                    <a:pt x="8599" y="13939"/>
                    <a:pt x="9234" y="14875"/>
                  </a:cubicBezTo>
                  <a:cubicBezTo>
                    <a:pt x="9868" y="15819"/>
                    <a:pt x="12407" y="19401"/>
                    <a:pt x="12407" y="19401"/>
                  </a:cubicBezTo>
                  <a:lnTo>
                    <a:pt x="12469" y="21600"/>
                  </a:lnTo>
                  <a:cubicBezTo>
                    <a:pt x="12469" y="21600"/>
                    <a:pt x="15581" y="21543"/>
                    <a:pt x="18590" y="21444"/>
                  </a:cubicBezTo>
                  <a:cubicBezTo>
                    <a:pt x="21600" y="21323"/>
                    <a:pt x="21600" y="21323"/>
                    <a:pt x="21600" y="21323"/>
                  </a:cubicBezTo>
                  <a:cubicBezTo>
                    <a:pt x="21600" y="21323"/>
                    <a:pt x="20842" y="14875"/>
                    <a:pt x="20146" y="13393"/>
                  </a:cubicBezTo>
                  <a:cubicBezTo>
                    <a:pt x="19512" y="11917"/>
                    <a:pt x="17894" y="5909"/>
                    <a:pt x="17792" y="5306"/>
                  </a:cubicBezTo>
                  <a:cubicBezTo>
                    <a:pt x="17669" y="4710"/>
                    <a:pt x="16236" y="305"/>
                    <a:pt x="16236" y="305"/>
                  </a:cubicBezTo>
                  <a:lnTo>
                    <a:pt x="0" y="0"/>
                  </a:lnTo>
                </a:path>
              </a:pathLst>
            </a:custGeom>
            <a:solidFill>
              <a:srgbClr val="2D6CA3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4" name="Shape 970"/>
            <p:cNvSpPr/>
            <p:nvPr/>
          </p:nvSpPr>
          <p:spPr>
            <a:xfrm>
              <a:off x="1584696" y="2194773"/>
              <a:ext cx="507853" cy="132131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497" h="21539" extrusionOk="0">
                  <a:moveTo>
                    <a:pt x="1018" y="0"/>
                  </a:moveTo>
                  <a:cubicBezTo>
                    <a:pt x="1018" y="0"/>
                    <a:pt x="5654" y="1536"/>
                    <a:pt x="5654" y="4773"/>
                  </a:cubicBezTo>
                  <a:cubicBezTo>
                    <a:pt x="5654" y="7982"/>
                    <a:pt x="7705" y="9927"/>
                    <a:pt x="8367" y="10827"/>
                  </a:cubicBezTo>
                  <a:cubicBezTo>
                    <a:pt x="9029" y="11727"/>
                    <a:pt x="19455" y="17545"/>
                    <a:pt x="19455" y="17545"/>
                  </a:cubicBezTo>
                  <a:cubicBezTo>
                    <a:pt x="19455" y="17545"/>
                    <a:pt x="20246" y="20400"/>
                    <a:pt x="14926" y="21500"/>
                  </a:cubicBezTo>
                  <a:cubicBezTo>
                    <a:pt x="14456" y="21600"/>
                    <a:pt x="13238" y="21500"/>
                    <a:pt x="12533" y="21291"/>
                  </a:cubicBezTo>
                  <a:cubicBezTo>
                    <a:pt x="7213" y="18827"/>
                    <a:pt x="3175" y="15191"/>
                    <a:pt x="2449" y="13927"/>
                  </a:cubicBezTo>
                  <a:cubicBezTo>
                    <a:pt x="2449" y="13927"/>
                    <a:pt x="825" y="9536"/>
                    <a:pt x="1018" y="7900"/>
                  </a:cubicBezTo>
                  <a:cubicBezTo>
                    <a:pt x="1188" y="6255"/>
                    <a:pt x="-1354" y="1127"/>
                    <a:pt x="1018" y="0"/>
                  </a:cubicBezTo>
                </a:path>
              </a:pathLst>
            </a:custGeom>
            <a:solidFill>
              <a:srgbClr val="084A6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5" name="Shape 971"/>
            <p:cNvSpPr/>
            <p:nvPr/>
          </p:nvSpPr>
          <p:spPr>
            <a:xfrm>
              <a:off x="910549" y="2142967"/>
              <a:ext cx="790918" cy="16420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031" h="21184" extrusionOk="0">
                  <a:moveTo>
                    <a:pt x="229" y="3409"/>
                  </a:moveTo>
                  <a:cubicBezTo>
                    <a:pt x="229" y="3409"/>
                    <a:pt x="1698" y="2028"/>
                    <a:pt x="5004" y="1136"/>
                  </a:cubicBezTo>
                  <a:cubicBezTo>
                    <a:pt x="6402" y="769"/>
                    <a:pt x="9595" y="-252"/>
                    <a:pt x="11347" y="57"/>
                  </a:cubicBezTo>
                  <a:cubicBezTo>
                    <a:pt x="13099" y="359"/>
                    <a:pt x="16885" y="144"/>
                    <a:pt x="18085" y="949"/>
                  </a:cubicBezTo>
                  <a:cubicBezTo>
                    <a:pt x="19244" y="1762"/>
                    <a:pt x="20713" y="3855"/>
                    <a:pt x="19682" y="6315"/>
                  </a:cubicBezTo>
                  <a:cubicBezTo>
                    <a:pt x="18650" y="8768"/>
                    <a:pt x="17647" y="9739"/>
                    <a:pt x="17775" y="10695"/>
                  </a:cubicBezTo>
                  <a:cubicBezTo>
                    <a:pt x="17930" y="11674"/>
                    <a:pt x="16885" y="16781"/>
                    <a:pt x="17167" y="17536"/>
                  </a:cubicBezTo>
                  <a:cubicBezTo>
                    <a:pt x="17450" y="18284"/>
                    <a:pt x="16291" y="20737"/>
                    <a:pt x="14822" y="21039"/>
                  </a:cubicBezTo>
                  <a:cubicBezTo>
                    <a:pt x="13339" y="21348"/>
                    <a:pt x="8677" y="21132"/>
                    <a:pt x="6332" y="20679"/>
                  </a:cubicBezTo>
                  <a:cubicBezTo>
                    <a:pt x="3973" y="20233"/>
                    <a:pt x="780" y="20312"/>
                    <a:pt x="1500" y="18003"/>
                  </a:cubicBezTo>
                  <a:cubicBezTo>
                    <a:pt x="2221" y="15687"/>
                    <a:pt x="2970" y="9379"/>
                    <a:pt x="2659" y="7876"/>
                  </a:cubicBezTo>
                  <a:cubicBezTo>
                    <a:pt x="2419" y="6394"/>
                    <a:pt x="-887" y="3956"/>
                    <a:pt x="229" y="3409"/>
                  </a:cubicBezTo>
                </a:path>
              </a:pathLst>
            </a:custGeom>
            <a:solidFill>
              <a:srgbClr val="2D6CA3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6" name="Shape 972"/>
            <p:cNvSpPr/>
            <p:nvPr/>
          </p:nvSpPr>
          <p:spPr>
            <a:xfrm>
              <a:off x="978566" y="2181185"/>
              <a:ext cx="724726" cy="16155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843" h="21121" extrusionOk="0">
                  <a:moveTo>
                    <a:pt x="10580" y="4262"/>
                  </a:moveTo>
                  <a:cubicBezTo>
                    <a:pt x="10580" y="4262"/>
                    <a:pt x="12352" y="8338"/>
                    <a:pt x="13085" y="9694"/>
                  </a:cubicBezTo>
                  <a:cubicBezTo>
                    <a:pt x="13772" y="11051"/>
                    <a:pt x="14292" y="13253"/>
                    <a:pt x="14032" y="14347"/>
                  </a:cubicBezTo>
                  <a:cubicBezTo>
                    <a:pt x="13772" y="15412"/>
                    <a:pt x="13482" y="19401"/>
                    <a:pt x="12489" y="19773"/>
                  </a:cubicBezTo>
                  <a:cubicBezTo>
                    <a:pt x="10366" y="20553"/>
                    <a:pt x="2392" y="19707"/>
                    <a:pt x="635" y="19481"/>
                  </a:cubicBezTo>
                  <a:cubicBezTo>
                    <a:pt x="-1137" y="19255"/>
                    <a:pt x="1109" y="19999"/>
                    <a:pt x="3599" y="20494"/>
                  </a:cubicBezTo>
                  <a:cubicBezTo>
                    <a:pt x="6104" y="21005"/>
                    <a:pt x="9342" y="21027"/>
                    <a:pt x="10931" y="21107"/>
                  </a:cubicBezTo>
                  <a:cubicBezTo>
                    <a:pt x="13176" y="21231"/>
                    <a:pt x="16018" y="20494"/>
                    <a:pt x="16751" y="19875"/>
                  </a:cubicBezTo>
                  <a:cubicBezTo>
                    <a:pt x="17438" y="19255"/>
                    <a:pt x="17836" y="19196"/>
                    <a:pt x="17836" y="16484"/>
                  </a:cubicBezTo>
                  <a:cubicBezTo>
                    <a:pt x="17836" y="15908"/>
                    <a:pt x="17744" y="9694"/>
                    <a:pt x="18431" y="9016"/>
                  </a:cubicBezTo>
                  <a:cubicBezTo>
                    <a:pt x="19119" y="8338"/>
                    <a:pt x="20112" y="4772"/>
                    <a:pt x="19776" y="3481"/>
                  </a:cubicBezTo>
                  <a:cubicBezTo>
                    <a:pt x="19424" y="2183"/>
                    <a:pt x="20463" y="535"/>
                    <a:pt x="16109" y="39"/>
                  </a:cubicBezTo>
                  <a:cubicBezTo>
                    <a:pt x="12749" y="-369"/>
                    <a:pt x="9816" y="2490"/>
                    <a:pt x="10580" y="4262"/>
                  </a:cubicBezTo>
                </a:path>
              </a:pathLst>
            </a:custGeom>
            <a:solidFill>
              <a:srgbClr val="1456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7" name="Shape 973"/>
            <p:cNvSpPr/>
            <p:nvPr/>
          </p:nvSpPr>
          <p:spPr>
            <a:xfrm>
              <a:off x="958933" y="2296467"/>
              <a:ext cx="236231" cy="96266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038" h="20433" extrusionOk="0">
                  <a:moveTo>
                    <a:pt x="5276" y="20433"/>
                  </a:moveTo>
                  <a:cubicBezTo>
                    <a:pt x="5276" y="20433"/>
                    <a:pt x="8466" y="13549"/>
                    <a:pt x="10646" y="12175"/>
                  </a:cubicBezTo>
                  <a:cubicBezTo>
                    <a:pt x="12786" y="10800"/>
                    <a:pt x="19488" y="3513"/>
                    <a:pt x="16097" y="1606"/>
                  </a:cubicBezTo>
                  <a:cubicBezTo>
                    <a:pt x="12665" y="-302"/>
                    <a:pt x="4711" y="-1167"/>
                    <a:pt x="1279" y="2814"/>
                  </a:cubicBezTo>
                  <a:cubicBezTo>
                    <a:pt x="-2112" y="6760"/>
                    <a:pt x="2208" y="8419"/>
                    <a:pt x="3137" y="9627"/>
                  </a:cubicBezTo>
                  <a:cubicBezTo>
                    <a:pt x="4025" y="10824"/>
                    <a:pt x="4388" y="14580"/>
                    <a:pt x="4025" y="15990"/>
                  </a:cubicBezTo>
                  <a:cubicBezTo>
                    <a:pt x="3702" y="17293"/>
                    <a:pt x="5276" y="20433"/>
                    <a:pt x="5276" y="20433"/>
                  </a:cubicBezTo>
                </a:path>
              </a:pathLst>
            </a:custGeom>
            <a:solidFill>
              <a:srgbClr val="1456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8" name="Shape 974"/>
            <p:cNvSpPr/>
            <p:nvPr/>
          </p:nvSpPr>
          <p:spPr>
            <a:xfrm>
              <a:off x="424674" y="2341739"/>
              <a:ext cx="712440" cy="118872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873" h="20848" extrusionOk="0">
                  <a:moveTo>
                    <a:pt x="18729" y="164"/>
                  </a:moveTo>
                  <a:cubicBezTo>
                    <a:pt x="18729" y="164"/>
                    <a:pt x="21551" y="1515"/>
                    <a:pt x="20719" y="3697"/>
                  </a:cubicBezTo>
                  <a:cubicBezTo>
                    <a:pt x="20115" y="5293"/>
                    <a:pt x="17864" y="7974"/>
                    <a:pt x="15058" y="9550"/>
                  </a:cubicBezTo>
                  <a:cubicBezTo>
                    <a:pt x="13117" y="10626"/>
                    <a:pt x="10082" y="13612"/>
                    <a:pt x="9903" y="14766"/>
                  </a:cubicBezTo>
                  <a:cubicBezTo>
                    <a:pt x="9707" y="15872"/>
                    <a:pt x="7178" y="19435"/>
                    <a:pt x="6852" y="20345"/>
                  </a:cubicBezTo>
                  <a:cubicBezTo>
                    <a:pt x="6542" y="21265"/>
                    <a:pt x="49" y="20903"/>
                    <a:pt x="0" y="19415"/>
                  </a:cubicBezTo>
                  <a:cubicBezTo>
                    <a:pt x="-49" y="18143"/>
                    <a:pt x="5482" y="10460"/>
                    <a:pt x="5987" y="9550"/>
                  </a:cubicBezTo>
                  <a:cubicBezTo>
                    <a:pt x="6493" y="8640"/>
                    <a:pt x="13443" y="2180"/>
                    <a:pt x="14454" y="1260"/>
                  </a:cubicBezTo>
                  <a:cubicBezTo>
                    <a:pt x="15515" y="379"/>
                    <a:pt x="17946" y="-335"/>
                    <a:pt x="18729" y="164"/>
                  </a:cubicBezTo>
                </a:path>
              </a:pathLst>
            </a:custGeom>
            <a:solidFill>
              <a:srgbClr val="3A7CBA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9" name="Shape 975"/>
            <p:cNvSpPr/>
            <p:nvPr/>
          </p:nvSpPr>
          <p:spPr>
            <a:xfrm>
              <a:off x="1205100" y="2007027"/>
              <a:ext cx="306740" cy="40361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920" h="19940" extrusionOk="0">
                  <a:moveTo>
                    <a:pt x="2781" y="761"/>
                  </a:moveTo>
                  <a:cubicBezTo>
                    <a:pt x="3010" y="-1660"/>
                    <a:pt x="18895" y="2467"/>
                    <a:pt x="18895" y="2467"/>
                  </a:cubicBezTo>
                  <a:cubicBezTo>
                    <a:pt x="18895" y="2467"/>
                    <a:pt x="19429" y="9429"/>
                    <a:pt x="20533" y="11685"/>
                  </a:cubicBezTo>
                  <a:cubicBezTo>
                    <a:pt x="21600" y="13914"/>
                    <a:pt x="20419" y="19940"/>
                    <a:pt x="17524" y="19940"/>
                  </a:cubicBezTo>
                  <a:cubicBezTo>
                    <a:pt x="14590" y="19940"/>
                    <a:pt x="533" y="12236"/>
                    <a:pt x="0" y="10695"/>
                  </a:cubicBezTo>
                  <a:cubicBezTo>
                    <a:pt x="0" y="10695"/>
                    <a:pt x="2552" y="3155"/>
                    <a:pt x="2781" y="761"/>
                  </a:cubicBezTo>
                </a:path>
              </a:pathLst>
            </a:custGeom>
            <a:solidFill>
              <a:srgbClr val="CCDFAC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0" name="Shape 976"/>
            <p:cNvSpPr/>
            <p:nvPr/>
          </p:nvSpPr>
          <p:spPr>
            <a:xfrm>
              <a:off x="1214095" y="2022617"/>
              <a:ext cx="172762" cy="2324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33" h="18940" extrusionOk="0">
                  <a:moveTo>
                    <a:pt x="3115" y="0"/>
                  </a:moveTo>
                  <a:cubicBezTo>
                    <a:pt x="3115" y="0"/>
                    <a:pt x="15305" y="5854"/>
                    <a:pt x="16375" y="10982"/>
                  </a:cubicBezTo>
                  <a:cubicBezTo>
                    <a:pt x="17444" y="16109"/>
                    <a:pt x="13060" y="21600"/>
                    <a:pt x="4452" y="17516"/>
                  </a:cubicBezTo>
                  <a:cubicBezTo>
                    <a:pt x="-4156" y="13568"/>
                    <a:pt x="2206" y="11118"/>
                    <a:pt x="3115" y="0"/>
                  </a:cubicBezTo>
                </a:path>
              </a:pathLst>
            </a:custGeom>
            <a:solidFill>
              <a:srgbClr val="E1FFDC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1" name="Shape 977"/>
            <p:cNvSpPr/>
            <p:nvPr/>
          </p:nvSpPr>
          <p:spPr>
            <a:xfrm>
              <a:off x="1247290" y="1978551"/>
              <a:ext cx="258803" cy="3209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072" h="17645" extrusionOk="0">
                  <a:moveTo>
                    <a:pt x="70" y="2508"/>
                  </a:moveTo>
                  <a:cubicBezTo>
                    <a:pt x="70" y="2508"/>
                    <a:pt x="7490" y="16212"/>
                    <a:pt x="13744" y="17594"/>
                  </a:cubicBezTo>
                  <a:cubicBezTo>
                    <a:pt x="16386" y="18209"/>
                    <a:pt x="20543" y="13170"/>
                    <a:pt x="16153" y="4874"/>
                  </a:cubicBezTo>
                  <a:cubicBezTo>
                    <a:pt x="11802" y="-3391"/>
                    <a:pt x="-1057" y="1033"/>
                    <a:pt x="70" y="2508"/>
                  </a:cubicBezTo>
                </a:path>
              </a:pathLst>
            </a:custGeom>
            <a:solidFill>
              <a:srgbClr val="8BAC8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2" name="Shape 978"/>
            <p:cNvSpPr/>
            <p:nvPr/>
          </p:nvSpPr>
          <p:spPr>
            <a:xfrm>
              <a:off x="1204319" y="2140667"/>
              <a:ext cx="236327" cy="3265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439" h="21600" extrusionOk="0">
                  <a:moveTo>
                    <a:pt x="1729" y="0"/>
                  </a:moveTo>
                  <a:cubicBezTo>
                    <a:pt x="1729" y="0"/>
                    <a:pt x="-2161" y="6362"/>
                    <a:pt x="1729" y="10985"/>
                  </a:cubicBezTo>
                  <a:cubicBezTo>
                    <a:pt x="5619" y="15571"/>
                    <a:pt x="10881" y="21600"/>
                    <a:pt x="10881" y="21600"/>
                  </a:cubicBezTo>
                  <a:cubicBezTo>
                    <a:pt x="10881" y="21600"/>
                    <a:pt x="18386" y="15756"/>
                    <a:pt x="19439" y="12945"/>
                  </a:cubicBezTo>
                  <a:cubicBezTo>
                    <a:pt x="11293" y="9727"/>
                    <a:pt x="5207" y="6879"/>
                    <a:pt x="1729" y="0"/>
                  </a:cubicBezTo>
                </a:path>
              </a:pathLst>
            </a:custGeom>
            <a:solidFill>
              <a:srgbClr val="E3FFF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3" name="Shape 979"/>
            <p:cNvSpPr/>
            <p:nvPr/>
          </p:nvSpPr>
          <p:spPr>
            <a:xfrm>
              <a:off x="1318232" y="2300527"/>
              <a:ext cx="233922" cy="5405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13" h="21600" extrusionOk="0">
                  <a:moveTo>
                    <a:pt x="0" y="2647"/>
                  </a:moveTo>
                  <a:cubicBezTo>
                    <a:pt x="0" y="2647"/>
                    <a:pt x="1712" y="3960"/>
                    <a:pt x="3524" y="5717"/>
                  </a:cubicBezTo>
                  <a:cubicBezTo>
                    <a:pt x="5085" y="7163"/>
                    <a:pt x="6394" y="10433"/>
                    <a:pt x="7250" y="11879"/>
                  </a:cubicBezTo>
                  <a:cubicBezTo>
                    <a:pt x="10372" y="17018"/>
                    <a:pt x="14350" y="20288"/>
                    <a:pt x="15910" y="21600"/>
                  </a:cubicBezTo>
                  <a:cubicBezTo>
                    <a:pt x="19032" y="18152"/>
                    <a:pt x="21600" y="13814"/>
                    <a:pt x="20895" y="7408"/>
                  </a:cubicBezTo>
                  <a:cubicBezTo>
                    <a:pt x="20039" y="1001"/>
                    <a:pt x="17471" y="0"/>
                    <a:pt x="17471" y="0"/>
                  </a:cubicBezTo>
                  <a:cubicBezTo>
                    <a:pt x="17471" y="0"/>
                    <a:pt x="16313" y="2959"/>
                    <a:pt x="4985" y="133"/>
                  </a:cubicBezTo>
                  <a:lnTo>
                    <a:pt x="0" y="2647"/>
                  </a:lnTo>
                </a:path>
              </a:pathLst>
            </a:custGeom>
            <a:solidFill>
              <a:srgbClr val="E3FFF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4" name="Shape 980"/>
            <p:cNvSpPr/>
            <p:nvPr/>
          </p:nvSpPr>
          <p:spPr>
            <a:xfrm>
              <a:off x="1441201" y="2177140"/>
              <a:ext cx="113377" cy="2817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11" h="18640" extrusionOk="0">
                  <a:moveTo>
                    <a:pt x="0" y="10525"/>
                  </a:moveTo>
                  <a:cubicBezTo>
                    <a:pt x="0" y="10525"/>
                    <a:pt x="15648" y="16479"/>
                    <a:pt x="18624" y="18477"/>
                  </a:cubicBezTo>
                  <a:cubicBezTo>
                    <a:pt x="21600" y="20326"/>
                    <a:pt x="17568" y="5938"/>
                    <a:pt x="10272" y="1352"/>
                  </a:cubicBezTo>
                  <a:cubicBezTo>
                    <a:pt x="5952" y="-1274"/>
                    <a:pt x="4608" y="316"/>
                    <a:pt x="5952" y="2794"/>
                  </a:cubicBezTo>
                  <a:cubicBezTo>
                    <a:pt x="7584" y="6345"/>
                    <a:pt x="4032" y="9378"/>
                    <a:pt x="0" y="10525"/>
                  </a:cubicBezTo>
                </a:path>
              </a:pathLst>
            </a:custGeom>
            <a:solidFill>
              <a:srgbClr val="E3FFF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5" name="Shape 981"/>
            <p:cNvSpPr/>
            <p:nvPr/>
          </p:nvSpPr>
          <p:spPr>
            <a:xfrm>
              <a:off x="1337907" y="2334959"/>
              <a:ext cx="213408" cy="1519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64" y="21600"/>
                  </a:moveTo>
                  <a:lnTo>
                    <a:pt x="10602" y="5834"/>
                  </a:lnTo>
                  <a:lnTo>
                    <a:pt x="21487" y="21600"/>
                  </a:lnTo>
                  <a:lnTo>
                    <a:pt x="21600" y="16949"/>
                  </a:lnTo>
                  <a:lnTo>
                    <a:pt x="10602" y="0"/>
                  </a:lnTo>
                  <a:lnTo>
                    <a:pt x="0" y="18447"/>
                  </a:lnTo>
                  <a:lnTo>
                    <a:pt x="964" y="21600"/>
                  </a:lnTo>
                </a:path>
              </a:pathLst>
            </a:custGeom>
            <a:solidFill>
              <a:srgbClr val="75CBD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6" name="Shape 982"/>
            <p:cNvSpPr/>
            <p:nvPr/>
          </p:nvSpPr>
          <p:spPr>
            <a:xfrm>
              <a:off x="1396932" y="2357093"/>
              <a:ext cx="130169" cy="486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5709" h="21600" extrusionOk="0">
                  <a:moveTo>
                    <a:pt x="3970" y="544"/>
                  </a:moveTo>
                  <a:lnTo>
                    <a:pt x="0" y="3188"/>
                  </a:lnTo>
                  <a:lnTo>
                    <a:pt x="5316" y="4869"/>
                  </a:lnTo>
                  <a:cubicBezTo>
                    <a:pt x="5316" y="4869"/>
                    <a:pt x="7738" y="14359"/>
                    <a:pt x="6258" y="17769"/>
                  </a:cubicBezTo>
                  <a:lnTo>
                    <a:pt x="11574" y="21600"/>
                  </a:lnTo>
                  <a:cubicBezTo>
                    <a:pt x="11574" y="21600"/>
                    <a:pt x="21600" y="16237"/>
                    <a:pt x="10430" y="4869"/>
                  </a:cubicBezTo>
                  <a:lnTo>
                    <a:pt x="11574" y="2496"/>
                  </a:lnTo>
                  <a:lnTo>
                    <a:pt x="7940" y="0"/>
                  </a:lnTo>
                  <a:lnTo>
                    <a:pt x="3970" y="544"/>
                  </a:lnTo>
                </a:path>
              </a:pathLst>
            </a:custGeom>
            <a:solidFill>
              <a:srgbClr val="3F735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7" name="Shape 983"/>
            <p:cNvSpPr/>
            <p:nvPr/>
          </p:nvSpPr>
          <p:spPr>
            <a:xfrm>
              <a:off x="0" y="3572031"/>
              <a:ext cx="820879" cy="9782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000" y="0"/>
                  </a:moveTo>
                  <a:lnTo>
                    <a:pt x="2684" y="247"/>
                  </a:lnTo>
                  <a:lnTo>
                    <a:pt x="0" y="14499"/>
                  </a:lnTo>
                  <a:lnTo>
                    <a:pt x="16966" y="21600"/>
                  </a:lnTo>
                  <a:lnTo>
                    <a:pt x="19034" y="20725"/>
                  </a:lnTo>
                  <a:lnTo>
                    <a:pt x="21600" y="7015"/>
                  </a:lnTo>
                  <a:lnTo>
                    <a:pt x="5000" y="0"/>
                  </a:lnTo>
                </a:path>
              </a:pathLst>
            </a:custGeom>
            <a:solidFill>
              <a:srgbClr val="397B7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8" name="Shape 984"/>
            <p:cNvSpPr/>
            <p:nvPr/>
          </p:nvSpPr>
          <p:spPr>
            <a:xfrm>
              <a:off x="7378" y="3599085"/>
              <a:ext cx="727423" cy="9364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894" y="0"/>
                  </a:moveTo>
                  <a:lnTo>
                    <a:pt x="0" y="14276"/>
                  </a:lnTo>
                  <a:lnTo>
                    <a:pt x="18706" y="21600"/>
                  </a:lnTo>
                  <a:lnTo>
                    <a:pt x="21600" y="7311"/>
                  </a:lnTo>
                  <a:lnTo>
                    <a:pt x="2894" y="0"/>
                  </a:lnTo>
                </a:path>
              </a:pathLst>
            </a:custGeom>
            <a:solidFill>
              <a:srgbClr val="5D917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9" name="Shape 985"/>
            <p:cNvSpPr/>
            <p:nvPr/>
          </p:nvSpPr>
          <p:spPr>
            <a:xfrm>
              <a:off x="356267" y="3456136"/>
              <a:ext cx="254013" cy="3229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700" h="17862" extrusionOk="0">
                  <a:moveTo>
                    <a:pt x="18903" y="5378"/>
                  </a:moveTo>
                  <a:cubicBezTo>
                    <a:pt x="19040" y="3471"/>
                    <a:pt x="8240" y="-2160"/>
                    <a:pt x="6827" y="886"/>
                  </a:cubicBezTo>
                  <a:cubicBezTo>
                    <a:pt x="5414" y="3840"/>
                    <a:pt x="766" y="9963"/>
                    <a:pt x="128" y="11348"/>
                  </a:cubicBezTo>
                  <a:cubicBezTo>
                    <a:pt x="-373" y="12732"/>
                    <a:pt x="402" y="12486"/>
                    <a:pt x="5916" y="15440"/>
                  </a:cubicBezTo>
                  <a:cubicBezTo>
                    <a:pt x="11566" y="18394"/>
                    <a:pt x="13754" y="16548"/>
                    <a:pt x="15440" y="16640"/>
                  </a:cubicBezTo>
                  <a:cubicBezTo>
                    <a:pt x="16989" y="16732"/>
                    <a:pt x="20224" y="19440"/>
                    <a:pt x="20589" y="16486"/>
                  </a:cubicBezTo>
                  <a:cubicBezTo>
                    <a:pt x="21227" y="13625"/>
                    <a:pt x="18903" y="5378"/>
                    <a:pt x="18903" y="5378"/>
                  </a:cubicBezTo>
                </a:path>
              </a:pathLst>
            </a:custGeom>
            <a:solidFill>
              <a:srgbClr val="CBDEAC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" name="Shape 986"/>
            <p:cNvSpPr/>
            <p:nvPr/>
          </p:nvSpPr>
          <p:spPr>
            <a:xfrm>
              <a:off x="385028" y="3504465"/>
              <a:ext cx="163461" cy="22116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773" h="18718" extrusionOk="0">
                  <a:moveTo>
                    <a:pt x="17632" y="3046"/>
                  </a:moveTo>
                  <a:cubicBezTo>
                    <a:pt x="17451" y="-310"/>
                    <a:pt x="7254" y="-1775"/>
                    <a:pt x="4358" y="3330"/>
                  </a:cubicBezTo>
                  <a:cubicBezTo>
                    <a:pt x="1462" y="8387"/>
                    <a:pt x="-2822" y="12074"/>
                    <a:pt x="2608" y="15949"/>
                  </a:cubicBezTo>
                  <a:cubicBezTo>
                    <a:pt x="8280" y="19825"/>
                    <a:pt x="10452" y="19541"/>
                    <a:pt x="14555" y="15666"/>
                  </a:cubicBezTo>
                  <a:cubicBezTo>
                    <a:pt x="18778" y="11932"/>
                    <a:pt x="17632" y="3046"/>
                    <a:pt x="17632" y="3046"/>
                  </a:cubicBezTo>
                </a:path>
              </a:pathLst>
            </a:custGeom>
            <a:solidFill>
              <a:srgbClr val="E1FFDC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" name="Shape 987"/>
            <p:cNvSpPr/>
            <p:nvPr/>
          </p:nvSpPr>
          <p:spPr>
            <a:xfrm>
              <a:off x="412239" y="3408812"/>
              <a:ext cx="199591" cy="1727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37" h="16715" extrusionOk="0">
                  <a:moveTo>
                    <a:pt x="4151" y="733"/>
                  </a:moveTo>
                  <a:cubicBezTo>
                    <a:pt x="2894" y="4234"/>
                    <a:pt x="-1163" y="11237"/>
                    <a:pt x="323" y="13499"/>
                  </a:cubicBezTo>
                  <a:cubicBezTo>
                    <a:pt x="9637" y="18832"/>
                    <a:pt x="19351" y="15923"/>
                    <a:pt x="19351" y="15923"/>
                  </a:cubicBezTo>
                  <a:lnTo>
                    <a:pt x="20437" y="7413"/>
                  </a:lnTo>
                  <a:cubicBezTo>
                    <a:pt x="20437" y="7413"/>
                    <a:pt x="5466" y="-2768"/>
                    <a:pt x="4151" y="733"/>
                  </a:cubicBezTo>
                </a:path>
              </a:pathLst>
            </a:custGeom>
            <a:solidFill>
              <a:srgbClr val="E3FFF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" name="Shape 988"/>
            <p:cNvSpPr/>
            <p:nvPr/>
          </p:nvSpPr>
          <p:spPr>
            <a:xfrm>
              <a:off x="518930" y="3682916"/>
              <a:ext cx="53550" cy="1049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7147" extrusionOk="0">
                  <a:moveTo>
                    <a:pt x="4500" y="3020"/>
                  </a:moveTo>
                  <a:cubicBezTo>
                    <a:pt x="0" y="12225"/>
                    <a:pt x="0" y="15871"/>
                    <a:pt x="0" y="15871"/>
                  </a:cubicBezTo>
                  <a:lnTo>
                    <a:pt x="16425" y="17147"/>
                  </a:lnTo>
                  <a:lnTo>
                    <a:pt x="21600" y="4296"/>
                  </a:lnTo>
                  <a:cubicBezTo>
                    <a:pt x="21600" y="4296"/>
                    <a:pt x="15750" y="-4453"/>
                    <a:pt x="4500" y="3020"/>
                  </a:cubicBezTo>
                </a:path>
              </a:pathLst>
            </a:custGeom>
            <a:solidFill>
              <a:srgbClr val="397B7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" name="Shape 989"/>
            <p:cNvSpPr/>
            <p:nvPr/>
          </p:nvSpPr>
          <p:spPr>
            <a:xfrm>
              <a:off x="427933" y="2300692"/>
              <a:ext cx="715529" cy="12363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87" h="20732" extrusionOk="0">
                  <a:moveTo>
                    <a:pt x="20002" y="838"/>
                  </a:moveTo>
                  <a:cubicBezTo>
                    <a:pt x="18726" y="-828"/>
                    <a:pt x="15449" y="332"/>
                    <a:pt x="14723" y="1362"/>
                  </a:cubicBezTo>
                  <a:cubicBezTo>
                    <a:pt x="14126" y="2176"/>
                    <a:pt x="12350" y="3973"/>
                    <a:pt x="11252" y="5349"/>
                  </a:cubicBezTo>
                  <a:cubicBezTo>
                    <a:pt x="10203" y="6725"/>
                    <a:pt x="6022" y="9757"/>
                    <a:pt x="5424" y="10842"/>
                  </a:cubicBezTo>
                  <a:cubicBezTo>
                    <a:pt x="4827" y="11900"/>
                    <a:pt x="2373" y="15962"/>
                    <a:pt x="1921" y="16785"/>
                  </a:cubicBezTo>
                  <a:cubicBezTo>
                    <a:pt x="1469" y="17599"/>
                    <a:pt x="0" y="19265"/>
                    <a:pt x="0" y="19509"/>
                  </a:cubicBezTo>
                  <a:cubicBezTo>
                    <a:pt x="0" y="19714"/>
                    <a:pt x="452" y="19761"/>
                    <a:pt x="1921" y="20164"/>
                  </a:cubicBezTo>
                  <a:cubicBezTo>
                    <a:pt x="3374" y="20557"/>
                    <a:pt x="5021" y="20772"/>
                    <a:pt x="5796" y="20725"/>
                  </a:cubicBezTo>
                  <a:cubicBezTo>
                    <a:pt x="6570" y="20669"/>
                    <a:pt x="6409" y="20538"/>
                    <a:pt x="6877" y="20061"/>
                  </a:cubicBezTo>
                  <a:cubicBezTo>
                    <a:pt x="7329" y="19583"/>
                    <a:pt x="10945" y="14539"/>
                    <a:pt x="11623" y="13753"/>
                  </a:cubicBezTo>
                  <a:cubicBezTo>
                    <a:pt x="12301" y="12957"/>
                    <a:pt x="13625" y="10580"/>
                    <a:pt x="16999" y="8231"/>
                  </a:cubicBezTo>
                  <a:cubicBezTo>
                    <a:pt x="20325" y="5854"/>
                    <a:pt x="21600" y="2944"/>
                    <a:pt x="20002" y="838"/>
                  </a:cubicBezTo>
                </a:path>
              </a:pathLst>
            </a:custGeom>
            <a:solidFill>
              <a:srgbClr val="2D6CA3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" name="Shape 990"/>
            <p:cNvSpPr/>
            <p:nvPr/>
          </p:nvSpPr>
          <p:spPr>
            <a:xfrm>
              <a:off x="1173535" y="1617295"/>
              <a:ext cx="444543" cy="5720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974" h="16986" extrusionOk="0">
                  <a:moveTo>
                    <a:pt x="18888" y="11258"/>
                  </a:moveTo>
                  <a:cubicBezTo>
                    <a:pt x="18222" y="6289"/>
                    <a:pt x="15724" y="1998"/>
                    <a:pt x="15724" y="1998"/>
                  </a:cubicBezTo>
                  <a:cubicBezTo>
                    <a:pt x="4449" y="-4031"/>
                    <a:pt x="-2117" y="5129"/>
                    <a:pt x="619" y="9105"/>
                  </a:cubicBezTo>
                  <a:cubicBezTo>
                    <a:pt x="3045" y="12567"/>
                    <a:pt x="6946" y="15979"/>
                    <a:pt x="11966" y="16774"/>
                  </a:cubicBezTo>
                  <a:cubicBezTo>
                    <a:pt x="16938" y="17569"/>
                    <a:pt x="19483" y="16211"/>
                    <a:pt x="18888" y="11258"/>
                  </a:cubicBezTo>
                </a:path>
              </a:pathLst>
            </a:custGeom>
            <a:solidFill>
              <a:srgbClr val="E1FFDC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" name="Shape 991"/>
            <p:cNvSpPr/>
            <p:nvPr/>
          </p:nvSpPr>
          <p:spPr>
            <a:xfrm>
              <a:off x="1355123" y="1631574"/>
              <a:ext cx="267512" cy="5610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50" h="21446" extrusionOk="0">
                  <a:moveTo>
                    <a:pt x="20524" y="14265"/>
                  </a:moveTo>
                  <a:cubicBezTo>
                    <a:pt x="19276" y="7889"/>
                    <a:pt x="16480" y="1557"/>
                    <a:pt x="16480" y="1557"/>
                  </a:cubicBezTo>
                  <a:cubicBezTo>
                    <a:pt x="12994" y="235"/>
                    <a:pt x="7874" y="299"/>
                    <a:pt x="4862" y="0"/>
                  </a:cubicBezTo>
                  <a:cubicBezTo>
                    <a:pt x="5335" y="171"/>
                    <a:pt x="5938" y="362"/>
                    <a:pt x="6540" y="597"/>
                  </a:cubicBezTo>
                  <a:cubicBezTo>
                    <a:pt x="6540" y="597"/>
                    <a:pt x="10800" y="3007"/>
                    <a:pt x="12478" y="6973"/>
                  </a:cubicBezTo>
                  <a:cubicBezTo>
                    <a:pt x="12865" y="7825"/>
                    <a:pt x="11015" y="8231"/>
                    <a:pt x="11273" y="9147"/>
                  </a:cubicBezTo>
                  <a:cubicBezTo>
                    <a:pt x="11531" y="9915"/>
                    <a:pt x="11747" y="11664"/>
                    <a:pt x="12134" y="12516"/>
                  </a:cubicBezTo>
                  <a:cubicBezTo>
                    <a:pt x="14931" y="18892"/>
                    <a:pt x="8864" y="20577"/>
                    <a:pt x="0" y="19681"/>
                  </a:cubicBezTo>
                  <a:cubicBezTo>
                    <a:pt x="2410" y="20513"/>
                    <a:pt x="4862" y="21365"/>
                    <a:pt x="7745" y="21429"/>
                  </a:cubicBezTo>
                  <a:cubicBezTo>
                    <a:pt x="15662" y="21600"/>
                    <a:pt x="21600" y="20577"/>
                    <a:pt x="20524" y="14265"/>
                  </a:cubicBezTo>
                </a:path>
              </a:pathLst>
            </a:custGeom>
            <a:solidFill>
              <a:srgbClr val="CEE2B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" name="Shape 992"/>
            <p:cNvSpPr/>
            <p:nvPr/>
          </p:nvSpPr>
          <p:spPr>
            <a:xfrm>
              <a:off x="1109184" y="3648273"/>
              <a:ext cx="503618" cy="168707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388" extrusionOk="0">
                  <a:moveTo>
                    <a:pt x="0" y="1258"/>
                  </a:moveTo>
                  <a:cubicBezTo>
                    <a:pt x="0" y="1258"/>
                    <a:pt x="11482" y="2142"/>
                    <a:pt x="12439" y="3831"/>
                  </a:cubicBezTo>
                  <a:cubicBezTo>
                    <a:pt x="13371" y="5527"/>
                    <a:pt x="14185" y="9634"/>
                    <a:pt x="14711" y="10630"/>
                  </a:cubicBezTo>
                  <a:cubicBezTo>
                    <a:pt x="15261" y="11606"/>
                    <a:pt x="16218" y="12602"/>
                    <a:pt x="16003" y="13260"/>
                  </a:cubicBezTo>
                  <a:cubicBezTo>
                    <a:pt x="15811" y="13924"/>
                    <a:pt x="16888" y="17373"/>
                    <a:pt x="17366" y="18087"/>
                  </a:cubicBezTo>
                  <a:cubicBezTo>
                    <a:pt x="17821" y="18808"/>
                    <a:pt x="19926" y="20823"/>
                    <a:pt x="19591" y="21218"/>
                  </a:cubicBezTo>
                  <a:cubicBezTo>
                    <a:pt x="19184" y="21600"/>
                    <a:pt x="21600" y="21218"/>
                    <a:pt x="21600" y="21218"/>
                  </a:cubicBezTo>
                  <a:lnTo>
                    <a:pt x="20117" y="17550"/>
                  </a:lnTo>
                  <a:cubicBezTo>
                    <a:pt x="20117" y="17550"/>
                    <a:pt x="19375" y="13104"/>
                    <a:pt x="19041" y="12666"/>
                  </a:cubicBezTo>
                  <a:cubicBezTo>
                    <a:pt x="18634" y="12228"/>
                    <a:pt x="17342" y="6305"/>
                    <a:pt x="17151" y="5485"/>
                  </a:cubicBezTo>
                  <a:cubicBezTo>
                    <a:pt x="16936" y="4665"/>
                    <a:pt x="17414" y="1873"/>
                    <a:pt x="17414" y="1873"/>
                  </a:cubicBezTo>
                  <a:lnTo>
                    <a:pt x="16074" y="0"/>
                  </a:lnTo>
                  <a:lnTo>
                    <a:pt x="0" y="1258"/>
                  </a:lnTo>
                </a:path>
              </a:pathLst>
            </a:custGeom>
            <a:solidFill>
              <a:srgbClr val="1456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" name="Shape 993"/>
            <p:cNvSpPr/>
            <p:nvPr/>
          </p:nvSpPr>
          <p:spPr>
            <a:xfrm>
              <a:off x="557777" y="4141789"/>
              <a:ext cx="511500" cy="6997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15" h="19712" extrusionOk="0">
                  <a:moveTo>
                    <a:pt x="21415" y="112"/>
                  </a:moveTo>
                  <a:cubicBezTo>
                    <a:pt x="21415" y="112"/>
                    <a:pt x="20155" y="7652"/>
                    <a:pt x="17520" y="10574"/>
                  </a:cubicBezTo>
                  <a:cubicBezTo>
                    <a:pt x="14884" y="13512"/>
                    <a:pt x="8492" y="18240"/>
                    <a:pt x="5996" y="19481"/>
                  </a:cubicBezTo>
                  <a:cubicBezTo>
                    <a:pt x="3477" y="20722"/>
                    <a:pt x="212" y="16559"/>
                    <a:pt x="2" y="16198"/>
                  </a:cubicBezTo>
                  <a:cubicBezTo>
                    <a:pt x="-185" y="15836"/>
                    <a:pt x="14487" y="6929"/>
                    <a:pt x="15560" y="5955"/>
                  </a:cubicBezTo>
                  <a:cubicBezTo>
                    <a:pt x="16656" y="4981"/>
                    <a:pt x="21415" y="-878"/>
                    <a:pt x="21415" y="112"/>
                  </a:cubicBezTo>
                </a:path>
              </a:pathLst>
            </a:custGeom>
            <a:solidFill>
              <a:srgbClr val="2D6CA3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" name="Shape 994"/>
            <p:cNvSpPr/>
            <p:nvPr/>
          </p:nvSpPr>
          <p:spPr>
            <a:xfrm>
              <a:off x="1930583" y="3296580"/>
              <a:ext cx="162155" cy="2375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5187" h="19722" extrusionOk="0">
                  <a:moveTo>
                    <a:pt x="12808" y="0"/>
                  </a:moveTo>
                  <a:cubicBezTo>
                    <a:pt x="12808" y="0"/>
                    <a:pt x="2503" y="508"/>
                    <a:pt x="473" y="7662"/>
                  </a:cubicBezTo>
                  <a:cubicBezTo>
                    <a:pt x="-1609" y="14815"/>
                    <a:pt x="3700" y="21600"/>
                    <a:pt x="6354" y="19246"/>
                  </a:cubicBezTo>
                  <a:cubicBezTo>
                    <a:pt x="8853" y="16892"/>
                    <a:pt x="19991" y="6369"/>
                    <a:pt x="12808" y="0"/>
                  </a:cubicBezTo>
                </a:path>
              </a:pathLst>
            </a:custGeom>
            <a:solidFill>
              <a:srgbClr val="E3FFF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" name="Shape 995"/>
            <p:cNvSpPr/>
            <p:nvPr/>
          </p:nvSpPr>
          <p:spPr>
            <a:xfrm>
              <a:off x="1973882" y="3333470"/>
              <a:ext cx="221078" cy="3635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892" h="19030" extrusionOk="0">
                  <a:moveTo>
                    <a:pt x="443" y="2776"/>
                  </a:moveTo>
                  <a:cubicBezTo>
                    <a:pt x="443" y="2776"/>
                    <a:pt x="-1175" y="6153"/>
                    <a:pt x="1775" y="10083"/>
                  </a:cubicBezTo>
                  <a:cubicBezTo>
                    <a:pt x="4725" y="14042"/>
                    <a:pt x="9149" y="16545"/>
                    <a:pt x="8340" y="18030"/>
                  </a:cubicBezTo>
                  <a:cubicBezTo>
                    <a:pt x="7532" y="19427"/>
                    <a:pt x="16143" y="20184"/>
                    <a:pt x="18284" y="14537"/>
                  </a:cubicBezTo>
                  <a:cubicBezTo>
                    <a:pt x="20425" y="8860"/>
                    <a:pt x="16666" y="4668"/>
                    <a:pt x="10910" y="1291"/>
                  </a:cubicBezTo>
                  <a:cubicBezTo>
                    <a:pt x="6342" y="-1416"/>
                    <a:pt x="1394" y="651"/>
                    <a:pt x="443" y="2776"/>
                  </a:cubicBezTo>
                </a:path>
              </a:pathLst>
            </a:custGeom>
            <a:solidFill>
              <a:srgbClr val="CEE2B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40" name="Shape 996"/>
            <p:cNvSpPr/>
            <p:nvPr/>
          </p:nvSpPr>
          <p:spPr>
            <a:xfrm>
              <a:off x="2015086" y="3345767"/>
              <a:ext cx="180591" cy="2312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070" h="18675" extrusionOk="0">
                  <a:moveTo>
                    <a:pt x="4172" y="0"/>
                  </a:moveTo>
                  <a:cubicBezTo>
                    <a:pt x="4172" y="0"/>
                    <a:pt x="-3530" y="2300"/>
                    <a:pt x="1996" y="7891"/>
                  </a:cubicBezTo>
                  <a:cubicBezTo>
                    <a:pt x="7465" y="13483"/>
                    <a:pt x="10647" y="7846"/>
                    <a:pt x="12377" y="14746"/>
                  </a:cubicBezTo>
                  <a:cubicBezTo>
                    <a:pt x="14107" y="21600"/>
                    <a:pt x="18070" y="18083"/>
                    <a:pt x="18070" y="14746"/>
                  </a:cubicBezTo>
                  <a:cubicBezTo>
                    <a:pt x="18070" y="11454"/>
                    <a:pt x="14554" y="2796"/>
                    <a:pt x="4172" y="0"/>
                  </a:cubicBezTo>
                </a:path>
              </a:pathLst>
            </a:custGeom>
            <a:solidFill>
              <a:srgbClr val="DFFFD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41" name="Shape 997"/>
            <p:cNvSpPr/>
            <p:nvPr/>
          </p:nvSpPr>
          <p:spPr>
            <a:xfrm>
              <a:off x="1131945" y="1582672"/>
              <a:ext cx="463641" cy="4467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411" h="20461" extrusionOk="0">
                  <a:moveTo>
                    <a:pt x="19411" y="1462"/>
                  </a:moveTo>
                  <a:cubicBezTo>
                    <a:pt x="19411" y="1462"/>
                    <a:pt x="18430" y="8373"/>
                    <a:pt x="7362" y="8781"/>
                  </a:cubicBezTo>
                  <a:cubicBezTo>
                    <a:pt x="8156" y="10745"/>
                    <a:pt x="7899" y="16126"/>
                    <a:pt x="8809" y="18293"/>
                  </a:cubicBezTo>
                  <a:cubicBezTo>
                    <a:pt x="9136" y="19084"/>
                    <a:pt x="8086" y="18650"/>
                    <a:pt x="8086" y="18650"/>
                  </a:cubicBezTo>
                  <a:cubicBezTo>
                    <a:pt x="5447" y="15208"/>
                    <a:pt x="3672" y="17579"/>
                    <a:pt x="4933" y="20461"/>
                  </a:cubicBezTo>
                  <a:cubicBezTo>
                    <a:pt x="1687" y="19007"/>
                    <a:pt x="-2189" y="8781"/>
                    <a:pt x="1501" y="3910"/>
                  </a:cubicBezTo>
                  <a:cubicBezTo>
                    <a:pt x="6428" y="-1139"/>
                    <a:pt x="12826" y="-425"/>
                    <a:pt x="16726" y="1233"/>
                  </a:cubicBezTo>
                  <a:cubicBezTo>
                    <a:pt x="17520" y="1513"/>
                    <a:pt x="18827" y="1105"/>
                    <a:pt x="19411" y="1462"/>
                  </a:cubicBezTo>
                </a:path>
              </a:pathLst>
            </a:custGeom>
            <a:solidFill>
              <a:srgbClr val="00262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42" name="Shape 998"/>
            <p:cNvSpPr/>
            <p:nvPr/>
          </p:nvSpPr>
          <p:spPr>
            <a:xfrm>
              <a:off x="2347771" y="3397417"/>
              <a:ext cx="388025" cy="381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816"/>
                  </a:moveTo>
                  <a:cubicBezTo>
                    <a:pt x="21600" y="12779"/>
                    <a:pt x="21164" y="14494"/>
                    <a:pt x="20168" y="16208"/>
                  </a:cubicBezTo>
                  <a:cubicBezTo>
                    <a:pt x="19172" y="17953"/>
                    <a:pt x="17927" y="19169"/>
                    <a:pt x="16216" y="20166"/>
                  </a:cubicBezTo>
                  <a:cubicBezTo>
                    <a:pt x="14473" y="21164"/>
                    <a:pt x="12792" y="21600"/>
                    <a:pt x="10800" y="21600"/>
                  </a:cubicBezTo>
                  <a:cubicBezTo>
                    <a:pt x="8808" y="21600"/>
                    <a:pt x="7096" y="21164"/>
                    <a:pt x="5384" y="20166"/>
                  </a:cubicBezTo>
                  <a:cubicBezTo>
                    <a:pt x="3641" y="19169"/>
                    <a:pt x="2428" y="17953"/>
                    <a:pt x="1432" y="16208"/>
                  </a:cubicBezTo>
                  <a:cubicBezTo>
                    <a:pt x="436" y="14494"/>
                    <a:pt x="0" y="12779"/>
                    <a:pt x="0" y="10816"/>
                  </a:cubicBezTo>
                  <a:cubicBezTo>
                    <a:pt x="0" y="8821"/>
                    <a:pt x="436" y="7138"/>
                    <a:pt x="1432" y="5423"/>
                  </a:cubicBezTo>
                  <a:cubicBezTo>
                    <a:pt x="2428" y="3678"/>
                    <a:pt x="3641" y="2431"/>
                    <a:pt x="5384" y="1465"/>
                  </a:cubicBezTo>
                  <a:cubicBezTo>
                    <a:pt x="7096" y="468"/>
                    <a:pt x="8808" y="0"/>
                    <a:pt x="10800" y="0"/>
                  </a:cubicBezTo>
                  <a:cubicBezTo>
                    <a:pt x="12792" y="0"/>
                    <a:pt x="14473" y="468"/>
                    <a:pt x="16216" y="1465"/>
                  </a:cubicBezTo>
                  <a:cubicBezTo>
                    <a:pt x="17927" y="2431"/>
                    <a:pt x="19172" y="3678"/>
                    <a:pt x="20168" y="5423"/>
                  </a:cubicBezTo>
                  <a:cubicBezTo>
                    <a:pt x="21164" y="7138"/>
                    <a:pt x="21600" y="8821"/>
                    <a:pt x="21600" y="10816"/>
                  </a:cubicBezTo>
                </a:path>
              </a:pathLst>
            </a:custGeom>
            <a:solidFill>
              <a:schemeClr val="tx2"/>
            </a:solidFill>
            <a:ln w="3175" cap="flat">
              <a:solidFill>
                <a:schemeClr val="tx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43" name="Shape 999"/>
            <p:cNvSpPr/>
            <p:nvPr/>
          </p:nvSpPr>
          <p:spPr>
            <a:xfrm>
              <a:off x="5202585" y="1433524"/>
              <a:ext cx="587238" cy="2847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51" y="3431"/>
                  </a:moveTo>
                  <a:cubicBezTo>
                    <a:pt x="8886" y="3431"/>
                    <a:pt x="7268" y="6776"/>
                    <a:pt x="7268" y="10842"/>
                  </a:cubicBezTo>
                  <a:cubicBezTo>
                    <a:pt x="7268" y="14908"/>
                    <a:pt x="8886" y="18254"/>
                    <a:pt x="10851" y="18254"/>
                  </a:cubicBezTo>
                  <a:cubicBezTo>
                    <a:pt x="12817" y="18254"/>
                    <a:pt x="14434" y="14908"/>
                    <a:pt x="14434" y="10842"/>
                  </a:cubicBezTo>
                  <a:cubicBezTo>
                    <a:pt x="14434" y="6776"/>
                    <a:pt x="12817" y="3431"/>
                    <a:pt x="10851" y="3431"/>
                  </a:cubicBezTo>
                  <a:close/>
                  <a:moveTo>
                    <a:pt x="11199" y="15289"/>
                  </a:moveTo>
                  <a:lnTo>
                    <a:pt x="11199" y="16602"/>
                  </a:lnTo>
                  <a:lnTo>
                    <a:pt x="10503" y="16602"/>
                  </a:lnTo>
                  <a:lnTo>
                    <a:pt x="10503" y="15416"/>
                  </a:lnTo>
                  <a:cubicBezTo>
                    <a:pt x="10155" y="15416"/>
                    <a:pt x="9582" y="15035"/>
                    <a:pt x="9357" y="14908"/>
                  </a:cubicBezTo>
                  <a:lnTo>
                    <a:pt x="9582" y="13256"/>
                  </a:lnTo>
                  <a:cubicBezTo>
                    <a:pt x="9807" y="13595"/>
                    <a:pt x="10278" y="13849"/>
                    <a:pt x="10687" y="13849"/>
                  </a:cubicBezTo>
                  <a:cubicBezTo>
                    <a:pt x="11138" y="13849"/>
                    <a:pt x="11363" y="13468"/>
                    <a:pt x="11363" y="12875"/>
                  </a:cubicBezTo>
                  <a:cubicBezTo>
                    <a:pt x="11363" y="12282"/>
                    <a:pt x="11199" y="12071"/>
                    <a:pt x="10687" y="11562"/>
                  </a:cubicBezTo>
                  <a:cubicBezTo>
                    <a:pt x="9930" y="11096"/>
                    <a:pt x="9459" y="10249"/>
                    <a:pt x="9459" y="8936"/>
                  </a:cubicBezTo>
                  <a:cubicBezTo>
                    <a:pt x="9459" y="7624"/>
                    <a:pt x="9868" y="6692"/>
                    <a:pt x="10565" y="6311"/>
                  </a:cubicBezTo>
                  <a:lnTo>
                    <a:pt x="10565" y="5125"/>
                  </a:lnTo>
                  <a:lnTo>
                    <a:pt x="11261" y="5125"/>
                  </a:lnTo>
                  <a:lnTo>
                    <a:pt x="11261" y="6311"/>
                  </a:lnTo>
                  <a:cubicBezTo>
                    <a:pt x="11609" y="6311"/>
                    <a:pt x="12018" y="6565"/>
                    <a:pt x="12243" y="6776"/>
                  </a:cubicBezTo>
                  <a:lnTo>
                    <a:pt x="12018" y="8471"/>
                  </a:lnTo>
                  <a:cubicBezTo>
                    <a:pt x="11834" y="8344"/>
                    <a:pt x="11486" y="8089"/>
                    <a:pt x="11076" y="8089"/>
                  </a:cubicBezTo>
                  <a:cubicBezTo>
                    <a:pt x="10687" y="8089"/>
                    <a:pt x="10442" y="8471"/>
                    <a:pt x="10442" y="8936"/>
                  </a:cubicBezTo>
                  <a:cubicBezTo>
                    <a:pt x="10442" y="9529"/>
                    <a:pt x="10687" y="9784"/>
                    <a:pt x="11261" y="10249"/>
                  </a:cubicBezTo>
                  <a:cubicBezTo>
                    <a:pt x="12018" y="10842"/>
                    <a:pt x="12407" y="11647"/>
                    <a:pt x="12407" y="12875"/>
                  </a:cubicBezTo>
                  <a:cubicBezTo>
                    <a:pt x="12407" y="14061"/>
                    <a:pt x="11834" y="15035"/>
                    <a:pt x="11199" y="15289"/>
                  </a:cubicBezTo>
                  <a:close/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  <a:lnTo>
                    <a:pt x="21600" y="0"/>
                  </a:lnTo>
                  <a:lnTo>
                    <a:pt x="0" y="0"/>
                  </a:lnTo>
                  <a:close/>
                  <a:moveTo>
                    <a:pt x="20617" y="6692"/>
                  </a:moveTo>
                  <a:lnTo>
                    <a:pt x="20617" y="14908"/>
                  </a:lnTo>
                  <a:cubicBezTo>
                    <a:pt x="19573" y="15501"/>
                    <a:pt x="18775" y="17322"/>
                    <a:pt x="18488" y="19101"/>
                  </a:cubicBezTo>
                  <a:lnTo>
                    <a:pt x="3173" y="19101"/>
                  </a:lnTo>
                  <a:cubicBezTo>
                    <a:pt x="2887" y="17322"/>
                    <a:pt x="2068" y="15501"/>
                    <a:pt x="1024" y="14908"/>
                  </a:cubicBezTo>
                  <a:lnTo>
                    <a:pt x="1024" y="6692"/>
                  </a:lnTo>
                  <a:cubicBezTo>
                    <a:pt x="2068" y="6056"/>
                    <a:pt x="2887" y="4405"/>
                    <a:pt x="3173" y="2245"/>
                  </a:cubicBezTo>
                  <a:lnTo>
                    <a:pt x="18488" y="2245"/>
                  </a:lnTo>
                  <a:cubicBezTo>
                    <a:pt x="18713" y="4405"/>
                    <a:pt x="19512" y="6184"/>
                    <a:pt x="20617" y="6692"/>
                  </a:cubicBezTo>
                  <a:close/>
                </a:path>
              </a:pathLst>
            </a:custGeom>
            <a:solidFill>
              <a:srgbClr val="355C7D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44" name="Shape 1000"/>
            <p:cNvSpPr/>
            <p:nvPr/>
          </p:nvSpPr>
          <p:spPr>
            <a:xfrm>
              <a:off x="5938904" y="1304942"/>
              <a:ext cx="4736008" cy="426808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noAutofit/>
            </a:bodyPr>
            <a:lstStyle>
              <a:lvl1pPr algn="l" defTabSz="590133">
                <a:lnSpc>
                  <a:spcPct val="93000"/>
                </a:lnSpc>
                <a:tabLst>
                  <a:tab pos="584200" algn="l"/>
                  <a:tab pos="1168400" algn="l"/>
                  <a:tab pos="1765300" algn="l"/>
                  <a:tab pos="2349500" algn="l"/>
                  <a:tab pos="2946400" algn="l"/>
                  <a:tab pos="3530600" algn="l"/>
                  <a:tab pos="4127500" algn="l"/>
                  <a:tab pos="4711700" algn="l"/>
                  <a:tab pos="5308600" algn="l"/>
                  <a:tab pos="5892800" algn="l"/>
                  <a:tab pos="6489700" algn="l"/>
                  <a:tab pos="7073900" algn="l"/>
                  <a:tab pos="7670800" algn="l"/>
                  <a:tab pos="8255000" algn="l"/>
                  <a:tab pos="8851900" algn="l"/>
                  <a:tab pos="9436100" algn="l"/>
                  <a:tab pos="10020300" algn="l"/>
                  <a:tab pos="10617200" algn="l"/>
                  <a:tab pos="11201400" algn="l"/>
                  <a:tab pos="11798300" algn="l"/>
                </a:tabLst>
                <a:defRPr sz="2400">
                  <a:solidFill>
                    <a:srgbClr val="726658"/>
                  </a:solidFill>
                  <a:latin typeface="Roboto Bold"/>
                  <a:ea typeface="Roboto Bold"/>
                  <a:cs typeface="Roboto Bold"/>
                  <a:sym typeface="Roboto Bold"/>
                </a:defRPr>
              </a:lvl1pPr>
            </a:lstStyle>
            <a:p>
              <a:r>
                <a:rPr lang="en-US" dirty="0" smtClean="0"/>
                <a:t>Open your own business </a:t>
              </a:r>
              <a:endParaRPr lang="en-US" dirty="0"/>
            </a:p>
          </p:txBody>
        </p:sp>
        <p:sp>
          <p:nvSpPr>
            <p:cNvPr id="45" name="Shape 1005"/>
            <p:cNvSpPr/>
            <p:nvPr/>
          </p:nvSpPr>
          <p:spPr>
            <a:xfrm>
              <a:off x="8475054" y="1552873"/>
              <a:ext cx="41253" cy="412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652"/>
                  </a:moveTo>
                  <a:cubicBezTo>
                    <a:pt x="21600" y="12723"/>
                    <a:pt x="21308" y="14499"/>
                    <a:pt x="20141" y="16274"/>
                  </a:cubicBezTo>
                  <a:cubicBezTo>
                    <a:pt x="19265" y="18049"/>
                    <a:pt x="17805" y="18937"/>
                    <a:pt x="16054" y="20121"/>
                  </a:cubicBezTo>
                  <a:cubicBezTo>
                    <a:pt x="14303" y="21008"/>
                    <a:pt x="12843" y="21600"/>
                    <a:pt x="10800" y="21600"/>
                  </a:cubicBezTo>
                  <a:cubicBezTo>
                    <a:pt x="8757" y="21600"/>
                    <a:pt x="7005" y="21008"/>
                    <a:pt x="5254" y="20121"/>
                  </a:cubicBezTo>
                  <a:cubicBezTo>
                    <a:pt x="3795" y="18937"/>
                    <a:pt x="2335" y="18049"/>
                    <a:pt x="1459" y="16274"/>
                  </a:cubicBezTo>
                  <a:cubicBezTo>
                    <a:pt x="584" y="14499"/>
                    <a:pt x="0" y="12427"/>
                    <a:pt x="0" y="10652"/>
                  </a:cubicBezTo>
                  <a:cubicBezTo>
                    <a:pt x="0" y="8581"/>
                    <a:pt x="584" y="7101"/>
                    <a:pt x="1459" y="5326"/>
                  </a:cubicBezTo>
                  <a:cubicBezTo>
                    <a:pt x="2335" y="3551"/>
                    <a:pt x="3795" y="2367"/>
                    <a:pt x="5254" y="1479"/>
                  </a:cubicBezTo>
                  <a:cubicBezTo>
                    <a:pt x="7005" y="296"/>
                    <a:pt x="8757" y="0"/>
                    <a:pt x="10800" y="0"/>
                  </a:cubicBezTo>
                  <a:cubicBezTo>
                    <a:pt x="12843" y="0"/>
                    <a:pt x="14303" y="296"/>
                    <a:pt x="16054" y="1479"/>
                  </a:cubicBezTo>
                  <a:cubicBezTo>
                    <a:pt x="17805" y="2367"/>
                    <a:pt x="19265" y="3551"/>
                    <a:pt x="20141" y="5326"/>
                  </a:cubicBezTo>
                  <a:cubicBezTo>
                    <a:pt x="21308" y="7101"/>
                    <a:pt x="21600" y="8877"/>
                    <a:pt x="21600" y="10652"/>
                  </a:cubicBezTo>
                </a:path>
              </a:pathLst>
            </a:custGeom>
            <a:solidFill>
              <a:srgbClr val="355C7D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sp>
        <p:nvSpPr>
          <p:cNvPr id="46" name="Rechteck 45"/>
          <p:cNvSpPr/>
          <p:nvPr/>
        </p:nvSpPr>
        <p:spPr>
          <a:xfrm>
            <a:off x="4900538" y="4790413"/>
            <a:ext cx="405110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rPr>
              <a:t>Start a </a:t>
            </a:r>
            <a:r>
              <a:rPr lang="de-DE" sz="2400" dirty="0" err="1" smtClean="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rPr>
              <a:t>career</a:t>
            </a:r>
            <a:r>
              <a:rPr lang="de-DE" sz="2400" dirty="0" smtClean="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rPr>
              <a:t> in a </a:t>
            </a:r>
            <a:r>
              <a:rPr lang="de-DE" sz="2400" dirty="0" err="1" smtClean="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rPr>
              <a:t>company</a:t>
            </a:r>
            <a:r>
              <a:rPr lang="de-DE" sz="2400" dirty="0" smtClean="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rPr>
              <a:t> </a:t>
            </a:r>
            <a:endParaRPr lang="de-DE" sz="2400" dirty="0">
              <a:solidFill>
                <a:srgbClr val="726658"/>
              </a:solidFill>
              <a:latin typeface="Roboto Bold"/>
              <a:ea typeface="Roboto Bold"/>
              <a:cs typeface="Roboto Bold"/>
              <a:sym typeface="Roboto Bold"/>
            </a:endParaRPr>
          </a:p>
        </p:txBody>
      </p:sp>
      <p:grpSp>
        <p:nvGrpSpPr>
          <p:cNvPr id="47" name="bcgIcons_Bank">
            <a:extLst>
              <a:ext uri="{FF2B5EF4-FFF2-40B4-BE49-F238E27FC236}">
                <a16:creationId xmlns:a16="http://schemas.microsoft.com/office/drawing/2014/main" id="{B9CD3580-432D-4508-8A81-DA65CF6E70D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463781" y="4727375"/>
            <a:ext cx="521216" cy="565174"/>
            <a:chOff x="1682" y="0"/>
            <a:chExt cx="4316" cy="4320"/>
          </a:xfrm>
        </p:grpSpPr>
        <p:sp>
          <p:nvSpPr>
            <p:cNvPr id="48" name="AutoShape 3">
              <a:extLst>
                <a:ext uri="{FF2B5EF4-FFF2-40B4-BE49-F238E27FC236}">
                  <a16:creationId xmlns:a16="http://schemas.microsoft.com/office/drawing/2014/main" id="{9C346E6B-E788-44C6-9740-941EE2A207B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9" name="Freeform 5">
              <a:extLst>
                <a:ext uri="{FF2B5EF4-FFF2-40B4-BE49-F238E27FC236}">
                  <a16:creationId xmlns:a16="http://schemas.microsoft.com/office/drawing/2014/main" id="{61EEF2F3-5E32-48A7-A4F8-F3841294A9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24" y="418"/>
              <a:ext cx="3428" cy="3454"/>
            </a:xfrm>
            <a:custGeom>
              <a:avLst/>
              <a:gdLst>
                <a:gd name="T0" fmla="*/ 1807 w 1830"/>
                <a:gd name="T1" fmla="*/ 1666 h 1842"/>
                <a:gd name="T2" fmla="*/ 1708 w 1830"/>
                <a:gd name="T3" fmla="*/ 1666 h 1842"/>
                <a:gd name="T4" fmla="*/ 1708 w 1830"/>
                <a:gd name="T5" fmla="*/ 1616 h 1842"/>
                <a:gd name="T6" fmla="*/ 1686 w 1830"/>
                <a:gd name="T7" fmla="*/ 1594 h 1842"/>
                <a:gd name="T8" fmla="*/ 144 w 1830"/>
                <a:gd name="T9" fmla="*/ 1594 h 1842"/>
                <a:gd name="T10" fmla="*/ 122 w 1830"/>
                <a:gd name="T11" fmla="*/ 1616 h 1842"/>
                <a:gd name="T12" fmla="*/ 122 w 1830"/>
                <a:gd name="T13" fmla="*/ 1666 h 1842"/>
                <a:gd name="T14" fmla="*/ 23 w 1830"/>
                <a:gd name="T15" fmla="*/ 1666 h 1842"/>
                <a:gd name="T16" fmla="*/ 1 w 1830"/>
                <a:gd name="T17" fmla="*/ 1688 h 1842"/>
                <a:gd name="T18" fmla="*/ 1 w 1830"/>
                <a:gd name="T19" fmla="*/ 1820 h 1842"/>
                <a:gd name="T20" fmla="*/ 23 w 1830"/>
                <a:gd name="T21" fmla="*/ 1842 h 1842"/>
                <a:gd name="T22" fmla="*/ 1807 w 1830"/>
                <a:gd name="T23" fmla="*/ 1842 h 1842"/>
                <a:gd name="T24" fmla="*/ 1829 w 1830"/>
                <a:gd name="T25" fmla="*/ 1820 h 1842"/>
                <a:gd name="T26" fmla="*/ 1829 w 1830"/>
                <a:gd name="T27" fmla="*/ 1688 h 1842"/>
                <a:gd name="T28" fmla="*/ 1807 w 1830"/>
                <a:gd name="T29" fmla="*/ 1666 h 1842"/>
                <a:gd name="T30" fmla="*/ 1818 w 1830"/>
                <a:gd name="T31" fmla="*/ 441 h 1842"/>
                <a:gd name="T32" fmla="*/ 925 w 1830"/>
                <a:gd name="T33" fmla="*/ 3 h 1842"/>
                <a:gd name="T34" fmla="*/ 905 w 1830"/>
                <a:gd name="T35" fmla="*/ 3 h 1842"/>
                <a:gd name="T36" fmla="*/ 12 w 1830"/>
                <a:gd name="T37" fmla="*/ 441 h 1842"/>
                <a:gd name="T38" fmla="*/ 0 w 1830"/>
                <a:gd name="T39" fmla="*/ 461 h 1842"/>
                <a:gd name="T40" fmla="*/ 0 w 1830"/>
                <a:gd name="T41" fmla="*/ 533 h 1842"/>
                <a:gd name="T42" fmla="*/ 22 w 1830"/>
                <a:gd name="T43" fmla="*/ 555 h 1842"/>
                <a:gd name="T44" fmla="*/ 169 w 1830"/>
                <a:gd name="T45" fmla="*/ 555 h 1842"/>
                <a:gd name="T46" fmla="*/ 169 w 1830"/>
                <a:gd name="T47" fmla="*/ 641 h 1842"/>
                <a:gd name="T48" fmla="*/ 191 w 1830"/>
                <a:gd name="T49" fmla="*/ 663 h 1842"/>
                <a:gd name="T50" fmla="*/ 1639 w 1830"/>
                <a:gd name="T51" fmla="*/ 663 h 1842"/>
                <a:gd name="T52" fmla="*/ 1661 w 1830"/>
                <a:gd name="T53" fmla="*/ 641 h 1842"/>
                <a:gd name="T54" fmla="*/ 1661 w 1830"/>
                <a:gd name="T55" fmla="*/ 555 h 1842"/>
                <a:gd name="T56" fmla="*/ 1808 w 1830"/>
                <a:gd name="T57" fmla="*/ 555 h 1842"/>
                <a:gd name="T58" fmla="*/ 1830 w 1830"/>
                <a:gd name="T59" fmla="*/ 533 h 1842"/>
                <a:gd name="T60" fmla="*/ 1830 w 1830"/>
                <a:gd name="T61" fmla="*/ 461 h 1842"/>
                <a:gd name="T62" fmla="*/ 1818 w 1830"/>
                <a:gd name="T63" fmla="*/ 441 h 1842"/>
                <a:gd name="T64" fmla="*/ 1617 w 1830"/>
                <a:gd name="T65" fmla="*/ 619 h 1842"/>
                <a:gd name="T66" fmla="*/ 213 w 1830"/>
                <a:gd name="T67" fmla="*/ 619 h 1842"/>
                <a:gd name="T68" fmla="*/ 213 w 1830"/>
                <a:gd name="T69" fmla="*/ 555 h 1842"/>
                <a:gd name="T70" fmla="*/ 1617 w 1830"/>
                <a:gd name="T71" fmla="*/ 555 h 1842"/>
                <a:gd name="T72" fmla="*/ 1617 w 1830"/>
                <a:gd name="T73" fmla="*/ 619 h 1842"/>
                <a:gd name="T74" fmla="*/ 1786 w 1830"/>
                <a:gd name="T75" fmla="*/ 511 h 1842"/>
                <a:gd name="T76" fmla="*/ 1661 w 1830"/>
                <a:gd name="T77" fmla="*/ 511 h 1842"/>
                <a:gd name="T78" fmla="*/ 1617 w 1830"/>
                <a:gd name="T79" fmla="*/ 511 h 1842"/>
                <a:gd name="T80" fmla="*/ 213 w 1830"/>
                <a:gd name="T81" fmla="*/ 511 h 1842"/>
                <a:gd name="T82" fmla="*/ 169 w 1830"/>
                <a:gd name="T83" fmla="*/ 511 h 1842"/>
                <a:gd name="T84" fmla="*/ 44 w 1830"/>
                <a:gd name="T85" fmla="*/ 511 h 1842"/>
                <a:gd name="T86" fmla="*/ 44 w 1830"/>
                <a:gd name="T87" fmla="*/ 474 h 1842"/>
                <a:gd name="T88" fmla="*/ 915 w 1830"/>
                <a:gd name="T89" fmla="*/ 47 h 1842"/>
                <a:gd name="T90" fmla="*/ 1786 w 1830"/>
                <a:gd name="T91" fmla="*/ 474 h 1842"/>
                <a:gd name="T92" fmla="*/ 1786 w 1830"/>
                <a:gd name="T93" fmla="*/ 511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830" h="1842">
                  <a:moveTo>
                    <a:pt x="1807" y="1666"/>
                  </a:moveTo>
                  <a:cubicBezTo>
                    <a:pt x="1708" y="1666"/>
                    <a:pt x="1708" y="1666"/>
                    <a:pt x="1708" y="1666"/>
                  </a:cubicBezTo>
                  <a:cubicBezTo>
                    <a:pt x="1708" y="1616"/>
                    <a:pt x="1708" y="1616"/>
                    <a:pt x="1708" y="1616"/>
                  </a:cubicBezTo>
                  <a:cubicBezTo>
                    <a:pt x="1708" y="1603"/>
                    <a:pt x="1699" y="1594"/>
                    <a:pt x="1686" y="1594"/>
                  </a:cubicBezTo>
                  <a:cubicBezTo>
                    <a:pt x="144" y="1594"/>
                    <a:pt x="144" y="1594"/>
                    <a:pt x="144" y="1594"/>
                  </a:cubicBezTo>
                  <a:cubicBezTo>
                    <a:pt x="131" y="1594"/>
                    <a:pt x="122" y="1603"/>
                    <a:pt x="122" y="1616"/>
                  </a:cubicBezTo>
                  <a:cubicBezTo>
                    <a:pt x="122" y="1666"/>
                    <a:pt x="122" y="1666"/>
                    <a:pt x="122" y="1666"/>
                  </a:cubicBezTo>
                  <a:cubicBezTo>
                    <a:pt x="23" y="1666"/>
                    <a:pt x="23" y="1666"/>
                    <a:pt x="23" y="1666"/>
                  </a:cubicBezTo>
                  <a:cubicBezTo>
                    <a:pt x="11" y="1666"/>
                    <a:pt x="1" y="1675"/>
                    <a:pt x="1" y="1688"/>
                  </a:cubicBezTo>
                  <a:cubicBezTo>
                    <a:pt x="1" y="1820"/>
                    <a:pt x="1" y="1820"/>
                    <a:pt x="1" y="1820"/>
                  </a:cubicBezTo>
                  <a:cubicBezTo>
                    <a:pt x="1" y="1832"/>
                    <a:pt x="11" y="1842"/>
                    <a:pt x="23" y="1842"/>
                  </a:cubicBezTo>
                  <a:cubicBezTo>
                    <a:pt x="1807" y="1842"/>
                    <a:pt x="1807" y="1842"/>
                    <a:pt x="1807" y="1842"/>
                  </a:cubicBezTo>
                  <a:cubicBezTo>
                    <a:pt x="1819" y="1842"/>
                    <a:pt x="1829" y="1832"/>
                    <a:pt x="1829" y="1820"/>
                  </a:cubicBezTo>
                  <a:cubicBezTo>
                    <a:pt x="1829" y="1688"/>
                    <a:pt x="1829" y="1688"/>
                    <a:pt x="1829" y="1688"/>
                  </a:cubicBezTo>
                  <a:cubicBezTo>
                    <a:pt x="1829" y="1675"/>
                    <a:pt x="1819" y="1666"/>
                    <a:pt x="1807" y="1666"/>
                  </a:cubicBezTo>
                  <a:close/>
                  <a:moveTo>
                    <a:pt x="1818" y="441"/>
                  </a:moveTo>
                  <a:cubicBezTo>
                    <a:pt x="925" y="3"/>
                    <a:pt x="925" y="3"/>
                    <a:pt x="925" y="3"/>
                  </a:cubicBezTo>
                  <a:cubicBezTo>
                    <a:pt x="919" y="0"/>
                    <a:pt x="911" y="0"/>
                    <a:pt x="905" y="3"/>
                  </a:cubicBezTo>
                  <a:cubicBezTo>
                    <a:pt x="12" y="441"/>
                    <a:pt x="12" y="441"/>
                    <a:pt x="12" y="441"/>
                  </a:cubicBezTo>
                  <a:cubicBezTo>
                    <a:pt x="5" y="445"/>
                    <a:pt x="0" y="452"/>
                    <a:pt x="0" y="461"/>
                  </a:cubicBezTo>
                  <a:cubicBezTo>
                    <a:pt x="0" y="533"/>
                    <a:pt x="0" y="533"/>
                    <a:pt x="0" y="533"/>
                  </a:cubicBezTo>
                  <a:cubicBezTo>
                    <a:pt x="0" y="545"/>
                    <a:pt x="10" y="555"/>
                    <a:pt x="22" y="555"/>
                  </a:cubicBezTo>
                  <a:cubicBezTo>
                    <a:pt x="169" y="555"/>
                    <a:pt x="169" y="555"/>
                    <a:pt x="169" y="555"/>
                  </a:cubicBezTo>
                  <a:cubicBezTo>
                    <a:pt x="169" y="641"/>
                    <a:pt x="169" y="641"/>
                    <a:pt x="169" y="641"/>
                  </a:cubicBezTo>
                  <a:cubicBezTo>
                    <a:pt x="169" y="654"/>
                    <a:pt x="179" y="663"/>
                    <a:pt x="191" y="663"/>
                  </a:cubicBezTo>
                  <a:cubicBezTo>
                    <a:pt x="1639" y="663"/>
                    <a:pt x="1639" y="663"/>
                    <a:pt x="1639" y="663"/>
                  </a:cubicBezTo>
                  <a:cubicBezTo>
                    <a:pt x="1651" y="663"/>
                    <a:pt x="1661" y="654"/>
                    <a:pt x="1661" y="641"/>
                  </a:cubicBezTo>
                  <a:cubicBezTo>
                    <a:pt x="1661" y="555"/>
                    <a:pt x="1661" y="555"/>
                    <a:pt x="1661" y="555"/>
                  </a:cubicBezTo>
                  <a:cubicBezTo>
                    <a:pt x="1808" y="555"/>
                    <a:pt x="1808" y="555"/>
                    <a:pt x="1808" y="555"/>
                  </a:cubicBezTo>
                  <a:cubicBezTo>
                    <a:pt x="1820" y="555"/>
                    <a:pt x="1830" y="545"/>
                    <a:pt x="1830" y="533"/>
                  </a:cubicBezTo>
                  <a:cubicBezTo>
                    <a:pt x="1830" y="461"/>
                    <a:pt x="1830" y="461"/>
                    <a:pt x="1830" y="461"/>
                  </a:cubicBezTo>
                  <a:cubicBezTo>
                    <a:pt x="1830" y="452"/>
                    <a:pt x="1825" y="445"/>
                    <a:pt x="1818" y="441"/>
                  </a:cubicBezTo>
                  <a:close/>
                  <a:moveTo>
                    <a:pt x="1617" y="619"/>
                  </a:moveTo>
                  <a:cubicBezTo>
                    <a:pt x="213" y="619"/>
                    <a:pt x="213" y="619"/>
                    <a:pt x="213" y="619"/>
                  </a:cubicBezTo>
                  <a:cubicBezTo>
                    <a:pt x="213" y="555"/>
                    <a:pt x="213" y="555"/>
                    <a:pt x="213" y="555"/>
                  </a:cubicBezTo>
                  <a:cubicBezTo>
                    <a:pt x="1617" y="555"/>
                    <a:pt x="1617" y="555"/>
                    <a:pt x="1617" y="555"/>
                  </a:cubicBezTo>
                  <a:lnTo>
                    <a:pt x="1617" y="619"/>
                  </a:lnTo>
                  <a:close/>
                  <a:moveTo>
                    <a:pt x="1786" y="511"/>
                  </a:moveTo>
                  <a:cubicBezTo>
                    <a:pt x="1661" y="511"/>
                    <a:pt x="1661" y="511"/>
                    <a:pt x="1661" y="511"/>
                  </a:cubicBezTo>
                  <a:cubicBezTo>
                    <a:pt x="1617" y="511"/>
                    <a:pt x="1617" y="511"/>
                    <a:pt x="1617" y="511"/>
                  </a:cubicBezTo>
                  <a:cubicBezTo>
                    <a:pt x="213" y="511"/>
                    <a:pt x="213" y="511"/>
                    <a:pt x="213" y="511"/>
                  </a:cubicBezTo>
                  <a:cubicBezTo>
                    <a:pt x="169" y="511"/>
                    <a:pt x="169" y="511"/>
                    <a:pt x="169" y="511"/>
                  </a:cubicBezTo>
                  <a:cubicBezTo>
                    <a:pt x="44" y="511"/>
                    <a:pt x="44" y="511"/>
                    <a:pt x="44" y="511"/>
                  </a:cubicBezTo>
                  <a:cubicBezTo>
                    <a:pt x="44" y="474"/>
                    <a:pt x="44" y="474"/>
                    <a:pt x="44" y="474"/>
                  </a:cubicBezTo>
                  <a:cubicBezTo>
                    <a:pt x="915" y="47"/>
                    <a:pt x="915" y="47"/>
                    <a:pt x="915" y="47"/>
                  </a:cubicBezTo>
                  <a:cubicBezTo>
                    <a:pt x="1786" y="474"/>
                    <a:pt x="1786" y="474"/>
                    <a:pt x="1786" y="474"/>
                  </a:cubicBezTo>
                  <a:lnTo>
                    <a:pt x="1786" y="511"/>
                  </a:lnTo>
                  <a:close/>
                </a:path>
              </a:pathLst>
            </a:custGeom>
            <a:solidFill>
              <a:srgbClr val="0088C2">
                <a:lumMod val="10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0" name="Freeform 6">
              <a:extLst>
                <a:ext uri="{FF2B5EF4-FFF2-40B4-BE49-F238E27FC236}">
                  <a16:creationId xmlns:a16="http://schemas.microsoft.com/office/drawing/2014/main" id="{1D77D616-DB7C-40F8-9632-BC312012A1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4" y="778"/>
              <a:ext cx="2529" cy="2516"/>
            </a:xfrm>
            <a:custGeom>
              <a:avLst/>
              <a:gdLst>
                <a:gd name="T0" fmla="*/ 783 w 1350"/>
                <a:gd name="T1" fmla="*/ 108 h 1342"/>
                <a:gd name="T2" fmla="*/ 675 w 1350"/>
                <a:gd name="T3" fmla="*/ 216 h 1342"/>
                <a:gd name="T4" fmla="*/ 567 w 1350"/>
                <a:gd name="T5" fmla="*/ 108 h 1342"/>
                <a:gd name="T6" fmla="*/ 675 w 1350"/>
                <a:gd name="T7" fmla="*/ 0 h 1342"/>
                <a:gd name="T8" fmla="*/ 783 w 1350"/>
                <a:gd name="T9" fmla="*/ 108 h 1342"/>
                <a:gd name="T10" fmla="*/ 174 w 1350"/>
                <a:gd name="T11" fmla="*/ 540 h 1342"/>
                <a:gd name="T12" fmla="*/ 164 w 1350"/>
                <a:gd name="T13" fmla="*/ 531 h 1342"/>
                <a:gd name="T14" fmla="*/ 35 w 1350"/>
                <a:gd name="T15" fmla="*/ 531 h 1342"/>
                <a:gd name="T16" fmla="*/ 25 w 1350"/>
                <a:gd name="T17" fmla="*/ 540 h 1342"/>
                <a:gd name="T18" fmla="*/ 0 w 1350"/>
                <a:gd name="T19" fmla="*/ 1332 h 1342"/>
                <a:gd name="T20" fmla="*/ 10 w 1350"/>
                <a:gd name="T21" fmla="*/ 1342 h 1342"/>
                <a:gd name="T22" fmla="*/ 188 w 1350"/>
                <a:gd name="T23" fmla="*/ 1342 h 1342"/>
                <a:gd name="T24" fmla="*/ 198 w 1350"/>
                <a:gd name="T25" fmla="*/ 1332 h 1342"/>
                <a:gd name="T26" fmla="*/ 174 w 1350"/>
                <a:gd name="T27" fmla="*/ 540 h 1342"/>
                <a:gd name="T28" fmla="*/ 557 w 1350"/>
                <a:gd name="T29" fmla="*/ 540 h 1342"/>
                <a:gd name="T30" fmla="*/ 548 w 1350"/>
                <a:gd name="T31" fmla="*/ 531 h 1342"/>
                <a:gd name="T32" fmla="*/ 418 w 1350"/>
                <a:gd name="T33" fmla="*/ 531 h 1342"/>
                <a:gd name="T34" fmla="*/ 409 w 1350"/>
                <a:gd name="T35" fmla="*/ 540 h 1342"/>
                <a:gd name="T36" fmla="*/ 384 w 1350"/>
                <a:gd name="T37" fmla="*/ 1332 h 1342"/>
                <a:gd name="T38" fmla="*/ 394 w 1350"/>
                <a:gd name="T39" fmla="*/ 1342 h 1342"/>
                <a:gd name="T40" fmla="*/ 572 w 1350"/>
                <a:gd name="T41" fmla="*/ 1342 h 1342"/>
                <a:gd name="T42" fmla="*/ 582 w 1350"/>
                <a:gd name="T43" fmla="*/ 1332 h 1342"/>
                <a:gd name="T44" fmla="*/ 557 w 1350"/>
                <a:gd name="T45" fmla="*/ 540 h 1342"/>
                <a:gd name="T46" fmla="*/ 941 w 1350"/>
                <a:gd name="T47" fmla="*/ 540 h 1342"/>
                <a:gd name="T48" fmla="*/ 932 w 1350"/>
                <a:gd name="T49" fmla="*/ 531 h 1342"/>
                <a:gd name="T50" fmla="*/ 802 w 1350"/>
                <a:gd name="T51" fmla="*/ 531 h 1342"/>
                <a:gd name="T52" fmla="*/ 793 w 1350"/>
                <a:gd name="T53" fmla="*/ 540 h 1342"/>
                <a:gd name="T54" fmla="*/ 768 w 1350"/>
                <a:gd name="T55" fmla="*/ 1332 h 1342"/>
                <a:gd name="T56" fmla="*/ 778 w 1350"/>
                <a:gd name="T57" fmla="*/ 1342 h 1342"/>
                <a:gd name="T58" fmla="*/ 956 w 1350"/>
                <a:gd name="T59" fmla="*/ 1342 h 1342"/>
                <a:gd name="T60" fmla="*/ 966 w 1350"/>
                <a:gd name="T61" fmla="*/ 1332 h 1342"/>
                <a:gd name="T62" fmla="*/ 941 w 1350"/>
                <a:gd name="T63" fmla="*/ 540 h 1342"/>
                <a:gd name="T64" fmla="*/ 1325 w 1350"/>
                <a:gd name="T65" fmla="*/ 540 h 1342"/>
                <a:gd name="T66" fmla="*/ 1315 w 1350"/>
                <a:gd name="T67" fmla="*/ 531 h 1342"/>
                <a:gd name="T68" fmla="*/ 1186 w 1350"/>
                <a:gd name="T69" fmla="*/ 531 h 1342"/>
                <a:gd name="T70" fmla="*/ 1176 w 1350"/>
                <a:gd name="T71" fmla="*/ 540 h 1342"/>
                <a:gd name="T72" fmla="*/ 1152 w 1350"/>
                <a:gd name="T73" fmla="*/ 1332 h 1342"/>
                <a:gd name="T74" fmla="*/ 1162 w 1350"/>
                <a:gd name="T75" fmla="*/ 1342 h 1342"/>
                <a:gd name="T76" fmla="*/ 1340 w 1350"/>
                <a:gd name="T77" fmla="*/ 1342 h 1342"/>
                <a:gd name="T78" fmla="*/ 1350 w 1350"/>
                <a:gd name="T79" fmla="*/ 1332 h 1342"/>
                <a:gd name="T80" fmla="*/ 1325 w 1350"/>
                <a:gd name="T81" fmla="*/ 540 h 1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50" h="1342">
                  <a:moveTo>
                    <a:pt x="783" y="108"/>
                  </a:moveTo>
                  <a:cubicBezTo>
                    <a:pt x="783" y="167"/>
                    <a:pt x="735" y="216"/>
                    <a:pt x="675" y="216"/>
                  </a:cubicBezTo>
                  <a:cubicBezTo>
                    <a:pt x="615" y="216"/>
                    <a:pt x="567" y="167"/>
                    <a:pt x="567" y="108"/>
                  </a:cubicBezTo>
                  <a:cubicBezTo>
                    <a:pt x="567" y="48"/>
                    <a:pt x="615" y="0"/>
                    <a:pt x="675" y="0"/>
                  </a:cubicBezTo>
                  <a:cubicBezTo>
                    <a:pt x="735" y="0"/>
                    <a:pt x="783" y="48"/>
                    <a:pt x="783" y="108"/>
                  </a:cubicBezTo>
                  <a:close/>
                  <a:moveTo>
                    <a:pt x="174" y="540"/>
                  </a:moveTo>
                  <a:cubicBezTo>
                    <a:pt x="174" y="535"/>
                    <a:pt x="169" y="531"/>
                    <a:pt x="164" y="531"/>
                  </a:cubicBezTo>
                  <a:cubicBezTo>
                    <a:pt x="35" y="531"/>
                    <a:pt x="35" y="531"/>
                    <a:pt x="35" y="531"/>
                  </a:cubicBezTo>
                  <a:cubicBezTo>
                    <a:pt x="29" y="531"/>
                    <a:pt x="25" y="535"/>
                    <a:pt x="25" y="540"/>
                  </a:cubicBezTo>
                  <a:cubicBezTo>
                    <a:pt x="0" y="1332"/>
                    <a:pt x="0" y="1332"/>
                    <a:pt x="0" y="1332"/>
                  </a:cubicBezTo>
                  <a:cubicBezTo>
                    <a:pt x="0" y="1337"/>
                    <a:pt x="5" y="1342"/>
                    <a:pt x="10" y="1342"/>
                  </a:cubicBezTo>
                  <a:cubicBezTo>
                    <a:pt x="188" y="1342"/>
                    <a:pt x="188" y="1342"/>
                    <a:pt x="188" y="1342"/>
                  </a:cubicBezTo>
                  <a:cubicBezTo>
                    <a:pt x="194" y="1342"/>
                    <a:pt x="198" y="1337"/>
                    <a:pt x="198" y="1332"/>
                  </a:cubicBezTo>
                  <a:lnTo>
                    <a:pt x="174" y="540"/>
                  </a:lnTo>
                  <a:close/>
                  <a:moveTo>
                    <a:pt x="557" y="540"/>
                  </a:moveTo>
                  <a:cubicBezTo>
                    <a:pt x="557" y="535"/>
                    <a:pt x="553" y="531"/>
                    <a:pt x="548" y="531"/>
                  </a:cubicBezTo>
                  <a:cubicBezTo>
                    <a:pt x="418" y="531"/>
                    <a:pt x="418" y="531"/>
                    <a:pt x="418" y="531"/>
                  </a:cubicBezTo>
                  <a:cubicBezTo>
                    <a:pt x="413" y="531"/>
                    <a:pt x="409" y="535"/>
                    <a:pt x="409" y="540"/>
                  </a:cubicBezTo>
                  <a:cubicBezTo>
                    <a:pt x="384" y="1332"/>
                    <a:pt x="384" y="1332"/>
                    <a:pt x="384" y="1332"/>
                  </a:cubicBezTo>
                  <a:cubicBezTo>
                    <a:pt x="384" y="1337"/>
                    <a:pt x="389" y="1342"/>
                    <a:pt x="394" y="1342"/>
                  </a:cubicBezTo>
                  <a:cubicBezTo>
                    <a:pt x="572" y="1342"/>
                    <a:pt x="572" y="1342"/>
                    <a:pt x="572" y="1342"/>
                  </a:cubicBezTo>
                  <a:cubicBezTo>
                    <a:pt x="578" y="1342"/>
                    <a:pt x="582" y="1337"/>
                    <a:pt x="582" y="1332"/>
                  </a:cubicBezTo>
                  <a:lnTo>
                    <a:pt x="557" y="540"/>
                  </a:lnTo>
                  <a:close/>
                  <a:moveTo>
                    <a:pt x="941" y="540"/>
                  </a:moveTo>
                  <a:cubicBezTo>
                    <a:pt x="941" y="535"/>
                    <a:pt x="937" y="531"/>
                    <a:pt x="932" y="531"/>
                  </a:cubicBezTo>
                  <a:cubicBezTo>
                    <a:pt x="802" y="531"/>
                    <a:pt x="802" y="531"/>
                    <a:pt x="802" y="531"/>
                  </a:cubicBezTo>
                  <a:cubicBezTo>
                    <a:pt x="797" y="531"/>
                    <a:pt x="793" y="535"/>
                    <a:pt x="793" y="540"/>
                  </a:cubicBezTo>
                  <a:cubicBezTo>
                    <a:pt x="768" y="1332"/>
                    <a:pt x="768" y="1332"/>
                    <a:pt x="768" y="1332"/>
                  </a:cubicBezTo>
                  <a:cubicBezTo>
                    <a:pt x="768" y="1337"/>
                    <a:pt x="772" y="1342"/>
                    <a:pt x="778" y="1342"/>
                  </a:cubicBezTo>
                  <a:cubicBezTo>
                    <a:pt x="956" y="1342"/>
                    <a:pt x="956" y="1342"/>
                    <a:pt x="956" y="1342"/>
                  </a:cubicBezTo>
                  <a:cubicBezTo>
                    <a:pt x="961" y="1342"/>
                    <a:pt x="966" y="1337"/>
                    <a:pt x="966" y="1332"/>
                  </a:cubicBezTo>
                  <a:lnTo>
                    <a:pt x="941" y="540"/>
                  </a:lnTo>
                  <a:close/>
                  <a:moveTo>
                    <a:pt x="1325" y="540"/>
                  </a:moveTo>
                  <a:cubicBezTo>
                    <a:pt x="1325" y="535"/>
                    <a:pt x="1321" y="531"/>
                    <a:pt x="1315" y="531"/>
                  </a:cubicBezTo>
                  <a:cubicBezTo>
                    <a:pt x="1186" y="531"/>
                    <a:pt x="1186" y="531"/>
                    <a:pt x="1186" y="531"/>
                  </a:cubicBezTo>
                  <a:cubicBezTo>
                    <a:pt x="1181" y="531"/>
                    <a:pt x="1176" y="535"/>
                    <a:pt x="1176" y="540"/>
                  </a:cubicBezTo>
                  <a:cubicBezTo>
                    <a:pt x="1152" y="1332"/>
                    <a:pt x="1152" y="1332"/>
                    <a:pt x="1152" y="1332"/>
                  </a:cubicBezTo>
                  <a:cubicBezTo>
                    <a:pt x="1152" y="1337"/>
                    <a:pt x="1156" y="1342"/>
                    <a:pt x="1162" y="1342"/>
                  </a:cubicBezTo>
                  <a:cubicBezTo>
                    <a:pt x="1340" y="1342"/>
                    <a:pt x="1340" y="1342"/>
                    <a:pt x="1340" y="1342"/>
                  </a:cubicBezTo>
                  <a:cubicBezTo>
                    <a:pt x="1345" y="1342"/>
                    <a:pt x="1350" y="1337"/>
                    <a:pt x="1350" y="1332"/>
                  </a:cubicBezTo>
                  <a:lnTo>
                    <a:pt x="1325" y="54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341710856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" name="Shape 1369"/>
          <p:cNvSpPr/>
          <p:nvPr/>
        </p:nvSpPr>
        <p:spPr>
          <a:xfrm flipH="1">
            <a:off x="5041681" y="2129272"/>
            <a:ext cx="684360" cy="681478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85" name="Shape 1370"/>
          <p:cNvSpPr/>
          <p:nvPr/>
        </p:nvSpPr>
        <p:spPr>
          <a:xfrm>
            <a:off x="5690023" y="2094694"/>
            <a:ext cx="70269" cy="702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750"/>
                </a:moveTo>
                <a:cubicBezTo>
                  <a:pt x="21600" y="12759"/>
                  <a:pt x="21196" y="14467"/>
                  <a:pt x="20187" y="16175"/>
                </a:cubicBezTo>
                <a:cubicBezTo>
                  <a:pt x="19178" y="17883"/>
                  <a:pt x="18067" y="19088"/>
                  <a:pt x="16250" y="20093"/>
                </a:cubicBezTo>
                <a:cubicBezTo>
                  <a:pt x="14535" y="21098"/>
                  <a:pt x="12819" y="21600"/>
                  <a:pt x="10800" y="21600"/>
                </a:cubicBezTo>
                <a:cubicBezTo>
                  <a:pt x="8781" y="21600"/>
                  <a:pt x="7065" y="21098"/>
                  <a:pt x="5350" y="20093"/>
                </a:cubicBezTo>
                <a:cubicBezTo>
                  <a:pt x="3634" y="19088"/>
                  <a:pt x="2422" y="17883"/>
                  <a:pt x="1413" y="16175"/>
                </a:cubicBezTo>
                <a:cubicBezTo>
                  <a:pt x="404" y="14467"/>
                  <a:pt x="0" y="12659"/>
                  <a:pt x="0" y="10750"/>
                </a:cubicBezTo>
                <a:cubicBezTo>
                  <a:pt x="0" y="8740"/>
                  <a:pt x="404" y="7133"/>
                  <a:pt x="1413" y="5425"/>
                </a:cubicBezTo>
                <a:cubicBezTo>
                  <a:pt x="2422" y="3717"/>
                  <a:pt x="3634" y="2311"/>
                  <a:pt x="5350" y="1407"/>
                </a:cubicBezTo>
                <a:cubicBezTo>
                  <a:pt x="7065" y="402"/>
                  <a:pt x="8781" y="0"/>
                  <a:pt x="10800" y="0"/>
                </a:cubicBezTo>
                <a:cubicBezTo>
                  <a:pt x="12819" y="0"/>
                  <a:pt x="14535" y="402"/>
                  <a:pt x="16250" y="1407"/>
                </a:cubicBezTo>
                <a:cubicBezTo>
                  <a:pt x="18067" y="2311"/>
                  <a:pt x="19178" y="3717"/>
                  <a:pt x="20187" y="5425"/>
                </a:cubicBezTo>
                <a:cubicBezTo>
                  <a:pt x="21196" y="7133"/>
                  <a:pt x="21600" y="8841"/>
                  <a:pt x="21600" y="10750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86" name="Shape 1372"/>
          <p:cNvSpPr/>
          <p:nvPr/>
        </p:nvSpPr>
        <p:spPr>
          <a:xfrm>
            <a:off x="5953281" y="3638664"/>
            <a:ext cx="2265414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2. Business </a:t>
            </a:r>
            <a:r>
              <a:rPr lang="en-US" altLang="de-DE" dirty="0"/>
              <a:t>Concept</a:t>
            </a:r>
          </a:p>
        </p:txBody>
      </p:sp>
      <p:sp>
        <p:nvSpPr>
          <p:cNvPr id="287" name="Shape 1373"/>
          <p:cNvSpPr/>
          <p:nvPr/>
        </p:nvSpPr>
        <p:spPr>
          <a:xfrm flipH="1">
            <a:off x="5221777" y="3244418"/>
            <a:ext cx="965307" cy="1441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88" name="Shape 1374"/>
          <p:cNvSpPr/>
          <p:nvPr/>
        </p:nvSpPr>
        <p:spPr>
          <a:xfrm>
            <a:off x="6151064" y="3209839"/>
            <a:ext cx="70269" cy="702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51"/>
                </a:moveTo>
                <a:cubicBezTo>
                  <a:pt x="21600" y="12879"/>
                  <a:pt x="21196" y="14501"/>
                  <a:pt x="20187" y="16225"/>
                </a:cubicBezTo>
                <a:cubicBezTo>
                  <a:pt x="19178" y="17949"/>
                  <a:pt x="17966" y="19166"/>
                  <a:pt x="16250" y="20180"/>
                </a:cubicBezTo>
                <a:cubicBezTo>
                  <a:pt x="14535" y="21194"/>
                  <a:pt x="12819" y="21600"/>
                  <a:pt x="10800" y="21600"/>
                </a:cubicBezTo>
                <a:cubicBezTo>
                  <a:pt x="8781" y="21600"/>
                  <a:pt x="7065" y="21194"/>
                  <a:pt x="5350" y="20180"/>
                </a:cubicBezTo>
                <a:cubicBezTo>
                  <a:pt x="3634" y="19166"/>
                  <a:pt x="2422" y="17949"/>
                  <a:pt x="1413" y="16225"/>
                </a:cubicBezTo>
                <a:cubicBezTo>
                  <a:pt x="404" y="14501"/>
                  <a:pt x="0" y="12879"/>
                  <a:pt x="0" y="10851"/>
                </a:cubicBezTo>
                <a:cubicBezTo>
                  <a:pt x="0" y="8823"/>
                  <a:pt x="404" y="7200"/>
                  <a:pt x="1413" y="5476"/>
                </a:cubicBezTo>
                <a:cubicBezTo>
                  <a:pt x="2422" y="3651"/>
                  <a:pt x="3634" y="2434"/>
                  <a:pt x="5350" y="1420"/>
                </a:cubicBezTo>
                <a:cubicBezTo>
                  <a:pt x="7065" y="406"/>
                  <a:pt x="8781" y="0"/>
                  <a:pt x="10800" y="0"/>
                </a:cubicBezTo>
                <a:cubicBezTo>
                  <a:pt x="12819" y="0"/>
                  <a:pt x="14535" y="406"/>
                  <a:pt x="16250" y="1420"/>
                </a:cubicBezTo>
                <a:cubicBezTo>
                  <a:pt x="17966" y="2434"/>
                  <a:pt x="19178" y="3651"/>
                  <a:pt x="20187" y="5476"/>
                </a:cubicBezTo>
                <a:cubicBezTo>
                  <a:pt x="21196" y="7200"/>
                  <a:pt x="21600" y="8823"/>
                  <a:pt x="21600" y="10851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89" name="Shape 1376"/>
          <p:cNvSpPr/>
          <p:nvPr/>
        </p:nvSpPr>
        <p:spPr>
          <a:xfrm>
            <a:off x="5448015" y="4718442"/>
            <a:ext cx="2116413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3. Market </a:t>
            </a:r>
            <a:r>
              <a:rPr lang="en-US" altLang="de-DE" dirty="0"/>
              <a:t>Analysis</a:t>
            </a:r>
          </a:p>
        </p:txBody>
      </p:sp>
      <p:sp>
        <p:nvSpPr>
          <p:cNvPr id="290" name="Shape 1377"/>
          <p:cNvSpPr/>
          <p:nvPr/>
        </p:nvSpPr>
        <p:spPr>
          <a:xfrm flipH="1" flipV="1">
            <a:off x="5041681" y="3676644"/>
            <a:ext cx="684360" cy="684360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91" name="Shape 1378"/>
          <p:cNvSpPr/>
          <p:nvPr/>
        </p:nvSpPr>
        <p:spPr>
          <a:xfrm>
            <a:off x="5690023" y="4323544"/>
            <a:ext cx="70269" cy="7027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819"/>
                  <a:pt x="21196" y="14535"/>
                  <a:pt x="20187" y="16250"/>
                </a:cubicBezTo>
                <a:cubicBezTo>
                  <a:pt x="19178" y="17966"/>
                  <a:pt x="18067" y="19178"/>
                  <a:pt x="16250" y="20187"/>
                </a:cubicBezTo>
                <a:cubicBezTo>
                  <a:pt x="14535" y="21196"/>
                  <a:pt x="12819" y="21600"/>
                  <a:pt x="10800" y="21600"/>
                </a:cubicBezTo>
                <a:cubicBezTo>
                  <a:pt x="8781" y="21600"/>
                  <a:pt x="7065" y="21196"/>
                  <a:pt x="5350" y="20187"/>
                </a:cubicBezTo>
                <a:cubicBezTo>
                  <a:pt x="3634" y="19178"/>
                  <a:pt x="2422" y="17966"/>
                  <a:pt x="1413" y="16250"/>
                </a:cubicBezTo>
                <a:cubicBezTo>
                  <a:pt x="404" y="14535"/>
                  <a:pt x="0" y="12819"/>
                  <a:pt x="0" y="10800"/>
                </a:cubicBezTo>
                <a:cubicBezTo>
                  <a:pt x="0" y="8781"/>
                  <a:pt x="404" y="7166"/>
                  <a:pt x="1413" y="5350"/>
                </a:cubicBezTo>
                <a:cubicBezTo>
                  <a:pt x="2422" y="3634"/>
                  <a:pt x="3634" y="2422"/>
                  <a:pt x="5350" y="1413"/>
                </a:cubicBezTo>
                <a:cubicBezTo>
                  <a:pt x="7065" y="404"/>
                  <a:pt x="8781" y="0"/>
                  <a:pt x="10800" y="0"/>
                </a:cubicBezTo>
                <a:cubicBezTo>
                  <a:pt x="12819" y="0"/>
                  <a:pt x="14535" y="404"/>
                  <a:pt x="16250" y="1413"/>
                </a:cubicBezTo>
                <a:cubicBezTo>
                  <a:pt x="18067" y="2422"/>
                  <a:pt x="19178" y="3634"/>
                  <a:pt x="20187" y="5350"/>
                </a:cubicBezTo>
                <a:cubicBezTo>
                  <a:pt x="21196" y="7166"/>
                  <a:pt x="21600" y="8781"/>
                  <a:pt x="21600" y="10800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92" name="Shape 1380"/>
          <p:cNvSpPr/>
          <p:nvPr/>
        </p:nvSpPr>
        <p:spPr>
          <a:xfrm>
            <a:off x="3411426" y="5411949"/>
            <a:ext cx="2501775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4. Management </a:t>
            </a:r>
            <a:r>
              <a:rPr lang="en-US" altLang="de-DE" dirty="0"/>
              <a:t>Team </a:t>
            </a:r>
          </a:p>
        </p:txBody>
      </p:sp>
      <p:sp>
        <p:nvSpPr>
          <p:cNvPr id="293" name="Shape 1381"/>
          <p:cNvSpPr/>
          <p:nvPr/>
        </p:nvSpPr>
        <p:spPr>
          <a:xfrm flipV="1">
            <a:off x="4610895" y="3856740"/>
            <a:ext cx="1442" cy="965307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94" name="Shape 1382"/>
          <p:cNvSpPr/>
          <p:nvPr/>
        </p:nvSpPr>
        <p:spPr>
          <a:xfrm>
            <a:off x="4576318" y="4815760"/>
            <a:ext cx="70269" cy="702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819"/>
                  <a:pt x="21196" y="14535"/>
                  <a:pt x="20187" y="16250"/>
                </a:cubicBezTo>
                <a:cubicBezTo>
                  <a:pt x="19178" y="17966"/>
                  <a:pt x="17966" y="19178"/>
                  <a:pt x="16250" y="20187"/>
                </a:cubicBezTo>
                <a:cubicBezTo>
                  <a:pt x="14434" y="21196"/>
                  <a:pt x="12819" y="21600"/>
                  <a:pt x="10800" y="21600"/>
                </a:cubicBezTo>
                <a:cubicBezTo>
                  <a:pt x="8781" y="21600"/>
                  <a:pt x="7065" y="21196"/>
                  <a:pt x="5350" y="20187"/>
                </a:cubicBezTo>
                <a:cubicBezTo>
                  <a:pt x="3634" y="19178"/>
                  <a:pt x="2422" y="17966"/>
                  <a:pt x="1413" y="16250"/>
                </a:cubicBezTo>
                <a:cubicBezTo>
                  <a:pt x="404" y="14535"/>
                  <a:pt x="0" y="12819"/>
                  <a:pt x="0" y="10800"/>
                </a:cubicBezTo>
                <a:cubicBezTo>
                  <a:pt x="0" y="8781"/>
                  <a:pt x="404" y="7166"/>
                  <a:pt x="1413" y="5350"/>
                </a:cubicBezTo>
                <a:cubicBezTo>
                  <a:pt x="2422" y="3634"/>
                  <a:pt x="3634" y="2422"/>
                  <a:pt x="5350" y="1413"/>
                </a:cubicBezTo>
                <a:cubicBezTo>
                  <a:pt x="7065" y="404"/>
                  <a:pt x="8781" y="0"/>
                  <a:pt x="10800" y="0"/>
                </a:cubicBezTo>
                <a:cubicBezTo>
                  <a:pt x="12819" y="0"/>
                  <a:pt x="14434" y="404"/>
                  <a:pt x="16250" y="1413"/>
                </a:cubicBezTo>
                <a:cubicBezTo>
                  <a:pt x="17966" y="2422"/>
                  <a:pt x="19178" y="3634"/>
                  <a:pt x="20187" y="5350"/>
                </a:cubicBezTo>
                <a:cubicBezTo>
                  <a:pt x="21196" y="7166"/>
                  <a:pt x="21600" y="8781"/>
                  <a:pt x="21600" y="10800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95" name="Shape 1386"/>
          <p:cNvSpPr/>
          <p:nvPr/>
        </p:nvSpPr>
        <p:spPr>
          <a:xfrm flipV="1">
            <a:off x="3495750" y="3676644"/>
            <a:ext cx="681478" cy="684360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96" name="Shape 1387"/>
          <p:cNvSpPr/>
          <p:nvPr/>
        </p:nvSpPr>
        <p:spPr>
          <a:xfrm>
            <a:off x="3461173" y="4323544"/>
            <a:ext cx="70269" cy="7027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819"/>
                  <a:pt x="21196" y="14535"/>
                  <a:pt x="20187" y="16250"/>
                </a:cubicBezTo>
                <a:cubicBezTo>
                  <a:pt x="19178" y="17966"/>
                  <a:pt x="17966" y="19178"/>
                  <a:pt x="16250" y="20187"/>
                </a:cubicBezTo>
                <a:cubicBezTo>
                  <a:pt x="14434" y="21196"/>
                  <a:pt x="12819" y="21600"/>
                  <a:pt x="10800" y="21600"/>
                </a:cubicBezTo>
                <a:cubicBezTo>
                  <a:pt x="8781" y="21600"/>
                  <a:pt x="7065" y="21196"/>
                  <a:pt x="5350" y="20187"/>
                </a:cubicBezTo>
                <a:cubicBezTo>
                  <a:pt x="3634" y="19178"/>
                  <a:pt x="2422" y="17966"/>
                  <a:pt x="1413" y="16250"/>
                </a:cubicBezTo>
                <a:cubicBezTo>
                  <a:pt x="404" y="14535"/>
                  <a:pt x="0" y="12819"/>
                  <a:pt x="0" y="10800"/>
                </a:cubicBezTo>
                <a:cubicBezTo>
                  <a:pt x="0" y="8781"/>
                  <a:pt x="404" y="7166"/>
                  <a:pt x="1413" y="5350"/>
                </a:cubicBezTo>
                <a:cubicBezTo>
                  <a:pt x="2422" y="3634"/>
                  <a:pt x="3634" y="2422"/>
                  <a:pt x="5350" y="1413"/>
                </a:cubicBezTo>
                <a:cubicBezTo>
                  <a:pt x="7065" y="404"/>
                  <a:pt x="8781" y="0"/>
                  <a:pt x="10800" y="0"/>
                </a:cubicBezTo>
                <a:cubicBezTo>
                  <a:pt x="12819" y="0"/>
                  <a:pt x="14434" y="404"/>
                  <a:pt x="16250" y="1413"/>
                </a:cubicBezTo>
                <a:cubicBezTo>
                  <a:pt x="17966" y="2422"/>
                  <a:pt x="19178" y="3634"/>
                  <a:pt x="20187" y="5350"/>
                </a:cubicBezTo>
                <a:cubicBezTo>
                  <a:pt x="21196" y="7166"/>
                  <a:pt x="21600" y="8781"/>
                  <a:pt x="21600" y="10800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97" name="Shape 1388"/>
          <p:cNvSpPr/>
          <p:nvPr/>
        </p:nvSpPr>
        <p:spPr>
          <a:xfrm>
            <a:off x="3045566" y="4336472"/>
            <a:ext cx="349778" cy="30943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484"/>
                </a:moveTo>
                <a:lnTo>
                  <a:pt x="21600" y="20116"/>
                </a:lnTo>
                <a:cubicBezTo>
                  <a:pt x="21600" y="20938"/>
                  <a:pt x="21036" y="21600"/>
                  <a:pt x="20290" y="21600"/>
                </a:cubicBezTo>
                <a:lnTo>
                  <a:pt x="1310" y="21600"/>
                </a:lnTo>
                <a:cubicBezTo>
                  <a:pt x="564" y="21600"/>
                  <a:pt x="0" y="20938"/>
                  <a:pt x="0" y="20116"/>
                </a:cubicBezTo>
                <a:lnTo>
                  <a:pt x="0" y="1484"/>
                </a:lnTo>
                <a:cubicBezTo>
                  <a:pt x="0" y="639"/>
                  <a:pt x="564" y="0"/>
                  <a:pt x="1310" y="0"/>
                </a:cubicBezTo>
                <a:lnTo>
                  <a:pt x="20290" y="0"/>
                </a:lnTo>
                <a:cubicBezTo>
                  <a:pt x="20975" y="0"/>
                  <a:pt x="21600" y="708"/>
                  <a:pt x="21600" y="1484"/>
                </a:cubicBezTo>
                <a:close/>
                <a:moveTo>
                  <a:pt x="16200" y="2009"/>
                </a:moveTo>
                <a:cubicBezTo>
                  <a:pt x="16200" y="2512"/>
                  <a:pt x="16603" y="2968"/>
                  <a:pt x="17066" y="2968"/>
                </a:cubicBezTo>
                <a:cubicBezTo>
                  <a:pt x="17510" y="2968"/>
                  <a:pt x="17913" y="2512"/>
                  <a:pt x="17913" y="2009"/>
                </a:cubicBezTo>
                <a:cubicBezTo>
                  <a:pt x="17913" y="1484"/>
                  <a:pt x="17510" y="1027"/>
                  <a:pt x="17066" y="1027"/>
                </a:cubicBezTo>
                <a:cubicBezTo>
                  <a:pt x="16603" y="1027"/>
                  <a:pt x="16200" y="1416"/>
                  <a:pt x="16200" y="2009"/>
                </a:cubicBezTo>
                <a:close/>
                <a:moveTo>
                  <a:pt x="13822" y="2009"/>
                </a:moveTo>
                <a:cubicBezTo>
                  <a:pt x="13822" y="2512"/>
                  <a:pt x="14205" y="2968"/>
                  <a:pt x="14669" y="2968"/>
                </a:cubicBezTo>
                <a:cubicBezTo>
                  <a:pt x="15132" y="2968"/>
                  <a:pt x="15515" y="2512"/>
                  <a:pt x="15515" y="2009"/>
                </a:cubicBezTo>
                <a:cubicBezTo>
                  <a:pt x="15515" y="1484"/>
                  <a:pt x="15132" y="1027"/>
                  <a:pt x="14669" y="1027"/>
                </a:cubicBezTo>
                <a:cubicBezTo>
                  <a:pt x="14205" y="1027"/>
                  <a:pt x="13822" y="1416"/>
                  <a:pt x="13822" y="2009"/>
                </a:cubicBezTo>
                <a:close/>
                <a:moveTo>
                  <a:pt x="20290" y="3927"/>
                </a:moveTo>
                <a:lnTo>
                  <a:pt x="1310" y="3927"/>
                </a:lnTo>
                <a:lnTo>
                  <a:pt x="1310" y="20230"/>
                </a:lnTo>
                <a:lnTo>
                  <a:pt x="20290" y="20230"/>
                </a:lnTo>
                <a:lnTo>
                  <a:pt x="20290" y="3927"/>
                </a:lnTo>
                <a:close/>
                <a:moveTo>
                  <a:pt x="20290" y="2009"/>
                </a:moveTo>
                <a:cubicBezTo>
                  <a:pt x="20290" y="1484"/>
                  <a:pt x="19887" y="1027"/>
                  <a:pt x="19444" y="1027"/>
                </a:cubicBezTo>
                <a:cubicBezTo>
                  <a:pt x="18981" y="1027"/>
                  <a:pt x="18598" y="1484"/>
                  <a:pt x="18598" y="2009"/>
                </a:cubicBezTo>
                <a:cubicBezTo>
                  <a:pt x="18598" y="2512"/>
                  <a:pt x="18981" y="2968"/>
                  <a:pt x="19444" y="2968"/>
                </a:cubicBezTo>
                <a:cubicBezTo>
                  <a:pt x="19887" y="2968"/>
                  <a:pt x="20290" y="2512"/>
                  <a:pt x="20290" y="2009"/>
                </a:cubicBezTo>
                <a:close/>
                <a:moveTo>
                  <a:pt x="8019" y="6896"/>
                </a:moveTo>
                <a:lnTo>
                  <a:pt x="14669" y="6896"/>
                </a:lnTo>
                <a:lnTo>
                  <a:pt x="14669" y="5480"/>
                </a:lnTo>
                <a:lnTo>
                  <a:pt x="8019" y="5480"/>
                </a:lnTo>
                <a:lnTo>
                  <a:pt x="8019" y="6896"/>
                </a:lnTo>
                <a:close/>
                <a:moveTo>
                  <a:pt x="10639" y="10115"/>
                </a:moveTo>
                <a:lnTo>
                  <a:pt x="19041" y="10115"/>
                </a:lnTo>
                <a:lnTo>
                  <a:pt x="19041" y="8699"/>
                </a:lnTo>
                <a:lnTo>
                  <a:pt x="10639" y="8699"/>
                </a:lnTo>
                <a:lnTo>
                  <a:pt x="10639" y="10115"/>
                </a:lnTo>
                <a:close/>
                <a:moveTo>
                  <a:pt x="10639" y="12946"/>
                </a:moveTo>
                <a:lnTo>
                  <a:pt x="19041" y="12946"/>
                </a:lnTo>
                <a:lnTo>
                  <a:pt x="19041" y="11531"/>
                </a:lnTo>
                <a:lnTo>
                  <a:pt x="10639" y="11531"/>
                </a:lnTo>
                <a:lnTo>
                  <a:pt x="10639" y="12946"/>
                </a:lnTo>
                <a:close/>
                <a:moveTo>
                  <a:pt x="10639" y="15800"/>
                </a:moveTo>
                <a:lnTo>
                  <a:pt x="19041" y="15800"/>
                </a:lnTo>
                <a:lnTo>
                  <a:pt x="19041" y="14385"/>
                </a:lnTo>
                <a:lnTo>
                  <a:pt x="10639" y="14385"/>
                </a:lnTo>
                <a:lnTo>
                  <a:pt x="10639" y="15800"/>
                </a:lnTo>
                <a:close/>
                <a:moveTo>
                  <a:pt x="2438" y="18632"/>
                </a:moveTo>
                <a:lnTo>
                  <a:pt x="19001" y="18632"/>
                </a:lnTo>
                <a:lnTo>
                  <a:pt x="19001" y="17216"/>
                </a:lnTo>
                <a:lnTo>
                  <a:pt x="2438" y="17216"/>
                </a:lnTo>
                <a:lnTo>
                  <a:pt x="2438" y="18632"/>
                </a:lnTo>
                <a:close/>
                <a:moveTo>
                  <a:pt x="2438" y="15732"/>
                </a:moveTo>
                <a:lnTo>
                  <a:pt x="8362" y="15732"/>
                </a:lnTo>
                <a:lnTo>
                  <a:pt x="8362" y="8768"/>
                </a:lnTo>
                <a:lnTo>
                  <a:pt x="2438" y="8768"/>
                </a:lnTo>
                <a:lnTo>
                  <a:pt x="2438" y="15732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98" name="Shape 1389"/>
          <p:cNvSpPr/>
          <p:nvPr/>
        </p:nvSpPr>
        <p:spPr>
          <a:xfrm>
            <a:off x="755576" y="3631154"/>
            <a:ext cx="1963555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6. Financial </a:t>
            </a:r>
            <a:r>
              <a:rPr lang="en-US" altLang="de-DE" dirty="0"/>
              <a:t>Plan</a:t>
            </a:r>
          </a:p>
        </p:txBody>
      </p:sp>
      <p:sp>
        <p:nvSpPr>
          <p:cNvPr id="299" name="Shape 1390"/>
          <p:cNvSpPr/>
          <p:nvPr/>
        </p:nvSpPr>
        <p:spPr>
          <a:xfrm>
            <a:off x="3033268" y="3244418"/>
            <a:ext cx="963866" cy="1441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300" name="Shape 1391"/>
          <p:cNvSpPr/>
          <p:nvPr/>
        </p:nvSpPr>
        <p:spPr>
          <a:xfrm>
            <a:off x="2998690" y="3209839"/>
            <a:ext cx="70269" cy="702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51"/>
                </a:moveTo>
                <a:cubicBezTo>
                  <a:pt x="21600" y="12879"/>
                  <a:pt x="21196" y="14501"/>
                  <a:pt x="20187" y="16225"/>
                </a:cubicBezTo>
                <a:cubicBezTo>
                  <a:pt x="19178" y="17949"/>
                  <a:pt x="17966" y="19166"/>
                  <a:pt x="16250" y="20180"/>
                </a:cubicBezTo>
                <a:cubicBezTo>
                  <a:pt x="14535" y="21194"/>
                  <a:pt x="12819" y="21600"/>
                  <a:pt x="10800" y="21600"/>
                </a:cubicBezTo>
                <a:cubicBezTo>
                  <a:pt x="8781" y="21600"/>
                  <a:pt x="7065" y="21194"/>
                  <a:pt x="5350" y="20180"/>
                </a:cubicBezTo>
                <a:cubicBezTo>
                  <a:pt x="3533" y="19166"/>
                  <a:pt x="2422" y="17949"/>
                  <a:pt x="1413" y="16225"/>
                </a:cubicBezTo>
                <a:cubicBezTo>
                  <a:pt x="404" y="14501"/>
                  <a:pt x="0" y="12879"/>
                  <a:pt x="0" y="10851"/>
                </a:cubicBezTo>
                <a:cubicBezTo>
                  <a:pt x="0" y="8823"/>
                  <a:pt x="404" y="7200"/>
                  <a:pt x="1413" y="5476"/>
                </a:cubicBezTo>
                <a:cubicBezTo>
                  <a:pt x="2422" y="3651"/>
                  <a:pt x="3533" y="2434"/>
                  <a:pt x="5350" y="1420"/>
                </a:cubicBezTo>
                <a:cubicBezTo>
                  <a:pt x="7065" y="406"/>
                  <a:pt x="8781" y="0"/>
                  <a:pt x="10800" y="0"/>
                </a:cubicBezTo>
                <a:cubicBezTo>
                  <a:pt x="12819" y="0"/>
                  <a:pt x="14535" y="406"/>
                  <a:pt x="16250" y="1420"/>
                </a:cubicBezTo>
                <a:cubicBezTo>
                  <a:pt x="17966" y="2434"/>
                  <a:pt x="19178" y="3651"/>
                  <a:pt x="20187" y="5476"/>
                </a:cubicBezTo>
                <a:cubicBezTo>
                  <a:pt x="21196" y="7200"/>
                  <a:pt x="21600" y="8823"/>
                  <a:pt x="21600" y="10851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01" name="Shape 1393"/>
          <p:cNvSpPr/>
          <p:nvPr/>
        </p:nvSpPr>
        <p:spPr>
          <a:xfrm>
            <a:off x="1129292" y="2371366"/>
            <a:ext cx="2092562" cy="74789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7. Operations </a:t>
            </a:r>
            <a:r>
              <a:rPr lang="en-US" altLang="de-DE" dirty="0"/>
              <a:t>and Management Plan</a:t>
            </a:r>
          </a:p>
        </p:txBody>
      </p:sp>
      <p:sp>
        <p:nvSpPr>
          <p:cNvPr id="302" name="Shape 1394"/>
          <p:cNvSpPr/>
          <p:nvPr/>
        </p:nvSpPr>
        <p:spPr>
          <a:xfrm>
            <a:off x="3495750" y="2129272"/>
            <a:ext cx="681478" cy="681478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303" name="Shape 1395"/>
          <p:cNvSpPr/>
          <p:nvPr/>
        </p:nvSpPr>
        <p:spPr>
          <a:xfrm>
            <a:off x="3461173" y="2094694"/>
            <a:ext cx="70269" cy="702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750"/>
                </a:moveTo>
                <a:cubicBezTo>
                  <a:pt x="21600" y="12759"/>
                  <a:pt x="21196" y="14467"/>
                  <a:pt x="20187" y="16175"/>
                </a:cubicBezTo>
                <a:cubicBezTo>
                  <a:pt x="19178" y="17883"/>
                  <a:pt x="17966" y="19088"/>
                  <a:pt x="16250" y="20093"/>
                </a:cubicBezTo>
                <a:cubicBezTo>
                  <a:pt x="14434" y="21098"/>
                  <a:pt x="12819" y="21600"/>
                  <a:pt x="10800" y="21600"/>
                </a:cubicBezTo>
                <a:cubicBezTo>
                  <a:pt x="8781" y="21600"/>
                  <a:pt x="7065" y="21098"/>
                  <a:pt x="5350" y="20093"/>
                </a:cubicBezTo>
                <a:cubicBezTo>
                  <a:pt x="3634" y="19088"/>
                  <a:pt x="2422" y="17883"/>
                  <a:pt x="1413" y="16175"/>
                </a:cubicBezTo>
                <a:cubicBezTo>
                  <a:pt x="404" y="14467"/>
                  <a:pt x="0" y="12659"/>
                  <a:pt x="0" y="10750"/>
                </a:cubicBezTo>
                <a:cubicBezTo>
                  <a:pt x="0" y="8740"/>
                  <a:pt x="404" y="7133"/>
                  <a:pt x="1413" y="5425"/>
                </a:cubicBezTo>
                <a:cubicBezTo>
                  <a:pt x="2422" y="3717"/>
                  <a:pt x="3634" y="2311"/>
                  <a:pt x="5350" y="1407"/>
                </a:cubicBezTo>
                <a:cubicBezTo>
                  <a:pt x="7065" y="402"/>
                  <a:pt x="8781" y="0"/>
                  <a:pt x="10800" y="0"/>
                </a:cubicBezTo>
                <a:cubicBezTo>
                  <a:pt x="12819" y="0"/>
                  <a:pt x="14434" y="402"/>
                  <a:pt x="16250" y="1407"/>
                </a:cubicBezTo>
                <a:cubicBezTo>
                  <a:pt x="17966" y="2311"/>
                  <a:pt x="19178" y="3717"/>
                  <a:pt x="20187" y="5425"/>
                </a:cubicBezTo>
                <a:cubicBezTo>
                  <a:pt x="21196" y="7133"/>
                  <a:pt x="21600" y="8841"/>
                  <a:pt x="21600" y="10750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04" name="Shape 1396"/>
          <p:cNvSpPr/>
          <p:nvPr/>
        </p:nvSpPr>
        <p:spPr>
          <a:xfrm>
            <a:off x="3557703" y="2191225"/>
            <a:ext cx="2106060" cy="21060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2"/>
                </a:moveTo>
                <a:cubicBezTo>
                  <a:pt x="21600" y="12786"/>
                  <a:pt x="21148" y="14482"/>
                  <a:pt x="20152" y="16201"/>
                </a:cubicBezTo>
                <a:cubicBezTo>
                  <a:pt x="19157" y="17923"/>
                  <a:pt x="17920" y="19160"/>
                  <a:pt x="16197" y="20152"/>
                </a:cubicBezTo>
                <a:cubicBezTo>
                  <a:pt x="14478" y="21148"/>
                  <a:pt x="12786" y="21600"/>
                  <a:pt x="10802" y="21600"/>
                </a:cubicBezTo>
                <a:cubicBezTo>
                  <a:pt x="8814" y="21600"/>
                  <a:pt x="7118" y="21148"/>
                  <a:pt x="5399" y="20152"/>
                </a:cubicBezTo>
                <a:cubicBezTo>
                  <a:pt x="3677" y="19160"/>
                  <a:pt x="2440" y="17923"/>
                  <a:pt x="1448" y="16201"/>
                </a:cubicBezTo>
                <a:cubicBezTo>
                  <a:pt x="452" y="14482"/>
                  <a:pt x="0" y="12786"/>
                  <a:pt x="0" y="10802"/>
                </a:cubicBezTo>
                <a:cubicBezTo>
                  <a:pt x="0" y="8814"/>
                  <a:pt x="452" y="7125"/>
                  <a:pt x="1448" y="5403"/>
                </a:cubicBezTo>
                <a:cubicBezTo>
                  <a:pt x="2440" y="3680"/>
                  <a:pt x="3677" y="2440"/>
                  <a:pt x="5399" y="1448"/>
                </a:cubicBezTo>
                <a:cubicBezTo>
                  <a:pt x="7118" y="452"/>
                  <a:pt x="8814" y="0"/>
                  <a:pt x="10802" y="0"/>
                </a:cubicBezTo>
                <a:cubicBezTo>
                  <a:pt x="12786" y="0"/>
                  <a:pt x="14478" y="452"/>
                  <a:pt x="16197" y="1448"/>
                </a:cubicBezTo>
                <a:cubicBezTo>
                  <a:pt x="17920" y="2440"/>
                  <a:pt x="19157" y="3680"/>
                  <a:pt x="20152" y="5403"/>
                </a:cubicBezTo>
                <a:cubicBezTo>
                  <a:pt x="21148" y="7125"/>
                  <a:pt x="21600" y="8814"/>
                  <a:pt x="21600" y="10802"/>
                </a:cubicBezTo>
              </a:path>
            </a:pathLst>
          </a:custGeom>
          <a:solidFill>
            <a:schemeClr val="tx2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pSp>
        <p:nvGrpSpPr>
          <p:cNvPr id="305" name="Group 1484"/>
          <p:cNvGrpSpPr/>
          <p:nvPr/>
        </p:nvGrpSpPr>
        <p:grpSpPr>
          <a:xfrm>
            <a:off x="3832889" y="2668116"/>
            <a:ext cx="1569599" cy="1196741"/>
            <a:chOff x="0" y="0"/>
            <a:chExt cx="2232318" cy="1702030"/>
          </a:xfrm>
        </p:grpSpPr>
        <p:sp>
          <p:nvSpPr>
            <p:cNvPr id="306" name="Shape 1397"/>
            <p:cNvSpPr/>
            <p:nvPr/>
          </p:nvSpPr>
          <p:spPr>
            <a:xfrm>
              <a:off x="1096685" y="1529186"/>
              <a:ext cx="299890" cy="1728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63" h="19639" extrusionOk="0">
                  <a:moveTo>
                    <a:pt x="2906" y="16748"/>
                  </a:moveTo>
                  <a:cubicBezTo>
                    <a:pt x="-969" y="12892"/>
                    <a:pt x="-969" y="6608"/>
                    <a:pt x="2906" y="2911"/>
                  </a:cubicBezTo>
                  <a:cubicBezTo>
                    <a:pt x="6689" y="-997"/>
                    <a:pt x="12912" y="-944"/>
                    <a:pt x="16756" y="2911"/>
                  </a:cubicBezTo>
                  <a:cubicBezTo>
                    <a:pt x="20631" y="6819"/>
                    <a:pt x="20631" y="12892"/>
                    <a:pt x="16756" y="16748"/>
                  </a:cubicBezTo>
                  <a:cubicBezTo>
                    <a:pt x="13004" y="20603"/>
                    <a:pt x="6780" y="20603"/>
                    <a:pt x="2906" y="16748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7" name="Shape 1398"/>
            <p:cNvSpPr/>
            <p:nvPr/>
          </p:nvSpPr>
          <p:spPr>
            <a:xfrm>
              <a:off x="0" y="866759"/>
              <a:ext cx="1251521" cy="7269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00" y="19462"/>
                  </a:moveTo>
                  <a:cubicBezTo>
                    <a:pt x="18434" y="20510"/>
                    <a:pt x="16983" y="20828"/>
                    <a:pt x="16262" y="20124"/>
                  </a:cubicBezTo>
                  <a:cubicBezTo>
                    <a:pt x="15853" y="19697"/>
                    <a:pt x="15765" y="19076"/>
                    <a:pt x="15990" y="18372"/>
                  </a:cubicBezTo>
                  <a:lnTo>
                    <a:pt x="15316" y="17710"/>
                  </a:lnTo>
                  <a:lnTo>
                    <a:pt x="11421" y="21600"/>
                  </a:lnTo>
                  <a:lnTo>
                    <a:pt x="6901" y="17117"/>
                  </a:lnTo>
                  <a:lnTo>
                    <a:pt x="7558" y="16469"/>
                  </a:lnTo>
                  <a:cubicBezTo>
                    <a:pt x="8255" y="16690"/>
                    <a:pt x="8913" y="16621"/>
                    <a:pt x="9321" y="16193"/>
                  </a:cubicBezTo>
                  <a:cubicBezTo>
                    <a:pt x="10043" y="15490"/>
                    <a:pt x="9730" y="14014"/>
                    <a:pt x="8664" y="12966"/>
                  </a:cubicBezTo>
                  <a:cubicBezTo>
                    <a:pt x="7574" y="11903"/>
                    <a:pt x="6131" y="11600"/>
                    <a:pt x="5426" y="12303"/>
                  </a:cubicBezTo>
                  <a:cubicBezTo>
                    <a:pt x="5025" y="12731"/>
                    <a:pt x="4953" y="13393"/>
                    <a:pt x="5154" y="14055"/>
                  </a:cubicBezTo>
                  <a:lnTo>
                    <a:pt x="4520" y="14676"/>
                  </a:lnTo>
                  <a:lnTo>
                    <a:pt x="0" y="10193"/>
                  </a:lnTo>
                  <a:lnTo>
                    <a:pt x="3887" y="6303"/>
                  </a:lnTo>
                  <a:lnTo>
                    <a:pt x="3214" y="5641"/>
                  </a:lnTo>
                  <a:cubicBezTo>
                    <a:pt x="2509" y="5876"/>
                    <a:pt x="1851" y="5793"/>
                    <a:pt x="1451" y="5366"/>
                  </a:cubicBezTo>
                  <a:cubicBezTo>
                    <a:pt x="721" y="4662"/>
                    <a:pt x="1018" y="3186"/>
                    <a:pt x="2084" y="2138"/>
                  </a:cubicBezTo>
                  <a:cubicBezTo>
                    <a:pt x="3142" y="1090"/>
                    <a:pt x="4593" y="772"/>
                    <a:pt x="5314" y="1476"/>
                  </a:cubicBezTo>
                  <a:cubicBezTo>
                    <a:pt x="5723" y="1903"/>
                    <a:pt x="5811" y="2566"/>
                    <a:pt x="5586" y="3228"/>
                  </a:cubicBezTo>
                  <a:lnTo>
                    <a:pt x="6268" y="3890"/>
                  </a:lnTo>
                  <a:lnTo>
                    <a:pt x="10155" y="0"/>
                  </a:lnTo>
                  <a:lnTo>
                    <a:pt x="14683" y="4469"/>
                  </a:lnTo>
                  <a:lnTo>
                    <a:pt x="14026" y="5131"/>
                  </a:lnTo>
                  <a:cubicBezTo>
                    <a:pt x="13321" y="4897"/>
                    <a:pt x="12663" y="4979"/>
                    <a:pt x="12263" y="5407"/>
                  </a:cubicBezTo>
                  <a:cubicBezTo>
                    <a:pt x="11557" y="6110"/>
                    <a:pt x="11854" y="7586"/>
                    <a:pt x="12912" y="8634"/>
                  </a:cubicBezTo>
                  <a:cubicBezTo>
                    <a:pt x="14002" y="9683"/>
                    <a:pt x="15453" y="10000"/>
                    <a:pt x="16150" y="9297"/>
                  </a:cubicBezTo>
                  <a:cubicBezTo>
                    <a:pt x="16559" y="8869"/>
                    <a:pt x="16623" y="8248"/>
                    <a:pt x="16422" y="7545"/>
                  </a:cubicBezTo>
                  <a:lnTo>
                    <a:pt x="17080" y="6883"/>
                  </a:lnTo>
                  <a:lnTo>
                    <a:pt x="21600" y="11366"/>
                  </a:lnTo>
                  <a:lnTo>
                    <a:pt x="17713" y="15255"/>
                  </a:lnTo>
                  <a:lnTo>
                    <a:pt x="18386" y="15917"/>
                  </a:lnTo>
                  <a:cubicBezTo>
                    <a:pt x="19091" y="15683"/>
                    <a:pt x="19749" y="15766"/>
                    <a:pt x="20157" y="16193"/>
                  </a:cubicBezTo>
                  <a:cubicBezTo>
                    <a:pt x="20879" y="16924"/>
                    <a:pt x="20582" y="18372"/>
                    <a:pt x="19500" y="19462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8" name="Shape 1399"/>
            <p:cNvSpPr/>
            <p:nvPr/>
          </p:nvSpPr>
          <p:spPr>
            <a:xfrm>
              <a:off x="1100353" y="940525"/>
              <a:ext cx="38475" cy="97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086" y="16639"/>
                  </a:lnTo>
                  <a:lnTo>
                    <a:pt x="0" y="21600"/>
                  </a:lnTo>
                  <a:lnTo>
                    <a:pt x="0" y="4961"/>
                  </a:lnTo>
                  <a:lnTo>
                    <a:pt x="21600" y="0"/>
                  </a:lnTo>
                </a:path>
              </a:pathLst>
            </a:custGeom>
            <a:solidFill>
              <a:srgbClr val="4751A3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9" name="Shape 1400"/>
            <p:cNvSpPr/>
            <p:nvPr/>
          </p:nvSpPr>
          <p:spPr>
            <a:xfrm>
              <a:off x="829875" y="930280"/>
              <a:ext cx="280259" cy="1839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6781"/>
                  </a:moveTo>
                  <a:lnTo>
                    <a:pt x="21600" y="15749"/>
                  </a:lnTo>
                  <a:cubicBezTo>
                    <a:pt x="21600" y="16077"/>
                    <a:pt x="21600" y="16241"/>
                    <a:pt x="21492" y="16514"/>
                  </a:cubicBezTo>
                  <a:cubicBezTo>
                    <a:pt x="21492" y="16678"/>
                    <a:pt x="21492" y="16678"/>
                    <a:pt x="21385" y="16843"/>
                  </a:cubicBezTo>
                  <a:lnTo>
                    <a:pt x="21385" y="17007"/>
                  </a:lnTo>
                  <a:cubicBezTo>
                    <a:pt x="21385" y="17007"/>
                    <a:pt x="21385" y="17116"/>
                    <a:pt x="21277" y="17116"/>
                  </a:cubicBezTo>
                  <a:cubicBezTo>
                    <a:pt x="21169" y="17280"/>
                    <a:pt x="21169" y="17608"/>
                    <a:pt x="21062" y="17772"/>
                  </a:cubicBezTo>
                  <a:cubicBezTo>
                    <a:pt x="21062" y="17772"/>
                    <a:pt x="21062" y="17936"/>
                    <a:pt x="20990" y="17936"/>
                  </a:cubicBezTo>
                  <a:cubicBezTo>
                    <a:pt x="20990" y="18046"/>
                    <a:pt x="20990" y="18046"/>
                    <a:pt x="20882" y="18046"/>
                  </a:cubicBezTo>
                  <a:cubicBezTo>
                    <a:pt x="20775" y="18210"/>
                    <a:pt x="20775" y="18210"/>
                    <a:pt x="20775" y="18374"/>
                  </a:cubicBezTo>
                  <a:cubicBezTo>
                    <a:pt x="20667" y="18538"/>
                    <a:pt x="20559" y="18866"/>
                    <a:pt x="20380" y="18975"/>
                  </a:cubicBezTo>
                  <a:cubicBezTo>
                    <a:pt x="20380" y="18975"/>
                    <a:pt x="20272" y="18975"/>
                    <a:pt x="20272" y="19139"/>
                  </a:cubicBezTo>
                  <a:cubicBezTo>
                    <a:pt x="20057" y="19467"/>
                    <a:pt x="19878" y="19631"/>
                    <a:pt x="19662" y="19905"/>
                  </a:cubicBezTo>
                  <a:cubicBezTo>
                    <a:pt x="19662" y="19905"/>
                    <a:pt x="19555" y="19905"/>
                    <a:pt x="19555" y="20069"/>
                  </a:cubicBezTo>
                  <a:cubicBezTo>
                    <a:pt x="19340" y="20233"/>
                    <a:pt x="19160" y="20397"/>
                    <a:pt x="18945" y="20561"/>
                  </a:cubicBezTo>
                  <a:cubicBezTo>
                    <a:pt x="18837" y="20561"/>
                    <a:pt x="18765" y="20670"/>
                    <a:pt x="18765" y="20670"/>
                  </a:cubicBezTo>
                  <a:cubicBezTo>
                    <a:pt x="18658" y="20834"/>
                    <a:pt x="18443" y="20834"/>
                    <a:pt x="18335" y="20998"/>
                  </a:cubicBezTo>
                  <a:cubicBezTo>
                    <a:pt x="18335" y="20998"/>
                    <a:pt x="18335" y="20998"/>
                    <a:pt x="18227" y="20998"/>
                  </a:cubicBezTo>
                  <a:cubicBezTo>
                    <a:pt x="17940" y="21163"/>
                    <a:pt x="17546" y="21327"/>
                    <a:pt x="17223" y="21491"/>
                  </a:cubicBezTo>
                  <a:lnTo>
                    <a:pt x="16828" y="21491"/>
                  </a:lnTo>
                  <a:cubicBezTo>
                    <a:pt x="16613" y="21491"/>
                    <a:pt x="16505" y="21600"/>
                    <a:pt x="16326" y="21600"/>
                  </a:cubicBezTo>
                  <a:lnTo>
                    <a:pt x="12989" y="21600"/>
                  </a:lnTo>
                  <a:cubicBezTo>
                    <a:pt x="12773" y="21600"/>
                    <a:pt x="12558" y="21491"/>
                    <a:pt x="12379" y="21491"/>
                  </a:cubicBezTo>
                  <a:lnTo>
                    <a:pt x="11948" y="21491"/>
                  </a:lnTo>
                  <a:cubicBezTo>
                    <a:pt x="11661" y="21491"/>
                    <a:pt x="11446" y="21327"/>
                    <a:pt x="11159" y="21327"/>
                  </a:cubicBezTo>
                  <a:cubicBezTo>
                    <a:pt x="11051" y="21327"/>
                    <a:pt x="10944" y="21327"/>
                    <a:pt x="10836" y="21163"/>
                  </a:cubicBezTo>
                  <a:lnTo>
                    <a:pt x="10764" y="21163"/>
                  </a:lnTo>
                  <a:cubicBezTo>
                    <a:pt x="10334" y="20998"/>
                    <a:pt x="9831" y="20834"/>
                    <a:pt x="9437" y="20670"/>
                  </a:cubicBezTo>
                  <a:lnTo>
                    <a:pt x="9329" y="20670"/>
                  </a:lnTo>
                  <a:cubicBezTo>
                    <a:pt x="9221" y="20670"/>
                    <a:pt x="9221" y="20561"/>
                    <a:pt x="9221" y="20561"/>
                  </a:cubicBezTo>
                  <a:cubicBezTo>
                    <a:pt x="8611" y="20233"/>
                    <a:pt x="8001" y="19905"/>
                    <a:pt x="7391" y="19631"/>
                  </a:cubicBezTo>
                  <a:lnTo>
                    <a:pt x="7320" y="19631"/>
                  </a:lnTo>
                  <a:cubicBezTo>
                    <a:pt x="7212" y="19631"/>
                    <a:pt x="7212" y="19467"/>
                    <a:pt x="7104" y="19467"/>
                  </a:cubicBezTo>
                  <a:cubicBezTo>
                    <a:pt x="6817" y="19303"/>
                    <a:pt x="6494" y="18975"/>
                    <a:pt x="6207" y="18866"/>
                  </a:cubicBezTo>
                  <a:cubicBezTo>
                    <a:pt x="6100" y="18702"/>
                    <a:pt x="5992" y="18702"/>
                    <a:pt x="5884" y="18538"/>
                  </a:cubicBezTo>
                  <a:cubicBezTo>
                    <a:pt x="5490" y="18210"/>
                    <a:pt x="5095" y="17936"/>
                    <a:pt x="4772" y="17608"/>
                  </a:cubicBezTo>
                  <a:cubicBezTo>
                    <a:pt x="1722" y="14983"/>
                    <a:pt x="0" y="11593"/>
                    <a:pt x="0" y="8804"/>
                  </a:cubicBezTo>
                  <a:lnTo>
                    <a:pt x="0" y="0"/>
                  </a:lnTo>
                  <a:cubicBezTo>
                    <a:pt x="0" y="2789"/>
                    <a:pt x="1650" y="6015"/>
                    <a:pt x="4772" y="8804"/>
                  </a:cubicBezTo>
                  <a:cubicBezTo>
                    <a:pt x="5167" y="9132"/>
                    <a:pt x="5490" y="9406"/>
                    <a:pt x="5884" y="9734"/>
                  </a:cubicBezTo>
                  <a:cubicBezTo>
                    <a:pt x="5992" y="9898"/>
                    <a:pt x="6100" y="9898"/>
                    <a:pt x="6207" y="10062"/>
                  </a:cubicBezTo>
                  <a:cubicBezTo>
                    <a:pt x="6494" y="10335"/>
                    <a:pt x="6817" y="10499"/>
                    <a:pt x="7104" y="10663"/>
                  </a:cubicBezTo>
                  <a:cubicBezTo>
                    <a:pt x="7212" y="10663"/>
                    <a:pt x="7320" y="10827"/>
                    <a:pt x="7391" y="10827"/>
                  </a:cubicBezTo>
                  <a:cubicBezTo>
                    <a:pt x="8001" y="11101"/>
                    <a:pt x="8611" y="11429"/>
                    <a:pt x="9221" y="11757"/>
                  </a:cubicBezTo>
                  <a:cubicBezTo>
                    <a:pt x="9329" y="11757"/>
                    <a:pt x="9329" y="11921"/>
                    <a:pt x="9437" y="11921"/>
                  </a:cubicBezTo>
                  <a:cubicBezTo>
                    <a:pt x="9831" y="12030"/>
                    <a:pt x="10334" y="12194"/>
                    <a:pt x="10764" y="12358"/>
                  </a:cubicBezTo>
                  <a:cubicBezTo>
                    <a:pt x="10836" y="12358"/>
                    <a:pt x="10944" y="12523"/>
                    <a:pt x="11051" y="12523"/>
                  </a:cubicBezTo>
                  <a:cubicBezTo>
                    <a:pt x="11374" y="12687"/>
                    <a:pt x="11553" y="12687"/>
                    <a:pt x="11876" y="12687"/>
                  </a:cubicBezTo>
                  <a:cubicBezTo>
                    <a:pt x="11948" y="12687"/>
                    <a:pt x="12163" y="12687"/>
                    <a:pt x="12271" y="12796"/>
                  </a:cubicBezTo>
                  <a:cubicBezTo>
                    <a:pt x="12486" y="12796"/>
                    <a:pt x="12666" y="12960"/>
                    <a:pt x="12881" y="12960"/>
                  </a:cubicBezTo>
                  <a:cubicBezTo>
                    <a:pt x="13096" y="12960"/>
                    <a:pt x="13168" y="13124"/>
                    <a:pt x="13276" y="13124"/>
                  </a:cubicBezTo>
                  <a:lnTo>
                    <a:pt x="15608" y="13124"/>
                  </a:lnTo>
                  <a:cubicBezTo>
                    <a:pt x="15823" y="13124"/>
                    <a:pt x="15895" y="13124"/>
                    <a:pt x="16003" y="12960"/>
                  </a:cubicBezTo>
                  <a:cubicBezTo>
                    <a:pt x="16074" y="12796"/>
                    <a:pt x="16326" y="12796"/>
                    <a:pt x="16505" y="12796"/>
                  </a:cubicBezTo>
                  <a:cubicBezTo>
                    <a:pt x="16613" y="12796"/>
                    <a:pt x="16828" y="12796"/>
                    <a:pt x="16936" y="12687"/>
                  </a:cubicBezTo>
                  <a:cubicBezTo>
                    <a:pt x="17330" y="12523"/>
                    <a:pt x="17653" y="12358"/>
                    <a:pt x="17940" y="12194"/>
                  </a:cubicBezTo>
                  <a:cubicBezTo>
                    <a:pt x="18155" y="12030"/>
                    <a:pt x="18227" y="12030"/>
                    <a:pt x="18335" y="11921"/>
                  </a:cubicBezTo>
                  <a:cubicBezTo>
                    <a:pt x="18443" y="11921"/>
                    <a:pt x="18443" y="11757"/>
                    <a:pt x="18550" y="11757"/>
                  </a:cubicBezTo>
                  <a:cubicBezTo>
                    <a:pt x="18765" y="11593"/>
                    <a:pt x="18945" y="11429"/>
                    <a:pt x="19160" y="11265"/>
                  </a:cubicBezTo>
                  <a:cubicBezTo>
                    <a:pt x="19447" y="10991"/>
                    <a:pt x="19662" y="10827"/>
                    <a:pt x="19878" y="10499"/>
                  </a:cubicBezTo>
                  <a:cubicBezTo>
                    <a:pt x="19878" y="10499"/>
                    <a:pt x="19950" y="10499"/>
                    <a:pt x="19950" y="10335"/>
                  </a:cubicBezTo>
                  <a:cubicBezTo>
                    <a:pt x="20165" y="10062"/>
                    <a:pt x="20380" y="9734"/>
                    <a:pt x="20488" y="9406"/>
                  </a:cubicBezTo>
                  <a:cubicBezTo>
                    <a:pt x="20488" y="9296"/>
                    <a:pt x="20488" y="9296"/>
                    <a:pt x="20559" y="9296"/>
                  </a:cubicBezTo>
                  <a:cubicBezTo>
                    <a:pt x="20667" y="8968"/>
                    <a:pt x="20775" y="8640"/>
                    <a:pt x="20882" y="8367"/>
                  </a:cubicBezTo>
                  <a:lnTo>
                    <a:pt x="20882" y="8203"/>
                  </a:lnTo>
                  <a:cubicBezTo>
                    <a:pt x="21385" y="7601"/>
                    <a:pt x="21492" y="7273"/>
                    <a:pt x="21600" y="6781"/>
                  </a:cubicBezTo>
                </a:path>
              </a:pathLst>
            </a:custGeom>
            <a:solidFill>
              <a:srgbClr val="474E8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0" name="Shape 1401"/>
            <p:cNvSpPr/>
            <p:nvPr/>
          </p:nvSpPr>
          <p:spPr>
            <a:xfrm>
              <a:off x="131140" y="563495"/>
              <a:ext cx="40506" cy="978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961"/>
                  </a:moveTo>
                  <a:lnTo>
                    <a:pt x="21600" y="21600"/>
                  </a:lnTo>
                  <a:lnTo>
                    <a:pt x="0" y="16329"/>
                  </a:lnTo>
                  <a:lnTo>
                    <a:pt x="0" y="0"/>
                  </a:lnTo>
                  <a:lnTo>
                    <a:pt x="21600" y="4961"/>
                  </a:lnTo>
                </a:path>
              </a:pathLst>
            </a:custGeom>
            <a:solidFill>
              <a:srgbClr val="DE1C3A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1" name="Shape 1402"/>
            <p:cNvSpPr/>
            <p:nvPr/>
          </p:nvSpPr>
          <p:spPr>
            <a:xfrm>
              <a:off x="149582" y="982562"/>
              <a:ext cx="91744" cy="423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525" extrusionOk="0">
                  <a:moveTo>
                    <a:pt x="11403" y="1514"/>
                  </a:moveTo>
                  <a:cubicBezTo>
                    <a:pt x="14254" y="5789"/>
                    <a:pt x="16995" y="5789"/>
                    <a:pt x="19736" y="10964"/>
                  </a:cubicBezTo>
                  <a:cubicBezTo>
                    <a:pt x="20065" y="11639"/>
                    <a:pt x="21600" y="13439"/>
                    <a:pt x="21600" y="14789"/>
                  </a:cubicBezTo>
                  <a:cubicBezTo>
                    <a:pt x="21052" y="18614"/>
                    <a:pt x="17653" y="21089"/>
                    <a:pt x="16118" y="20414"/>
                  </a:cubicBezTo>
                  <a:cubicBezTo>
                    <a:pt x="13596" y="19739"/>
                    <a:pt x="11403" y="18614"/>
                    <a:pt x="8662" y="17939"/>
                  </a:cubicBezTo>
                  <a:cubicBezTo>
                    <a:pt x="6798" y="17264"/>
                    <a:pt x="2741" y="17264"/>
                    <a:pt x="877" y="16139"/>
                  </a:cubicBezTo>
                  <a:cubicBezTo>
                    <a:pt x="0" y="14789"/>
                    <a:pt x="0" y="10289"/>
                    <a:pt x="0" y="7814"/>
                  </a:cubicBezTo>
                  <a:cubicBezTo>
                    <a:pt x="0" y="6464"/>
                    <a:pt x="1206" y="3989"/>
                    <a:pt x="1206" y="3989"/>
                  </a:cubicBezTo>
                  <a:cubicBezTo>
                    <a:pt x="2741" y="5339"/>
                    <a:pt x="3399" y="6464"/>
                    <a:pt x="5592" y="5789"/>
                  </a:cubicBezTo>
                  <a:cubicBezTo>
                    <a:pt x="5811" y="5339"/>
                    <a:pt x="6469" y="5339"/>
                    <a:pt x="7127" y="5339"/>
                  </a:cubicBezTo>
                  <a:cubicBezTo>
                    <a:pt x="8991" y="839"/>
                    <a:pt x="10197" y="-511"/>
                    <a:pt x="10855" y="164"/>
                  </a:cubicBezTo>
                  <a:cubicBezTo>
                    <a:pt x="10855" y="164"/>
                    <a:pt x="11074" y="839"/>
                    <a:pt x="11403" y="1514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2" name="Shape 1403"/>
            <p:cNvSpPr/>
            <p:nvPr/>
          </p:nvSpPr>
          <p:spPr>
            <a:xfrm>
              <a:off x="59423" y="918935"/>
              <a:ext cx="88540" cy="4162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21" h="21118" extrusionOk="0">
                  <a:moveTo>
                    <a:pt x="11520" y="1376"/>
                  </a:moveTo>
                  <a:cubicBezTo>
                    <a:pt x="14400" y="6021"/>
                    <a:pt x="17169" y="6021"/>
                    <a:pt x="19938" y="11363"/>
                  </a:cubicBezTo>
                  <a:cubicBezTo>
                    <a:pt x="20271" y="11828"/>
                    <a:pt x="21600" y="15776"/>
                    <a:pt x="21268" y="17170"/>
                  </a:cubicBezTo>
                  <a:cubicBezTo>
                    <a:pt x="20935" y="21118"/>
                    <a:pt x="17502" y="21118"/>
                    <a:pt x="16283" y="21118"/>
                  </a:cubicBezTo>
                  <a:cubicBezTo>
                    <a:pt x="13735" y="20421"/>
                    <a:pt x="11520" y="19260"/>
                    <a:pt x="8751" y="18563"/>
                  </a:cubicBezTo>
                  <a:cubicBezTo>
                    <a:pt x="6868" y="17866"/>
                    <a:pt x="2769" y="17866"/>
                    <a:pt x="886" y="16473"/>
                  </a:cubicBezTo>
                  <a:cubicBezTo>
                    <a:pt x="0" y="15312"/>
                    <a:pt x="0" y="10666"/>
                    <a:pt x="0" y="8112"/>
                  </a:cubicBezTo>
                  <a:cubicBezTo>
                    <a:pt x="0" y="6718"/>
                    <a:pt x="1218" y="4163"/>
                    <a:pt x="1218" y="4163"/>
                  </a:cubicBezTo>
                  <a:cubicBezTo>
                    <a:pt x="2769" y="5324"/>
                    <a:pt x="3434" y="6718"/>
                    <a:pt x="5649" y="6021"/>
                  </a:cubicBezTo>
                  <a:cubicBezTo>
                    <a:pt x="5871" y="5324"/>
                    <a:pt x="6535" y="5324"/>
                    <a:pt x="7200" y="5324"/>
                  </a:cubicBezTo>
                  <a:cubicBezTo>
                    <a:pt x="9083" y="679"/>
                    <a:pt x="10302" y="-482"/>
                    <a:pt x="10966" y="215"/>
                  </a:cubicBezTo>
                  <a:cubicBezTo>
                    <a:pt x="10966" y="-482"/>
                    <a:pt x="11188" y="679"/>
                    <a:pt x="11520" y="1376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3" name="Shape 1404"/>
            <p:cNvSpPr/>
            <p:nvPr/>
          </p:nvSpPr>
          <p:spPr>
            <a:xfrm>
              <a:off x="178269" y="618820"/>
              <a:ext cx="137525" cy="1039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0" h="20382" extrusionOk="0">
                  <a:moveTo>
                    <a:pt x="0" y="2370"/>
                  </a:moveTo>
                  <a:lnTo>
                    <a:pt x="6285" y="0"/>
                  </a:lnTo>
                  <a:lnTo>
                    <a:pt x="7080" y="4192"/>
                  </a:lnTo>
                  <a:cubicBezTo>
                    <a:pt x="7080" y="4192"/>
                    <a:pt x="14015" y="11119"/>
                    <a:pt x="16688" y="13397"/>
                  </a:cubicBezTo>
                  <a:cubicBezTo>
                    <a:pt x="16688" y="13397"/>
                    <a:pt x="21600" y="14400"/>
                    <a:pt x="21383" y="17772"/>
                  </a:cubicBezTo>
                  <a:cubicBezTo>
                    <a:pt x="21383" y="21144"/>
                    <a:pt x="17338" y="21600"/>
                    <a:pt x="14448" y="17043"/>
                  </a:cubicBezTo>
                  <a:cubicBezTo>
                    <a:pt x="14448" y="17043"/>
                    <a:pt x="6068" y="12668"/>
                    <a:pt x="4262" y="10299"/>
                  </a:cubicBezTo>
                  <a:cubicBezTo>
                    <a:pt x="2601" y="8020"/>
                    <a:pt x="0" y="2370"/>
                    <a:pt x="0" y="237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4" name="Shape 1405"/>
            <p:cNvSpPr/>
            <p:nvPr/>
          </p:nvSpPr>
          <p:spPr>
            <a:xfrm>
              <a:off x="158344" y="555911"/>
              <a:ext cx="68636" cy="849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29" h="19153" extrusionOk="0">
                  <a:moveTo>
                    <a:pt x="3479" y="279"/>
                  </a:moveTo>
                  <a:cubicBezTo>
                    <a:pt x="11804" y="-2447"/>
                    <a:pt x="16529" y="15693"/>
                    <a:pt x="16529" y="15693"/>
                  </a:cubicBezTo>
                  <a:cubicBezTo>
                    <a:pt x="16529" y="15693"/>
                    <a:pt x="15291" y="16846"/>
                    <a:pt x="11804" y="18000"/>
                  </a:cubicBezTo>
                  <a:cubicBezTo>
                    <a:pt x="7979" y="19153"/>
                    <a:pt x="4829" y="19153"/>
                    <a:pt x="4829" y="19153"/>
                  </a:cubicBezTo>
                  <a:cubicBezTo>
                    <a:pt x="4829" y="19153"/>
                    <a:pt x="-5071" y="2901"/>
                    <a:pt x="3479" y="279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5" name="Shape 1406"/>
            <p:cNvSpPr/>
            <p:nvPr/>
          </p:nvSpPr>
          <p:spPr>
            <a:xfrm>
              <a:off x="63521" y="751222"/>
              <a:ext cx="116331" cy="1849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150" extrusionOk="0">
                  <a:moveTo>
                    <a:pt x="9802" y="123"/>
                  </a:moveTo>
                  <a:cubicBezTo>
                    <a:pt x="12058" y="-584"/>
                    <a:pt x="21600" y="1990"/>
                    <a:pt x="21600" y="1990"/>
                  </a:cubicBezTo>
                  <a:cubicBezTo>
                    <a:pt x="21600" y="1990"/>
                    <a:pt x="15701" y="11780"/>
                    <a:pt x="13966" y="13345"/>
                  </a:cubicBezTo>
                  <a:cubicBezTo>
                    <a:pt x="12058" y="14909"/>
                    <a:pt x="7373" y="19603"/>
                    <a:pt x="7373" y="19603"/>
                  </a:cubicBezTo>
                  <a:cubicBezTo>
                    <a:pt x="7373" y="19603"/>
                    <a:pt x="1475" y="21016"/>
                    <a:pt x="0" y="19300"/>
                  </a:cubicBezTo>
                  <a:cubicBezTo>
                    <a:pt x="0" y="19300"/>
                    <a:pt x="1475" y="13496"/>
                    <a:pt x="4945" y="11074"/>
                  </a:cubicBezTo>
                  <a:cubicBezTo>
                    <a:pt x="4945" y="11074"/>
                    <a:pt x="7894" y="880"/>
                    <a:pt x="9802" y="123"/>
                  </a:cubicBezTo>
                </a:path>
              </a:pathLst>
            </a:custGeom>
            <a:solidFill>
              <a:srgbClr val="47645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6" name="Shape 1407"/>
            <p:cNvSpPr/>
            <p:nvPr/>
          </p:nvSpPr>
          <p:spPr>
            <a:xfrm>
              <a:off x="90585" y="764305"/>
              <a:ext cx="109757" cy="2345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23" h="21177" extrusionOk="0">
                  <a:moveTo>
                    <a:pt x="13473" y="713"/>
                  </a:moveTo>
                  <a:cubicBezTo>
                    <a:pt x="13473" y="713"/>
                    <a:pt x="18063" y="8976"/>
                    <a:pt x="18873" y="10611"/>
                  </a:cubicBezTo>
                  <a:cubicBezTo>
                    <a:pt x="19593" y="12289"/>
                    <a:pt x="21123" y="20551"/>
                    <a:pt x="21123" y="20551"/>
                  </a:cubicBezTo>
                  <a:cubicBezTo>
                    <a:pt x="17343" y="21600"/>
                    <a:pt x="12753" y="21013"/>
                    <a:pt x="12753" y="21013"/>
                  </a:cubicBezTo>
                  <a:lnTo>
                    <a:pt x="8433" y="10485"/>
                  </a:lnTo>
                  <a:cubicBezTo>
                    <a:pt x="8433" y="10485"/>
                    <a:pt x="3573" y="5662"/>
                    <a:pt x="1593" y="3901"/>
                  </a:cubicBezTo>
                  <a:cubicBezTo>
                    <a:pt x="-477" y="2013"/>
                    <a:pt x="63" y="0"/>
                    <a:pt x="63" y="0"/>
                  </a:cubicBezTo>
                  <a:lnTo>
                    <a:pt x="13473" y="713"/>
                  </a:lnTo>
                </a:path>
              </a:pathLst>
            </a:custGeom>
            <a:solidFill>
              <a:srgbClr val="4773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7" name="Shape 1408"/>
            <p:cNvSpPr/>
            <p:nvPr/>
          </p:nvSpPr>
          <p:spPr>
            <a:xfrm>
              <a:off x="84011" y="550935"/>
              <a:ext cx="114285" cy="2299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9429" extrusionOk="0">
                  <a:moveTo>
                    <a:pt x="21600" y="2581"/>
                  </a:moveTo>
                  <a:lnTo>
                    <a:pt x="19580" y="18644"/>
                  </a:lnTo>
                  <a:cubicBezTo>
                    <a:pt x="10712" y="20411"/>
                    <a:pt x="0" y="18644"/>
                    <a:pt x="0" y="18644"/>
                  </a:cubicBezTo>
                  <a:lnTo>
                    <a:pt x="0" y="2228"/>
                  </a:lnTo>
                  <a:cubicBezTo>
                    <a:pt x="8254" y="-1189"/>
                    <a:pt x="18351" y="343"/>
                    <a:pt x="18351" y="343"/>
                  </a:cubicBezTo>
                  <a:cubicBezTo>
                    <a:pt x="20898" y="892"/>
                    <a:pt x="21600" y="2581"/>
                    <a:pt x="21600" y="2581"/>
                  </a:cubicBezTo>
                </a:path>
              </a:pathLst>
            </a:custGeom>
            <a:solidFill>
              <a:srgbClr val="476A6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8" name="Shape 1409"/>
            <p:cNvSpPr/>
            <p:nvPr/>
          </p:nvSpPr>
          <p:spPr>
            <a:xfrm>
              <a:off x="116797" y="534808"/>
              <a:ext cx="50179" cy="512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189" h="18788" extrusionOk="0">
                  <a:moveTo>
                    <a:pt x="14560" y="0"/>
                  </a:moveTo>
                  <a:lnTo>
                    <a:pt x="14560" y="6293"/>
                  </a:lnTo>
                  <a:cubicBezTo>
                    <a:pt x="14560" y="6293"/>
                    <a:pt x="21600" y="14797"/>
                    <a:pt x="12640" y="18198"/>
                  </a:cubicBezTo>
                  <a:cubicBezTo>
                    <a:pt x="3520" y="21600"/>
                    <a:pt x="0" y="9184"/>
                    <a:pt x="0" y="9184"/>
                  </a:cubicBezTo>
                  <a:lnTo>
                    <a:pt x="5920" y="2891"/>
                  </a:lnTo>
                  <a:lnTo>
                    <a:pt x="14560" y="0"/>
                  </a:lnTo>
                </a:path>
              </a:pathLst>
            </a:custGeom>
            <a:solidFill>
              <a:srgbClr val="FFE98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9" name="Shape 1410"/>
            <p:cNvSpPr/>
            <p:nvPr/>
          </p:nvSpPr>
          <p:spPr>
            <a:xfrm>
              <a:off x="90159" y="639311"/>
              <a:ext cx="137525" cy="1036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0" h="20324" extrusionOk="0">
                  <a:moveTo>
                    <a:pt x="0" y="2278"/>
                  </a:moveTo>
                  <a:lnTo>
                    <a:pt x="6285" y="0"/>
                  </a:lnTo>
                  <a:lnTo>
                    <a:pt x="7152" y="4101"/>
                  </a:lnTo>
                  <a:cubicBezTo>
                    <a:pt x="7152" y="4101"/>
                    <a:pt x="14015" y="11028"/>
                    <a:pt x="16688" y="13306"/>
                  </a:cubicBezTo>
                  <a:cubicBezTo>
                    <a:pt x="16688" y="13306"/>
                    <a:pt x="21600" y="14400"/>
                    <a:pt x="21383" y="17681"/>
                  </a:cubicBezTo>
                  <a:cubicBezTo>
                    <a:pt x="21383" y="21053"/>
                    <a:pt x="17338" y="21600"/>
                    <a:pt x="14448" y="16952"/>
                  </a:cubicBezTo>
                  <a:cubicBezTo>
                    <a:pt x="14448" y="16952"/>
                    <a:pt x="6068" y="12577"/>
                    <a:pt x="4262" y="10299"/>
                  </a:cubicBezTo>
                  <a:cubicBezTo>
                    <a:pt x="2601" y="7929"/>
                    <a:pt x="0" y="2278"/>
                    <a:pt x="0" y="2278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0" name="Shape 1411"/>
            <p:cNvSpPr/>
            <p:nvPr/>
          </p:nvSpPr>
          <p:spPr>
            <a:xfrm>
              <a:off x="70234" y="576020"/>
              <a:ext cx="68636" cy="853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29" h="19239" extrusionOk="0">
                  <a:moveTo>
                    <a:pt x="3479" y="260"/>
                  </a:moveTo>
                  <a:cubicBezTo>
                    <a:pt x="11804" y="-2361"/>
                    <a:pt x="16529" y="15674"/>
                    <a:pt x="16529" y="15674"/>
                  </a:cubicBezTo>
                  <a:cubicBezTo>
                    <a:pt x="16529" y="15674"/>
                    <a:pt x="15291" y="16827"/>
                    <a:pt x="11804" y="17981"/>
                  </a:cubicBezTo>
                  <a:cubicBezTo>
                    <a:pt x="7979" y="19239"/>
                    <a:pt x="4829" y="19239"/>
                    <a:pt x="4829" y="19239"/>
                  </a:cubicBezTo>
                  <a:cubicBezTo>
                    <a:pt x="4829" y="19239"/>
                    <a:pt x="-5071" y="2987"/>
                    <a:pt x="3479" y="260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1" name="Shape 1412"/>
            <p:cNvSpPr/>
            <p:nvPr/>
          </p:nvSpPr>
          <p:spPr>
            <a:xfrm>
              <a:off x="98355" y="479483"/>
              <a:ext cx="85595" cy="896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900"/>
                  </a:moveTo>
                  <a:cubicBezTo>
                    <a:pt x="0" y="9225"/>
                    <a:pt x="354" y="8887"/>
                    <a:pt x="354" y="7987"/>
                  </a:cubicBezTo>
                  <a:lnTo>
                    <a:pt x="354" y="7650"/>
                  </a:lnTo>
                  <a:cubicBezTo>
                    <a:pt x="590" y="7313"/>
                    <a:pt x="590" y="6975"/>
                    <a:pt x="944" y="6975"/>
                  </a:cubicBezTo>
                  <a:lnTo>
                    <a:pt x="1652" y="6975"/>
                  </a:lnTo>
                  <a:cubicBezTo>
                    <a:pt x="2007" y="6975"/>
                    <a:pt x="2243" y="7313"/>
                    <a:pt x="2597" y="7650"/>
                  </a:cubicBezTo>
                  <a:lnTo>
                    <a:pt x="2951" y="7987"/>
                  </a:lnTo>
                  <a:cubicBezTo>
                    <a:pt x="3659" y="8550"/>
                    <a:pt x="4013" y="9900"/>
                    <a:pt x="4249" y="11137"/>
                  </a:cubicBezTo>
                  <a:cubicBezTo>
                    <a:pt x="4957" y="11475"/>
                    <a:pt x="5311" y="11812"/>
                    <a:pt x="5666" y="11812"/>
                  </a:cubicBezTo>
                  <a:cubicBezTo>
                    <a:pt x="5666" y="11475"/>
                    <a:pt x="5902" y="10800"/>
                    <a:pt x="5902" y="9900"/>
                  </a:cubicBezTo>
                  <a:lnTo>
                    <a:pt x="5902" y="6413"/>
                  </a:lnTo>
                  <a:lnTo>
                    <a:pt x="4603" y="4163"/>
                  </a:lnTo>
                  <a:cubicBezTo>
                    <a:pt x="4603" y="3150"/>
                    <a:pt x="4957" y="2250"/>
                    <a:pt x="5666" y="1350"/>
                  </a:cubicBezTo>
                  <a:cubicBezTo>
                    <a:pt x="5902" y="675"/>
                    <a:pt x="6610" y="338"/>
                    <a:pt x="7318" y="0"/>
                  </a:cubicBezTo>
                  <a:lnTo>
                    <a:pt x="8262" y="0"/>
                  </a:lnTo>
                  <a:cubicBezTo>
                    <a:pt x="9325" y="338"/>
                    <a:pt x="10269" y="1013"/>
                    <a:pt x="11921" y="1913"/>
                  </a:cubicBezTo>
                  <a:cubicBezTo>
                    <a:pt x="13574" y="2925"/>
                    <a:pt x="15344" y="3150"/>
                    <a:pt x="16997" y="3150"/>
                  </a:cubicBezTo>
                  <a:cubicBezTo>
                    <a:pt x="18649" y="3150"/>
                    <a:pt x="19593" y="2925"/>
                    <a:pt x="20302" y="2250"/>
                  </a:cubicBezTo>
                  <a:cubicBezTo>
                    <a:pt x="20892" y="1575"/>
                    <a:pt x="21246" y="1350"/>
                    <a:pt x="21246" y="1013"/>
                  </a:cubicBezTo>
                  <a:cubicBezTo>
                    <a:pt x="21600" y="1913"/>
                    <a:pt x="21600" y="2588"/>
                    <a:pt x="21600" y="3150"/>
                  </a:cubicBezTo>
                  <a:lnTo>
                    <a:pt x="21600" y="7650"/>
                  </a:lnTo>
                  <a:cubicBezTo>
                    <a:pt x="21600" y="11137"/>
                    <a:pt x="21246" y="13725"/>
                    <a:pt x="20656" y="15300"/>
                  </a:cubicBezTo>
                  <a:cubicBezTo>
                    <a:pt x="19948" y="16875"/>
                    <a:pt x="19239" y="18113"/>
                    <a:pt x="18649" y="18787"/>
                  </a:cubicBezTo>
                  <a:cubicBezTo>
                    <a:pt x="18649" y="19125"/>
                    <a:pt x="18295" y="19350"/>
                    <a:pt x="17941" y="19687"/>
                  </a:cubicBezTo>
                  <a:cubicBezTo>
                    <a:pt x="17941" y="20025"/>
                    <a:pt x="17587" y="20025"/>
                    <a:pt x="17233" y="20362"/>
                  </a:cubicBezTo>
                  <a:cubicBezTo>
                    <a:pt x="17233" y="20700"/>
                    <a:pt x="17233" y="20700"/>
                    <a:pt x="16997" y="20700"/>
                  </a:cubicBezTo>
                  <a:cubicBezTo>
                    <a:pt x="16643" y="20700"/>
                    <a:pt x="16643" y="20700"/>
                    <a:pt x="16289" y="21037"/>
                  </a:cubicBezTo>
                  <a:cubicBezTo>
                    <a:pt x="15934" y="21262"/>
                    <a:pt x="15934" y="21262"/>
                    <a:pt x="15580" y="21262"/>
                  </a:cubicBezTo>
                  <a:cubicBezTo>
                    <a:pt x="15344" y="21600"/>
                    <a:pt x="14636" y="21600"/>
                    <a:pt x="13928" y="21600"/>
                  </a:cubicBezTo>
                  <a:cubicBezTo>
                    <a:pt x="12984" y="21600"/>
                    <a:pt x="11921" y="21600"/>
                    <a:pt x="10977" y="21262"/>
                  </a:cubicBezTo>
                  <a:cubicBezTo>
                    <a:pt x="9679" y="21037"/>
                    <a:pt x="8262" y="20025"/>
                    <a:pt x="6964" y="18787"/>
                  </a:cubicBezTo>
                  <a:cubicBezTo>
                    <a:pt x="6256" y="17775"/>
                    <a:pt x="5311" y="16875"/>
                    <a:pt x="4603" y="15637"/>
                  </a:cubicBezTo>
                  <a:lnTo>
                    <a:pt x="3659" y="13725"/>
                  </a:lnTo>
                  <a:cubicBezTo>
                    <a:pt x="3659" y="13725"/>
                    <a:pt x="3659" y="13950"/>
                    <a:pt x="3305" y="13950"/>
                  </a:cubicBezTo>
                  <a:lnTo>
                    <a:pt x="2951" y="13950"/>
                  </a:lnTo>
                  <a:cubicBezTo>
                    <a:pt x="2243" y="13950"/>
                    <a:pt x="1652" y="13725"/>
                    <a:pt x="944" y="12375"/>
                  </a:cubicBezTo>
                  <a:cubicBezTo>
                    <a:pt x="590" y="11475"/>
                    <a:pt x="354" y="10800"/>
                    <a:pt x="0" y="990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2" name="Shape 1413"/>
            <p:cNvSpPr/>
            <p:nvPr/>
          </p:nvSpPr>
          <p:spPr>
            <a:xfrm>
              <a:off x="98702" y="458992"/>
              <a:ext cx="93449" cy="753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20" h="21600" extrusionOk="0">
                  <a:moveTo>
                    <a:pt x="4708" y="8956"/>
                  </a:moveTo>
                  <a:cubicBezTo>
                    <a:pt x="4070" y="10010"/>
                    <a:pt x="3751" y="10800"/>
                    <a:pt x="3751" y="12249"/>
                  </a:cubicBezTo>
                  <a:lnTo>
                    <a:pt x="5240" y="15278"/>
                  </a:lnTo>
                  <a:cubicBezTo>
                    <a:pt x="5240" y="15673"/>
                    <a:pt x="4389" y="20810"/>
                    <a:pt x="4389" y="21600"/>
                  </a:cubicBezTo>
                  <a:cubicBezTo>
                    <a:pt x="4070" y="21600"/>
                    <a:pt x="3751" y="21205"/>
                    <a:pt x="3219" y="20810"/>
                  </a:cubicBezTo>
                  <a:cubicBezTo>
                    <a:pt x="2899" y="19361"/>
                    <a:pt x="2580" y="17912"/>
                    <a:pt x="1942" y="17122"/>
                  </a:cubicBezTo>
                  <a:lnTo>
                    <a:pt x="1622" y="16727"/>
                  </a:lnTo>
                  <a:cubicBezTo>
                    <a:pt x="1410" y="16332"/>
                    <a:pt x="1090" y="16068"/>
                    <a:pt x="771" y="16068"/>
                  </a:cubicBezTo>
                  <a:lnTo>
                    <a:pt x="133" y="16068"/>
                  </a:lnTo>
                  <a:cubicBezTo>
                    <a:pt x="-80" y="13434"/>
                    <a:pt x="-80" y="11590"/>
                    <a:pt x="452" y="9746"/>
                  </a:cubicBezTo>
                  <a:cubicBezTo>
                    <a:pt x="1410" y="3820"/>
                    <a:pt x="4070" y="395"/>
                    <a:pt x="8326" y="0"/>
                  </a:cubicBezTo>
                  <a:cubicBezTo>
                    <a:pt x="13114" y="0"/>
                    <a:pt x="16093" y="1580"/>
                    <a:pt x="17583" y="4873"/>
                  </a:cubicBezTo>
                  <a:cubicBezTo>
                    <a:pt x="17902" y="5268"/>
                    <a:pt x="18753" y="6717"/>
                    <a:pt x="19073" y="7112"/>
                  </a:cubicBezTo>
                  <a:cubicBezTo>
                    <a:pt x="19392" y="7902"/>
                    <a:pt x="21201" y="7902"/>
                    <a:pt x="21520" y="8561"/>
                  </a:cubicBezTo>
                  <a:cubicBezTo>
                    <a:pt x="21520" y="8956"/>
                    <a:pt x="21094" y="9220"/>
                    <a:pt x="20562" y="10010"/>
                  </a:cubicBezTo>
                  <a:cubicBezTo>
                    <a:pt x="19924" y="10668"/>
                    <a:pt x="19073" y="12249"/>
                    <a:pt x="17583" y="12249"/>
                  </a:cubicBezTo>
                  <a:cubicBezTo>
                    <a:pt x="16093" y="12249"/>
                    <a:pt x="11837" y="11590"/>
                    <a:pt x="10348" y="10800"/>
                  </a:cubicBezTo>
                  <a:cubicBezTo>
                    <a:pt x="8858" y="9746"/>
                    <a:pt x="8007" y="8166"/>
                    <a:pt x="7049" y="7507"/>
                  </a:cubicBezTo>
                  <a:lnTo>
                    <a:pt x="6198" y="7507"/>
                  </a:lnTo>
                  <a:cubicBezTo>
                    <a:pt x="5879" y="7507"/>
                    <a:pt x="5240" y="7902"/>
                    <a:pt x="4708" y="8956"/>
                  </a:cubicBezTo>
                </a:path>
              </a:pathLst>
            </a:custGeom>
            <a:solidFill>
              <a:srgbClr val="DECB2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3" name="Shape 1414"/>
            <p:cNvSpPr/>
            <p:nvPr/>
          </p:nvSpPr>
          <p:spPr>
            <a:xfrm>
              <a:off x="380900" y="643409"/>
              <a:ext cx="16393" cy="1019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788" y="0"/>
                  </a:moveTo>
                  <a:cubicBezTo>
                    <a:pt x="17788" y="297"/>
                    <a:pt x="17788" y="594"/>
                    <a:pt x="21600" y="594"/>
                  </a:cubicBezTo>
                  <a:cubicBezTo>
                    <a:pt x="21600" y="1090"/>
                    <a:pt x="17788" y="1387"/>
                    <a:pt x="17788" y="1684"/>
                  </a:cubicBezTo>
                  <a:lnTo>
                    <a:pt x="17788" y="0"/>
                  </a:lnTo>
                  <a:close/>
                  <a:moveTo>
                    <a:pt x="17788" y="15952"/>
                  </a:moveTo>
                  <a:lnTo>
                    <a:pt x="17788" y="16547"/>
                  </a:lnTo>
                  <a:cubicBezTo>
                    <a:pt x="17788" y="16844"/>
                    <a:pt x="17788" y="17042"/>
                    <a:pt x="13976" y="17637"/>
                  </a:cubicBezTo>
                  <a:lnTo>
                    <a:pt x="13976" y="18231"/>
                  </a:lnTo>
                  <a:cubicBezTo>
                    <a:pt x="10165" y="18429"/>
                    <a:pt x="10165" y="19024"/>
                    <a:pt x="10165" y="19321"/>
                  </a:cubicBezTo>
                  <a:lnTo>
                    <a:pt x="10165" y="19916"/>
                  </a:lnTo>
                  <a:lnTo>
                    <a:pt x="0" y="21600"/>
                  </a:lnTo>
                  <a:lnTo>
                    <a:pt x="0" y="5648"/>
                  </a:lnTo>
                  <a:lnTo>
                    <a:pt x="10165" y="3963"/>
                  </a:lnTo>
                  <a:cubicBezTo>
                    <a:pt x="10165" y="3666"/>
                    <a:pt x="10165" y="3666"/>
                    <a:pt x="13976" y="3369"/>
                  </a:cubicBezTo>
                  <a:cubicBezTo>
                    <a:pt x="17788" y="3072"/>
                    <a:pt x="17788" y="2576"/>
                    <a:pt x="17788" y="2279"/>
                  </a:cubicBezTo>
                  <a:lnTo>
                    <a:pt x="17788" y="15952"/>
                  </a:lnTo>
                  <a:close/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4" name="Shape 1415"/>
            <p:cNvSpPr/>
            <p:nvPr/>
          </p:nvSpPr>
          <p:spPr>
            <a:xfrm>
              <a:off x="870857" y="711029"/>
              <a:ext cx="38475" cy="958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6567"/>
                  </a:lnTo>
                  <a:lnTo>
                    <a:pt x="0" y="21600"/>
                  </a:lnTo>
                  <a:lnTo>
                    <a:pt x="0" y="5033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5" name="Shape 1416"/>
            <p:cNvSpPr/>
            <p:nvPr/>
          </p:nvSpPr>
          <p:spPr>
            <a:xfrm>
              <a:off x="116797" y="702833"/>
              <a:ext cx="128628" cy="1245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7979"/>
                  </a:moveTo>
                  <a:lnTo>
                    <a:pt x="21600" y="20955"/>
                  </a:lnTo>
                  <a:lnTo>
                    <a:pt x="21366" y="20955"/>
                  </a:lnTo>
                  <a:cubicBezTo>
                    <a:pt x="20430" y="21116"/>
                    <a:pt x="19339" y="21116"/>
                    <a:pt x="18481" y="21358"/>
                  </a:cubicBezTo>
                  <a:lnTo>
                    <a:pt x="17389" y="21358"/>
                  </a:lnTo>
                  <a:cubicBezTo>
                    <a:pt x="16921" y="21358"/>
                    <a:pt x="16531" y="21600"/>
                    <a:pt x="16064" y="21600"/>
                  </a:cubicBezTo>
                  <a:lnTo>
                    <a:pt x="13412" y="21600"/>
                  </a:lnTo>
                  <a:cubicBezTo>
                    <a:pt x="12788" y="21600"/>
                    <a:pt x="12321" y="21600"/>
                    <a:pt x="11853" y="21358"/>
                  </a:cubicBezTo>
                  <a:lnTo>
                    <a:pt x="11697" y="21358"/>
                  </a:lnTo>
                  <a:cubicBezTo>
                    <a:pt x="11229" y="21358"/>
                    <a:pt x="10527" y="21116"/>
                    <a:pt x="10137" y="21116"/>
                  </a:cubicBezTo>
                  <a:lnTo>
                    <a:pt x="9279" y="21116"/>
                  </a:lnTo>
                  <a:cubicBezTo>
                    <a:pt x="9045" y="21116"/>
                    <a:pt x="8812" y="21116"/>
                    <a:pt x="8578" y="20955"/>
                  </a:cubicBezTo>
                  <a:cubicBezTo>
                    <a:pt x="8344" y="20955"/>
                    <a:pt x="7954" y="20713"/>
                    <a:pt x="7720" y="20713"/>
                  </a:cubicBezTo>
                  <a:cubicBezTo>
                    <a:pt x="7486" y="20713"/>
                    <a:pt x="7486" y="20713"/>
                    <a:pt x="7252" y="20472"/>
                  </a:cubicBezTo>
                  <a:lnTo>
                    <a:pt x="7018" y="20472"/>
                  </a:lnTo>
                  <a:cubicBezTo>
                    <a:pt x="6394" y="20230"/>
                    <a:pt x="5926" y="19988"/>
                    <a:pt x="5536" y="19988"/>
                  </a:cubicBezTo>
                  <a:cubicBezTo>
                    <a:pt x="4835" y="19827"/>
                    <a:pt x="4367" y="19585"/>
                    <a:pt x="3743" y="19101"/>
                  </a:cubicBezTo>
                  <a:cubicBezTo>
                    <a:pt x="1092" y="17490"/>
                    <a:pt x="0" y="15475"/>
                    <a:pt x="0" y="12976"/>
                  </a:cubicBezTo>
                  <a:lnTo>
                    <a:pt x="0" y="0"/>
                  </a:lnTo>
                  <a:cubicBezTo>
                    <a:pt x="0" y="2499"/>
                    <a:pt x="1326" y="4513"/>
                    <a:pt x="3743" y="6125"/>
                  </a:cubicBezTo>
                  <a:cubicBezTo>
                    <a:pt x="4211" y="6367"/>
                    <a:pt x="4835" y="6851"/>
                    <a:pt x="5536" y="7093"/>
                  </a:cubicBezTo>
                  <a:cubicBezTo>
                    <a:pt x="6160" y="7254"/>
                    <a:pt x="6628" y="7496"/>
                    <a:pt x="7252" y="7737"/>
                  </a:cubicBezTo>
                  <a:cubicBezTo>
                    <a:pt x="7486" y="7737"/>
                    <a:pt x="7486" y="7737"/>
                    <a:pt x="7720" y="7979"/>
                  </a:cubicBezTo>
                  <a:cubicBezTo>
                    <a:pt x="8110" y="8221"/>
                    <a:pt x="8578" y="8221"/>
                    <a:pt x="9279" y="8382"/>
                  </a:cubicBezTo>
                  <a:lnTo>
                    <a:pt x="9669" y="8382"/>
                  </a:lnTo>
                  <a:cubicBezTo>
                    <a:pt x="10371" y="8624"/>
                    <a:pt x="10995" y="8624"/>
                    <a:pt x="11697" y="8624"/>
                  </a:cubicBezTo>
                  <a:cubicBezTo>
                    <a:pt x="11697" y="8624"/>
                    <a:pt x="11697" y="8624"/>
                    <a:pt x="11853" y="8624"/>
                  </a:cubicBezTo>
                  <a:lnTo>
                    <a:pt x="16064" y="8624"/>
                  </a:lnTo>
                  <a:cubicBezTo>
                    <a:pt x="16531" y="8624"/>
                    <a:pt x="16921" y="8624"/>
                    <a:pt x="17389" y="8382"/>
                  </a:cubicBezTo>
                  <a:cubicBezTo>
                    <a:pt x="17857" y="8382"/>
                    <a:pt x="18013" y="8382"/>
                    <a:pt x="18481" y="8221"/>
                  </a:cubicBezTo>
                  <a:cubicBezTo>
                    <a:pt x="19339" y="7979"/>
                    <a:pt x="20274" y="7979"/>
                    <a:pt x="21366" y="7737"/>
                  </a:cubicBezTo>
                  <a:cubicBezTo>
                    <a:pt x="21366" y="7737"/>
                    <a:pt x="21600" y="7737"/>
                    <a:pt x="21600" y="7979"/>
                  </a:cubicBezTo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6" name="Shape 1417"/>
            <p:cNvSpPr/>
            <p:nvPr/>
          </p:nvSpPr>
          <p:spPr>
            <a:xfrm>
              <a:off x="245888" y="747912"/>
              <a:ext cx="38476" cy="958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985"/>
                  </a:moveTo>
                  <a:lnTo>
                    <a:pt x="21600" y="21600"/>
                  </a:lnTo>
                  <a:lnTo>
                    <a:pt x="0" y="16719"/>
                  </a:lnTo>
                  <a:lnTo>
                    <a:pt x="0" y="0"/>
                  </a:lnTo>
                  <a:lnTo>
                    <a:pt x="21600" y="4985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7" name="Shape 1418"/>
            <p:cNvSpPr/>
            <p:nvPr/>
          </p:nvSpPr>
          <p:spPr>
            <a:xfrm>
              <a:off x="747912" y="727421"/>
              <a:ext cx="128627" cy="12248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713" y="14727"/>
                  </a:moveTo>
                  <a:cubicBezTo>
                    <a:pt x="5478" y="14727"/>
                    <a:pt x="5243" y="14973"/>
                    <a:pt x="5243" y="14973"/>
                  </a:cubicBezTo>
                  <a:cubicBezTo>
                    <a:pt x="4852" y="15218"/>
                    <a:pt x="4148" y="15464"/>
                    <a:pt x="3757" y="15709"/>
                  </a:cubicBezTo>
                  <a:cubicBezTo>
                    <a:pt x="3052" y="16118"/>
                    <a:pt x="2661" y="16609"/>
                    <a:pt x="2191" y="16855"/>
                  </a:cubicBezTo>
                  <a:cubicBezTo>
                    <a:pt x="1722" y="17264"/>
                    <a:pt x="1330" y="17755"/>
                    <a:pt x="1096" y="18245"/>
                  </a:cubicBezTo>
                  <a:cubicBezTo>
                    <a:pt x="1096" y="18491"/>
                    <a:pt x="1096" y="18491"/>
                    <a:pt x="861" y="18491"/>
                  </a:cubicBezTo>
                  <a:cubicBezTo>
                    <a:pt x="626" y="18818"/>
                    <a:pt x="391" y="19309"/>
                    <a:pt x="157" y="19800"/>
                  </a:cubicBezTo>
                  <a:lnTo>
                    <a:pt x="157" y="19964"/>
                  </a:lnTo>
                  <a:cubicBezTo>
                    <a:pt x="0" y="20455"/>
                    <a:pt x="0" y="21109"/>
                    <a:pt x="0" y="21600"/>
                  </a:cubicBezTo>
                  <a:lnTo>
                    <a:pt x="0" y="8264"/>
                  </a:lnTo>
                  <a:cubicBezTo>
                    <a:pt x="0" y="7855"/>
                    <a:pt x="0" y="7609"/>
                    <a:pt x="157" y="7118"/>
                  </a:cubicBezTo>
                  <a:cubicBezTo>
                    <a:pt x="157" y="6873"/>
                    <a:pt x="157" y="6873"/>
                    <a:pt x="391" y="6709"/>
                  </a:cubicBezTo>
                  <a:lnTo>
                    <a:pt x="391" y="6464"/>
                  </a:lnTo>
                  <a:cubicBezTo>
                    <a:pt x="391" y="6464"/>
                    <a:pt x="391" y="6218"/>
                    <a:pt x="626" y="6218"/>
                  </a:cubicBezTo>
                  <a:cubicBezTo>
                    <a:pt x="861" y="5973"/>
                    <a:pt x="861" y="5564"/>
                    <a:pt x="1096" y="5318"/>
                  </a:cubicBezTo>
                  <a:cubicBezTo>
                    <a:pt x="1096" y="5318"/>
                    <a:pt x="1096" y="5073"/>
                    <a:pt x="1330" y="5073"/>
                  </a:cubicBezTo>
                  <a:cubicBezTo>
                    <a:pt x="1330" y="4827"/>
                    <a:pt x="1330" y="4827"/>
                    <a:pt x="1487" y="4827"/>
                  </a:cubicBezTo>
                  <a:cubicBezTo>
                    <a:pt x="1722" y="4582"/>
                    <a:pt x="1722" y="4582"/>
                    <a:pt x="1722" y="4336"/>
                  </a:cubicBezTo>
                  <a:cubicBezTo>
                    <a:pt x="1957" y="4173"/>
                    <a:pt x="2191" y="3682"/>
                    <a:pt x="2661" y="3436"/>
                  </a:cubicBezTo>
                  <a:cubicBezTo>
                    <a:pt x="3052" y="3027"/>
                    <a:pt x="3522" y="2782"/>
                    <a:pt x="4148" y="2291"/>
                  </a:cubicBezTo>
                  <a:lnTo>
                    <a:pt x="4383" y="2291"/>
                  </a:lnTo>
                  <a:cubicBezTo>
                    <a:pt x="4852" y="2045"/>
                    <a:pt x="5243" y="1800"/>
                    <a:pt x="5948" y="1636"/>
                  </a:cubicBezTo>
                  <a:cubicBezTo>
                    <a:pt x="6183" y="1636"/>
                    <a:pt x="6417" y="1391"/>
                    <a:pt x="6417" y="1391"/>
                  </a:cubicBezTo>
                  <a:cubicBezTo>
                    <a:pt x="6574" y="1145"/>
                    <a:pt x="6809" y="1145"/>
                    <a:pt x="7043" y="1145"/>
                  </a:cubicBezTo>
                  <a:lnTo>
                    <a:pt x="7513" y="1145"/>
                  </a:lnTo>
                  <a:cubicBezTo>
                    <a:pt x="8139" y="900"/>
                    <a:pt x="8609" y="655"/>
                    <a:pt x="9235" y="655"/>
                  </a:cubicBezTo>
                  <a:cubicBezTo>
                    <a:pt x="9470" y="655"/>
                    <a:pt x="9470" y="409"/>
                    <a:pt x="9704" y="409"/>
                  </a:cubicBezTo>
                  <a:lnTo>
                    <a:pt x="9939" y="409"/>
                  </a:lnTo>
                  <a:cubicBezTo>
                    <a:pt x="10096" y="409"/>
                    <a:pt x="10330" y="409"/>
                    <a:pt x="10565" y="245"/>
                  </a:cubicBezTo>
                  <a:cubicBezTo>
                    <a:pt x="11035" y="245"/>
                    <a:pt x="11270" y="0"/>
                    <a:pt x="11661" y="0"/>
                  </a:cubicBezTo>
                  <a:lnTo>
                    <a:pt x="17452" y="0"/>
                  </a:lnTo>
                  <a:cubicBezTo>
                    <a:pt x="17609" y="0"/>
                    <a:pt x="18078" y="0"/>
                    <a:pt x="18313" y="245"/>
                  </a:cubicBezTo>
                  <a:cubicBezTo>
                    <a:pt x="18783" y="245"/>
                    <a:pt x="18939" y="245"/>
                    <a:pt x="19409" y="409"/>
                  </a:cubicBezTo>
                  <a:lnTo>
                    <a:pt x="19878" y="409"/>
                  </a:lnTo>
                  <a:cubicBezTo>
                    <a:pt x="20504" y="409"/>
                    <a:pt x="20974" y="655"/>
                    <a:pt x="21600" y="655"/>
                  </a:cubicBezTo>
                  <a:lnTo>
                    <a:pt x="21600" y="13827"/>
                  </a:lnTo>
                  <a:cubicBezTo>
                    <a:pt x="20974" y="13582"/>
                    <a:pt x="20270" y="13582"/>
                    <a:pt x="19409" y="13418"/>
                  </a:cubicBezTo>
                  <a:cubicBezTo>
                    <a:pt x="18939" y="13418"/>
                    <a:pt x="18783" y="13418"/>
                    <a:pt x="18313" y="13173"/>
                  </a:cubicBezTo>
                  <a:cubicBezTo>
                    <a:pt x="17843" y="13173"/>
                    <a:pt x="17452" y="13173"/>
                    <a:pt x="16983" y="12927"/>
                  </a:cubicBezTo>
                  <a:lnTo>
                    <a:pt x="11896" y="12927"/>
                  </a:lnTo>
                  <a:cubicBezTo>
                    <a:pt x="11426" y="12927"/>
                    <a:pt x="11035" y="13173"/>
                    <a:pt x="10565" y="13173"/>
                  </a:cubicBezTo>
                  <a:cubicBezTo>
                    <a:pt x="10330" y="13173"/>
                    <a:pt x="10096" y="13173"/>
                    <a:pt x="9939" y="13418"/>
                  </a:cubicBezTo>
                  <a:cubicBezTo>
                    <a:pt x="9704" y="13418"/>
                    <a:pt x="9470" y="13418"/>
                    <a:pt x="9235" y="13582"/>
                  </a:cubicBezTo>
                  <a:cubicBezTo>
                    <a:pt x="8609" y="13827"/>
                    <a:pt x="8139" y="13827"/>
                    <a:pt x="7513" y="14073"/>
                  </a:cubicBezTo>
                  <a:cubicBezTo>
                    <a:pt x="6417" y="14564"/>
                    <a:pt x="5948" y="14727"/>
                    <a:pt x="5713" y="14727"/>
                  </a:cubicBez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8" name="Shape 1419"/>
            <p:cNvSpPr/>
            <p:nvPr/>
          </p:nvSpPr>
          <p:spPr>
            <a:xfrm>
              <a:off x="1006915" y="813482"/>
              <a:ext cx="16394" cy="999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350"/>
                  </a:moveTo>
                  <a:lnTo>
                    <a:pt x="21600" y="21600"/>
                  </a:lnTo>
                  <a:cubicBezTo>
                    <a:pt x="21600" y="20692"/>
                    <a:pt x="21600" y="19884"/>
                    <a:pt x="16971" y="18976"/>
                  </a:cubicBezTo>
                  <a:cubicBezTo>
                    <a:pt x="12343" y="18168"/>
                    <a:pt x="7714" y="17260"/>
                    <a:pt x="0" y="16150"/>
                  </a:cubicBezTo>
                  <a:lnTo>
                    <a:pt x="0" y="0"/>
                  </a:lnTo>
                  <a:cubicBezTo>
                    <a:pt x="12343" y="2019"/>
                    <a:pt x="21600" y="3735"/>
                    <a:pt x="21600" y="5350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9" name="Shape 1420"/>
            <p:cNvSpPr/>
            <p:nvPr/>
          </p:nvSpPr>
          <p:spPr>
            <a:xfrm>
              <a:off x="356539" y="958967"/>
              <a:ext cx="267966" cy="1839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2851"/>
                  </a:moveTo>
                  <a:lnTo>
                    <a:pt x="21600" y="21600"/>
                  </a:lnTo>
                  <a:cubicBezTo>
                    <a:pt x="21600" y="18866"/>
                    <a:pt x="19918" y="15585"/>
                    <a:pt x="16667" y="12851"/>
                  </a:cubicBezTo>
                  <a:cubicBezTo>
                    <a:pt x="16219" y="12523"/>
                    <a:pt x="15920" y="12194"/>
                    <a:pt x="15509" y="11921"/>
                  </a:cubicBezTo>
                  <a:cubicBezTo>
                    <a:pt x="15397" y="11757"/>
                    <a:pt x="15284" y="11757"/>
                    <a:pt x="15172" y="11593"/>
                  </a:cubicBezTo>
                  <a:cubicBezTo>
                    <a:pt x="14873" y="11265"/>
                    <a:pt x="14537" y="11155"/>
                    <a:pt x="14238" y="10991"/>
                  </a:cubicBezTo>
                  <a:cubicBezTo>
                    <a:pt x="14126" y="10991"/>
                    <a:pt x="14014" y="10827"/>
                    <a:pt x="13902" y="10827"/>
                  </a:cubicBezTo>
                  <a:lnTo>
                    <a:pt x="11996" y="9898"/>
                  </a:lnTo>
                  <a:cubicBezTo>
                    <a:pt x="11921" y="9898"/>
                    <a:pt x="11921" y="9898"/>
                    <a:pt x="11809" y="9734"/>
                  </a:cubicBezTo>
                  <a:cubicBezTo>
                    <a:pt x="11361" y="9570"/>
                    <a:pt x="10837" y="9406"/>
                    <a:pt x="10426" y="9296"/>
                  </a:cubicBezTo>
                  <a:cubicBezTo>
                    <a:pt x="10314" y="9296"/>
                    <a:pt x="10202" y="9132"/>
                    <a:pt x="10127" y="9132"/>
                  </a:cubicBezTo>
                  <a:cubicBezTo>
                    <a:pt x="9791" y="8968"/>
                    <a:pt x="9567" y="8968"/>
                    <a:pt x="9268" y="8968"/>
                  </a:cubicBezTo>
                  <a:cubicBezTo>
                    <a:pt x="9156" y="8968"/>
                    <a:pt x="8969" y="8968"/>
                    <a:pt x="8857" y="8804"/>
                  </a:cubicBezTo>
                  <a:cubicBezTo>
                    <a:pt x="8633" y="8804"/>
                    <a:pt x="8408" y="8640"/>
                    <a:pt x="8221" y="8640"/>
                  </a:cubicBezTo>
                  <a:cubicBezTo>
                    <a:pt x="7997" y="8640"/>
                    <a:pt x="7885" y="8531"/>
                    <a:pt x="7773" y="8531"/>
                  </a:cubicBezTo>
                  <a:lnTo>
                    <a:pt x="5381" y="8531"/>
                  </a:lnTo>
                  <a:cubicBezTo>
                    <a:pt x="5157" y="8531"/>
                    <a:pt x="5045" y="8531"/>
                    <a:pt x="4933" y="8640"/>
                  </a:cubicBezTo>
                  <a:cubicBezTo>
                    <a:pt x="4821" y="8804"/>
                    <a:pt x="4634" y="8804"/>
                    <a:pt x="4410" y="8804"/>
                  </a:cubicBezTo>
                  <a:cubicBezTo>
                    <a:pt x="4298" y="8804"/>
                    <a:pt x="4111" y="8804"/>
                    <a:pt x="3999" y="8968"/>
                  </a:cubicBezTo>
                  <a:cubicBezTo>
                    <a:pt x="3588" y="9132"/>
                    <a:pt x="3251" y="9296"/>
                    <a:pt x="2952" y="9406"/>
                  </a:cubicBezTo>
                  <a:cubicBezTo>
                    <a:pt x="2728" y="9570"/>
                    <a:pt x="2616" y="9570"/>
                    <a:pt x="2504" y="9734"/>
                  </a:cubicBezTo>
                  <a:cubicBezTo>
                    <a:pt x="2429" y="9734"/>
                    <a:pt x="2317" y="9898"/>
                    <a:pt x="2317" y="9898"/>
                  </a:cubicBezTo>
                  <a:lnTo>
                    <a:pt x="1682" y="10335"/>
                  </a:lnTo>
                  <a:lnTo>
                    <a:pt x="1570" y="10499"/>
                  </a:lnTo>
                  <a:cubicBezTo>
                    <a:pt x="1345" y="10827"/>
                    <a:pt x="1046" y="10991"/>
                    <a:pt x="934" y="11265"/>
                  </a:cubicBezTo>
                  <a:lnTo>
                    <a:pt x="635" y="11757"/>
                  </a:lnTo>
                  <a:cubicBezTo>
                    <a:pt x="523" y="11757"/>
                    <a:pt x="523" y="11921"/>
                    <a:pt x="523" y="11921"/>
                  </a:cubicBezTo>
                  <a:cubicBezTo>
                    <a:pt x="523" y="12030"/>
                    <a:pt x="411" y="12030"/>
                    <a:pt x="411" y="12194"/>
                  </a:cubicBezTo>
                  <a:cubicBezTo>
                    <a:pt x="411" y="12358"/>
                    <a:pt x="299" y="12358"/>
                    <a:pt x="299" y="12523"/>
                  </a:cubicBezTo>
                  <a:cubicBezTo>
                    <a:pt x="187" y="12687"/>
                    <a:pt x="187" y="12687"/>
                    <a:pt x="187" y="12851"/>
                  </a:cubicBezTo>
                  <a:cubicBezTo>
                    <a:pt x="187" y="12960"/>
                    <a:pt x="187" y="12960"/>
                    <a:pt x="75" y="13124"/>
                  </a:cubicBezTo>
                  <a:cubicBezTo>
                    <a:pt x="75" y="13288"/>
                    <a:pt x="0" y="13452"/>
                    <a:pt x="0" y="13452"/>
                  </a:cubicBezTo>
                  <a:lnTo>
                    <a:pt x="0" y="4648"/>
                  </a:lnTo>
                  <a:cubicBezTo>
                    <a:pt x="0" y="4484"/>
                    <a:pt x="75" y="4320"/>
                    <a:pt x="75" y="4320"/>
                  </a:cubicBezTo>
                  <a:lnTo>
                    <a:pt x="75" y="4047"/>
                  </a:lnTo>
                  <a:cubicBezTo>
                    <a:pt x="75" y="3883"/>
                    <a:pt x="187" y="3883"/>
                    <a:pt x="187" y="3718"/>
                  </a:cubicBezTo>
                  <a:cubicBezTo>
                    <a:pt x="187" y="3718"/>
                    <a:pt x="187" y="3554"/>
                    <a:pt x="299" y="3554"/>
                  </a:cubicBezTo>
                  <a:lnTo>
                    <a:pt x="299" y="3390"/>
                  </a:lnTo>
                  <a:cubicBezTo>
                    <a:pt x="299" y="3281"/>
                    <a:pt x="411" y="3281"/>
                    <a:pt x="411" y="3117"/>
                  </a:cubicBezTo>
                  <a:lnTo>
                    <a:pt x="523" y="2953"/>
                  </a:lnTo>
                  <a:lnTo>
                    <a:pt x="822" y="2461"/>
                  </a:lnTo>
                  <a:cubicBezTo>
                    <a:pt x="1046" y="2187"/>
                    <a:pt x="1271" y="2023"/>
                    <a:pt x="1457" y="1695"/>
                  </a:cubicBezTo>
                  <a:lnTo>
                    <a:pt x="1570" y="1695"/>
                  </a:lnTo>
                  <a:cubicBezTo>
                    <a:pt x="1570" y="1695"/>
                    <a:pt x="1682" y="1695"/>
                    <a:pt x="1682" y="1586"/>
                  </a:cubicBezTo>
                  <a:lnTo>
                    <a:pt x="2317" y="1094"/>
                  </a:lnTo>
                  <a:cubicBezTo>
                    <a:pt x="2429" y="1094"/>
                    <a:pt x="2504" y="930"/>
                    <a:pt x="2504" y="930"/>
                  </a:cubicBezTo>
                  <a:cubicBezTo>
                    <a:pt x="2616" y="766"/>
                    <a:pt x="2840" y="766"/>
                    <a:pt x="2952" y="656"/>
                  </a:cubicBezTo>
                  <a:lnTo>
                    <a:pt x="3027" y="656"/>
                  </a:lnTo>
                  <a:cubicBezTo>
                    <a:pt x="3363" y="492"/>
                    <a:pt x="3774" y="328"/>
                    <a:pt x="4111" y="164"/>
                  </a:cubicBezTo>
                  <a:lnTo>
                    <a:pt x="4522" y="164"/>
                  </a:lnTo>
                  <a:cubicBezTo>
                    <a:pt x="4746" y="164"/>
                    <a:pt x="4821" y="0"/>
                    <a:pt x="5045" y="0"/>
                  </a:cubicBezTo>
                  <a:lnTo>
                    <a:pt x="8520" y="0"/>
                  </a:lnTo>
                  <a:cubicBezTo>
                    <a:pt x="8745" y="0"/>
                    <a:pt x="8969" y="164"/>
                    <a:pt x="9156" y="164"/>
                  </a:cubicBezTo>
                  <a:lnTo>
                    <a:pt x="9567" y="164"/>
                  </a:lnTo>
                  <a:cubicBezTo>
                    <a:pt x="9903" y="164"/>
                    <a:pt x="10127" y="328"/>
                    <a:pt x="10426" y="328"/>
                  </a:cubicBezTo>
                  <a:cubicBezTo>
                    <a:pt x="10538" y="328"/>
                    <a:pt x="10651" y="328"/>
                    <a:pt x="10763" y="492"/>
                  </a:cubicBezTo>
                  <a:lnTo>
                    <a:pt x="10837" y="492"/>
                  </a:lnTo>
                  <a:cubicBezTo>
                    <a:pt x="11286" y="656"/>
                    <a:pt x="11809" y="766"/>
                    <a:pt x="12220" y="930"/>
                  </a:cubicBezTo>
                  <a:lnTo>
                    <a:pt x="12332" y="930"/>
                  </a:lnTo>
                  <a:cubicBezTo>
                    <a:pt x="12444" y="930"/>
                    <a:pt x="12444" y="1094"/>
                    <a:pt x="12444" y="1094"/>
                  </a:cubicBezTo>
                  <a:lnTo>
                    <a:pt x="14313" y="2023"/>
                  </a:lnTo>
                  <a:lnTo>
                    <a:pt x="14425" y="2023"/>
                  </a:lnTo>
                  <a:cubicBezTo>
                    <a:pt x="14537" y="2023"/>
                    <a:pt x="14537" y="2187"/>
                    <a:pt x="14649" y="2187"/>
                  </a:cubicBezTo>
                  <a:cubicBezTo>
                    <a:pt x="14948" y="2351"/>
                    <a:pt x="15284" y="2625"/>
                    <a:pt x="15583" y="2789"/>
                  </a:cubicBezTo>
                  <a:cubicBezTo>
                    <a:pt x="15696" y="2953"/>
                    <a:pt x="15808" y="2953"/>
                    <a:pt x="15920" y="3117"/>
                  </a:cubicBezTo>
                  <a:cubicBezTo>
                    <a:pt x="16331" y="3390"/>
                    <a:pt x="16742" y="3718"/>
                    <a:pt x="17078" y="4047"/>
                  </a:cubicBezTo>
                  <a:cubicBezTo>
                    <a:pt x="19918" y="6671"/>
                    <a:pt x="21600" y="9898"/>
                    <a:pt x="21600" y="12851"/>
                  </a:cubicBez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0" name="Shape 1421"/>
            <p:cNvSpPr/>
            <p:nvPr/>
          </p:nvSpPr>
          <p:spPr>
            <a:xfrm>
              <a:off x="321704" y="1028636"/>
              <a:ext cx="40506" cy="97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6639"/>
                  </a:lnTo>
                  <a:lnTo>
                    <a:pt x="0" y="21600"/>
                  </a:lnTo>
                  <a:lnTo>
                    <a:pt x="0" y="4961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1" name="Shape 1422"/>
            <p:cNvSpPr/>
            <p:nvPr/>
          </p:nvSpPr>
          <p:spPr>
            <a:xfrm>
              <a:off x="59423" y="901593"/>
              <a:ext cx="261818" cy="2249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4444"/>
                  </a:moveTo>
                  <a:lnTo>
                    <a:pt x="21600" y="21600"/>
                  </a:lnTo>
                  <a:lnTo>
                    <a:pt x="0" y="7156"/>
                  </a:lnTo>
                  <a:lnTo>
                    <a:pt x="0" y="0"/>
                  </a:lnTo>
                  <a:lnTo>
                    <a:pt x="21600" y="14444"/>
                  </a:ln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2" name="Shape 1423"/>
            <p:cNvSpPr/>
            <p:nvPr/>
          </p:nvSpPr>
          <p:spPr>
            <a:xfrm>
              <a:off x="1086010" y="942574"/>
              <a:ext cx="224935" cy="2064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7850"/>
                  </a:lnTo>
                  <a:lnTo>
                    <a:pt x="0" y="21600"/>
                  </a:lnTo>
                  <a:lnTo>
                    <a:pt x="0" y="13750"/>
                  </a:lnTo>
                  <a:lnTo>
                    <a:pt x="21600" y="0"/>
                  </a:lnTo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3" name="Shape 1424"/>
            <p:cNvSpPr/>
            <p:nvPr/>
          </p:nvSpPr>
          <p:spPr>
            <a:xfrm>
              <a:off x="948721" y="1153629"/>
              <a:ext cx="40506" cy="97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271"/>
                  </a:moveTo>
                  <a:lnTo>
                    <a:pt x="21600" y="21600"/>
                  </a:lnTo>
                  <a:lnTo>
                    <a:pt x="0" y="16639"/>
                  </a:lnTo>
                  <a:lnTo>
                    <a:pt x="0" y="0"/>
                  </a:lnTo>
                  <a:lnTo>
                    <a:pt x="21600" y="5271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4" name="Shape 1425"/>
            <p:cNvSpPr/>
            <p:nvPr/>
          </p:nvSpPr>
          <p:spPr>
            <a:xfrm>
              <a:off x="979458" y="1139285"/>
              <a:ext cx="271717" cy="183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2" h="21600" extrusionOk="0">
                  <a:moveTo>
                    <a:pt x="21490" y="0"/>
                  </a:moveTo>
                  <a:cubicBezTo>
                    <a:pt x="21600" y="271"/>
                    <a:pt x="21600" y="597"/>
                    <a:pt x="21490" y="1357"/>
                  </a:cubicBezTo>
                  <a:lnTo>
                    <a:pt x="21490" y="0"/>
                  </a:lnTo>
                  <a:close/>
                  <a:moveTo>
                    <a:pt x="21490" y="8738"/>
                  </a:moveTo>
                  <a:lnTo>
                    <a:pt x="21490" y="8846"/>
                  </a:lnTo>
                  <a:cubicBezTo>
                    <a:pt x="21490" y="9172"/>
                    <a:pt x="21490" y="9497"/>
                    <a:pt x="21416" y="9660"/>
                  </a:cubicBezTo>
                  <a:cubicBezTo>
                    <a:pt x="21416" y="9769"/>
                    <a:pt x="21416" y="9769"/>
                    <a:pt x="21306" y="9932"/>
                  </a:cubicBezTo>
                  <a:cubicBezTo>
                    <a:pt x="21195" y="10257"/>
                    <a:pt x="21195" y="10420"/>
                    <a:pt x="21195" y="10529"/>
                  </a:cubicBezTo>
                  <a:lnTo>
                    <a:pt x="21195" y="10691"/>
                  </a:lnTo>
                  <a:cubicBezTo>
                    <a:pt x="21085" y="10854"/>
                    <a:pt x="21085" y="11017"/>
                    <a:pt x="20974" y="11180"/>
                  </a:cubicBezTo>
                  <a:cubicBezTo>
                    <a:pt x="20864" y="11343"/>
                    <a:pt x="20864" y="11451"/>
                    <a:pt x="20864" y="11614"/>
                  </a:cubicBezTo>
                  <a:cubicBezTo>
                    <a:pt x="20864" y="11614"/>
                    <a:pt x="20864" y="11777"/>
                    <a:pt x="20790" y="11777"/>
                  </a:cubicBezTo>
                  <a:cubicBezTo>
                    <a:pt x="20680" y="12103"/>
                    <a:pt x="20459" y="12374"/>
                    <a:pt x="20349" y="12699"/>
                  </a:cubicBezTo>
                  <a:cubicBezTo>
                    <a:pt x="20349" y="12862"/>
                    <a:pt x="20275" y="12862"/>
                    <a:pt x="20275" y="13025"/>
                  </a:cubicBezTo>
                  <a:lnTo>
                    <a:pt x="20165" y="13134"/>
                  </a:lnTo>
                  <a:cubicBezTo>
                    <a:pt x="19944" y="13459"/>
                    <a:pt x="19834" y="13785"/>
                    <a:pt x="19650" y="13948"/>
                  </a:cubicBezTo>
                  <a:lnTo>
                    <a:pt x="19429" y="14219"/>
                  </a:lnTo>
                  <a:lnTo>
                    <a:pt x="19208" y="14545"/>
                  </a:lnTo>
                  <a:lnTo>
                    <a:pt x="19024" y="14870"/>
                  </a:lnTo>
                  <a:cubicBezTo>
                    <a:pt x="18803" y="15142"/>
                    <a:pt x="18583" y="15305"/>
                    <a:pt x="18399" y="15630"/>
                  </a:cubicBezTo>
                  <a:cubicBezTo>
                    <a:pt x="18288" y="15739"/>
                    <a:pt x="18067" y="15902"/>
                    <a:pt x="17957" y="16064"/>
                  </a:cubicBezTo>
                  <a:cubicBezTo>
                    <a:pt x="17663" y="16390"/>
                    <a:pt x="17442" y="16553"/>
                    <a:pt x="17148" y="16824"/>
                  </a:cubicBezTo>
                  <a:cubicBezTo>
                    <a:pt x="17037" y="16987"/>
                    <a:pt x="16927" y="16987"/>
                    <a:pt x="16816" y="17150"/>
                  </a:cubicBezTo>
                  <a:cubicBezTo>
                    <a:pt x="16743" y="17313"/>
                    <a:pt x="16632" y="17313"/>
                    <a:pt x="16632" y="17421"/>
                  </a:cubicBezTo>
                  <a:cubicBezTo>
                    <a:pt x="16007" y="18072"/>
                    <a:pt x="15381" y="18507"/>
                    <a:pt x="14645" y="18832"/>
                  </a:cubicBezTo>
                  <a:lnTo>
                    <a:pt x="14535" y="18832"/>
                  </a:lnTo>
                  <a:cubicBezTo>
                    <a:pt x="13909" y="19266"/>
                    <a:pt x="13210" y="19592"/>
                    <a:pt x="12585" y="19918"/>
                  </a:cubicBezTo>
                  <a:cubicBezTo>
                    <a:pt x="12474" y="19918"/>
                    <a:pt x="12474" y="19918"/>
                    <a:pt x="12364" y="20026"/>
                  </a:cubicBezTo>
                  <a:cubicBezTo>
                    <a:pt x="12070" y="20189"/>
                    <a:pt x="11628" y="20352"/>
                    <a:pt x="11334" y="20515"/>
                  </a:cubicBezTo>
                  <a:cubicBezTo>
                    <a:pt x="11223" y="20677"/>
                    <a:pt x="11113" y="20677"/>
                    <a:pt x="10929" y="20677"/>
                  </a:cubicBezTo>
                  <a:cubicBezTo>
                    <a:pt x="10598" y="20840"/>
                    <a:pt x="10303" y="20949"/>
                    <a:pt x="9972" y="20949"/>
                  </a:cubicBezTo>
                  <a:cubicBezTo>
                    <a:pt x="9862" y="20949"/>
                    <a:pt x="9751" y="20949"/>
                    <a:pt x="9751" y="21112"/>
                  </a:cubicBezTo>
                  <a:lnTo>
                    <a:pt x="9678" y="21112"/>
                  </a:lnTo>
                  <a:cubicBezTo>
                    <a:pt x="9236" y="21274"/>
                    <a:pt x="8721" y="21274"/>
                    <a:pt x="8316" y="21437"/>
                  </a:cubicBezTo>
                  <a:lnTo>
                    <a:pt x="7911" y="21437"/>
                  </a:lnTo>
                  <a:cubicBezTo>
                    <a:pt x="7691" y="21437"/>
                    <a:pt x="7470" y="21600"/>
                    <a:pt x="7175" y="21600"/>
                  </a:cubicBezTo>
                  <a:lnTo>
                    <a:pt x="5299" y="21600"/>
                  </a:lnTo>
                  <a:cubicBezTo>
                    <a:pt x="5188" y="21600"/>
                    <a:pt x="5078" y="21600"/>
                    <a:pt x="4894" y="21437"/>
                  </a:cubicBezTo>
                  <a:lnTo>
                    <a:pt x="4563" y="21437"/>
                  </a:lnTo>
                  <a:cubicBezTo>
                    <a:pt x="4379" y="21437"/>
                    <a:pt x="4158" y="21274"/>
                    <a:pt x="3937" y="21274"/>
                  </a:cubicBezTo>
                  <a:lnTo>
                    <a:pt x="3864" y="21274"/>
                  </a:lnTo>
                  <a:cubicBezTo>
                    <a:pt x="3643" y="21274"/>
                    <a:pt x="3422" y="21112"/>
                    <a:pt x="3312" y="21112"/>
                  </a:cubicBezTo>
                  <a:lnTo>
                    <a:pt x="3238" y="21112"/>
                  </a:lnTo>
                  <a:cubicBezTo>
                    <a:pt x="3128" y="21112"/>
                    <a:pt x="3017" y="20949"/>
                    <a:pt x="2907" y="20949"/>
                  </a:cubicBezTo>
                  <a:cubicBezTo>
                    <a:pt x="2797" y="20949"/>
                    <a:pt x="2723" y="20840"/>
                    <a:pt x="2613" y="20840"/>
                  </a:cubicBezTo>
                  <a:lnTo>
                    <a:pt x="2502" y="20840"/>
                  </a:lnTo>
                  <a:cubicBezTo>
                    <a:pt x="2171" y="20677"/>
                    <a:pt x="1987" y="20515"/>
                    <a:pt x="1766" y="20352"/>
                  </a:cubicBezTo>
                  <a:cubicBezTo>
                    <a:pt x="515" y="19266"/>
                    <a:pt x="0" y="17910"/>
                    <a:pt x="0" y="16227"/>
                  </a:cubicBezTo>
                  <a:lnTo>
                    <a:pt x="0" y="7489"/>
                  </a:lnTo>
                  <a:cubicBezTo>
                    <a:pt x="0" y="9172"/>
                    <a:pt x="626" y="10529"/>
                    <a:pt x="1766" y="11614"/>
                  </a:cubicBezTo>
                  <a:cubicBezTo>
                    <a:pt x="1987" y="11777"/>
                    <a:pt x="2281" y="11940"/>
                    <a:pt x="2502" y="12103"/>
                  </a:cubicBezTo>
                  <a:cubicBezTo>
                    <a:pt x="2613" y="12265"/>
                    <a:pt x="2723" y="12265"/>
                    <a:pt x="2907" y="12265"/>
                  </a:cubicBezTo>
                  <a:cubicBezTo>
                    <a:pt x="3017" y="12265"/>
                    <a:pt x="3128" y="12374"/>
                    <a:pt x="3238" y="12374"/>
                  </a:cubicBezTo>
                  <a:cubicBezTo>
                    <a:pt x="3422" y="12537"/>
                    <a:pt x="3643" y="12537"/>
                    <a:pt x="3864" y="12699"/>
                  </a:cubicBezTo>
                  <a:lnTo>
                    <a:pt x="3937" y="12699"/>
                  </a:lnTo>
                  <a:cubicBezTo>
                    <a:pt x="4158" y="12862"/>
                    <a:pt x="4489" y="12862"/>
                    <a:pt x="4673" y="12862"/>
                  </a:cubicBezTo>
                  <a:lnTo>
                    <a:pt x="4894" y="12862"/>
                  </a:lnTo>
                  <a:cubicBezTo>
                    <a:pt x="5078" y="12862"/>
                    <a:pt x="5299" y="13025"/>
                    <a:pt x="5409" y="13025"/>
                  </a:cubicBezTo>
                  <a:lnTo>
                    <a:pt x="7065" y="13025"/>
                  </a:lnTo>
                  <a:cubicBezTo>
                    <a:pt x="7286" y="13025"/>
                    <a:pt x="7470" y="13025"/>
                    <a:pt x="7801" y="12862"/>
                  </a:cubicBezTo>
                  <a:lnTo>
                    <a:pt x="8206" y="12862"/>
                  </a:lnTo>
                  <a:cubicBezTo>
                    <a:pt x="8611" y="12699"/>
                    <a:pt x="9163" y="12699"/>
                    <a:pt x="9567" y="12537"/>
                  </a:cubicBezTo>
                  <a:cubicBezTo>
                    <a:pt x="9678" y="12537"/>
                    <a:pt x="9751" y="12537"/>
                    <a:pt x="9862" y="12374"/>
                  </a:cubicBezTo>
                  <a:cubicBezTo>
                    <a:pt x="10193" y="12265"/>
                    <a:pt x="10487" y="12265"/>
                    <a:pt x="10818" y="12103"/>
                  </a:cubicBezTo>
                  <a:cubicBezTo>
                    <a:pt x="10929" y="11940"/>
                    <a:pt x="11002" y="11940"/>
                    <a:pt x="11223" y="11940"/>
                  </a:cubicBezTo>
                  <a:cubicBezTo>
                    <a:pt x="11518" y="11777"/>
                    <a:pt x="11959" y="11614"/>
                    <a:pt x="12253" y="11451"/>
                  </a:cubicBezTo>
                  <a:cubicBezTo>
                    <a:pt x="12364" y="11451"/>
                    <a:pt x="12364" y="11451"/>
                    <a:pt x="12474" y="11343"/>
                  </a:cubicBezTo>
                  <a:cubicBezTo>
                    <a:pt x="13100" y="11017"/>
                    <a:pt x="13836" y="10691"/>
                    <a:pt x="14425" y="10257"/>
                  </a:cubicBezTo>
                  <a:lnTo>
                    <a:pt x="14535" y="10257"/>
                  </a:lnTo>
                  <a:cubicBezTo>
                    <a:pt x="15160" y="9769"/>
                    <a:pt x="15896" y="9335"/>
                    <a:pt x="16522" y="8846"/>
                  </a:cubicBezTo>
                  <a:cubicBezTo>
                    <a:pt x="16743" y="8738"/>
                    <a:pt x="16816" y="8575"/>
                    <a:pt x="17037" y="8412"/>
                  </a:cubicBezTo>
                  <a:cubicBezTo>
                    <a:pt x="17332" y="8086"/>
                    <a:pt x="17552" y="7978"/>
                    <a:pt x="17883" y="7652"/>
                  </a:cubicBezTo>
                  <a:cubicBezTo>
                    <a:pt x="17957" y="7489"/>
                    <a:pt x="18178" y="7327"/>
                    <a:pt x="18288" y="7164"/>
                  </a:cubicBezTo>
                  <a:cubicBezTo>
                    <a:pt x="18509" y="6892"/>
                    <a:pt x="18693" y="6730"/>
                    <a:pt x="18914" y="6404"/>
                  </a:cubicBezTo>
                  <a:cubicBezTo>
                    <a:pt x="19024" y="6241"/>
                    <a:pt x="19208" y="6133"/>
                    <a:pt x="19319" y="5970"/>
                  </a:cubicBezTo>
                  <a:lnTo>
                    <a:pt x="19539" y="5644"/>
                  </a:lnTo>
                  <a:cubicBezTo>
                    <a:pt x="19723" y="5373"/>
                    <a:pt x="19834" y="5047"/>
                    <a:pt x="20055" y="4884"/>
                  </a:cubicBezTo>
                  <a:cubicBezTo>
                    <a:pt x="20165" y="4884"/>
                    <a:pt x="20165" y="4722"/>
                    <a:pt x="20165" y="4722"/>
                  </a:cubicBezTo>
                  <a:lnTo>
                    <a:pt x="20349" y="4450"/>
                  </a:lnTo>
                  <a:cubicBezTo>
                    <a:pt x="20459" y="4125"/>
                    <a:pt x="20680" y="3799"/>
                    <a:pt x="20790" y="3528"/>
                  </a:cubicBezTo>
                  <a:cubicBezTo>
                    <a:pt x="20864" y="3365"/>
                    <a:pt x="20864" y="3202"/>
                    <a:pt x="20974" y="2876"/>
                  </a:cubicBezTo>
                  <a:cubicBezTo>
                    <a:pt x="21085" y="2768"/>
                    <a:pt x="21085" y="2605"/>
                    <a:pt x="21195" y="2442"/>
                  </a:cubicBezTo>
                  <a:cubicBezTo>
                    <a:pt x="21306" y="2117"/>
                    <a:pt x="21306" y="1954"/>
                    <a:pt x="21416" y="1682"/>
                  </a:cubicBezTo>
                  <a:cubicBezTo>
                    <a:pt x="21416" y="1520"/>
                    <a:pt x="21490" y="1520"/>
                    <a:pt x="21490" y="1357"/>
                  </a:cubicBezTo>
                  <a:lnTo>
                    <a:pt x="21490" y="8738"/>
                  </a:lnTo>
                  <a:close/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5" name="Shape 1426"/>
            <p:cNvSpPr/>
            <p:nvPr/>
          </p:nvSpPr>
          <p:spPr>
            <a:xfrm>
              <a:off x="723323" y="1153629"/>
              <a:ext cx="224936" cy="2064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7850"/>
                  </a:lnTo>
                  <a:lnTo>
                    <a:pt x="0" y="21600"/>
                  </a:lnTo>
                  <a:lnTo>
                    <a:pt x="0" y="13750"/>
                  </a:lnTo>
                  <a:lnTo>
                    <a:pt x="21600" y="0"/>
                  </a:lnTo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6" name="Shape 1427"/>
            <p:cNvSpPr/>
            <p:nvPr/>
          </p:nvSpPr>
          <p:spPr>
            <a:xfrm>
              <a:off x="461042" y="1133138"/>
              <a:ext cx="261819" cy="2249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4430"/>
                  </a:moveTo>
                  <a:lnTo>
                    <a:pt x="21600" y="21600"/>
                  </a:lnTo>
                  <a:lnTo>
                    <a:pt x="0" y="7037"/>
                  </a:lnTo>
                  <a:lnTo>
                    <a:pt x="115" y="0"/>
                  </a:lnTo>
                  <a:lnTo>
                    <a:pt x="21600" y="14430"/>
                  </a:ln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7" name="Shape 1428"/>
            <p:cNvSpPr/>
            <p:nvPr/>
          </p:nvSpPr>
          <p:spPr>
            <a:xfrm>
              <a:off x="57374" y="559397"/>
              <a:ext cx="1251521" cy="7249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24" y="19457"/>
                  </a:moveTo>
                  <a:cubicBezTo>
                    <a:pt x="18458" y="20508"/>
                    <a:pt x="17007" y="20826"/>
                    <a:pt x="16286" y="20120"/>
                  </a:cubicBezTo>
                  <a:cubicBezTo>
                    <a:pt x="15877" y="19692"/>
                    <a:pt x="15789" y="19069"/>
                    <a:pt x="16014" y="18364"/>
                  </a:cubicBezTo>
                  <a:lnTo>
                    <a:pt x="15332" y="17700"/>
                  </a:lnTo>
                  <a:lnTo>
                    <a:pt x="11445" y="21600"/>
                  </a:lnTo>
                  <a:lnTo>
                    <a:pt x="6925" y="17106"/>
                  </a:lnTo>
                  <a:lnTo>
                    <a:pt x="7574" y="16456"/>
                  </a:lnTo>
                  <a:cubicBezTo>
                    <a:pt x="8279" y="16677"/>
                    <a:pt x="8937" y="16608"/>
                    <a:pt x="9345" y="16179"/>
                  </a:cubicBezTo>
                  <a:cubicBezTo>
                    <a:pt x="10067" y="15474"/>
                    <a:pt x="9746" y="13994"/>
                    <a:pt x="8688" y="12943"/>
                  </a:cubicBezTo>
                  <a:cubicBezTo>
                    <a:pt x="7598" y="11879"/>
                    <a:pt x="6155" y="11574"/>
                    <a:pt x="5450" y="12280"/>
                  </a:cubicBezTo>
                  <a:cubicBezTo>
                    <a:pt x="5041" y="12708"/>
                    <a:pt x="4977" y="13372"/>
                    <a:pt x="5178" y="14036"/>
                  </a:cubicBezTo>
                  <a:lnTo>
                    <a:pt x="4520" y="14700"/>
                  </a:lnTo>
                  <a:lnTo>
                    <a:pt x="0" y="10205"/>
                  </a:lnTo>
                  <a:lnTo>
                    <a:pt x="3887" y="6320"/>
                  </a:lnTo>
                  <a:lnTo>
                    <a:pt x="3214" y="5656"/>
                  </a:lnTo>
                  <a:cubicBezTo>
                    <a:pt x="2509" y="5891"/>
                    <a:pt x="1851" y="5808"/>
                    <a:pt x="1451" y="5379"/>
                  </a:cubicBezTo>
                  <a:cubicBezTo>
                    <a:pt x="721" y="4674"/>
                    <a:pt x="1018" y="3194"/>
                    <a:pt x="2084" y="2143"/>
                  </a:cubicBezTo>
                  <a:cubicBezTo>
                    <a:pt x="3142" y="1092"/>
                    <a:pt x="4593" y="774"/>
                    <a:pt x="5314" y="1480"/>
                  </a:cubicBezTo>
                  <a:cubicBezTo>
                    <a:pt x="5723" y="1908"/>
                    <a:pt x="5811" y="2572"/>
                    <a:pt x="5586" y="3236"/>
                  </a:cubicBezTo>
                  <a:lnTo>
                    <a:pt x="6268" y="3900"/>
                  </a:lnTo>
                  <a:lnTo>
                    <a:pt x="10155" y="0"/>
                  </a:lnTo>
                  <a:lnTo>
                    <a:pt x="14683" y="4480"/>
                  </a:lnTo>
                  <a:lnTo>
                    <a:pt x="14026" y="5144"/>
                  </a:lnTo>
                  <a:cubicBezTo>
                    <a:pt x="13321" y="4909"/>
                    <a:pt x="12663" y="4992"/>
                    <a:pt x="12263" y="5421"/>
                  </a:cubicBezTo>
                  <a:cubicBezTo>
                    <a:pt x="11557" y="6126"/>
                    <a:pt x="11854" y="7606"/>
                    <a:pt x="12912" y="8643"/>
                  </a:cubicBezTo>
                  <a:cubicBezTo>
                    <a:pt x="14002" y="9694"/>
                    <a:pt x="15453" y="10012"/>
                    <a:pt x="16150" y="9307"/>
                  </a:cubicBezTo>
                  <a:cubicBezTo>
                    <a:pt x="16559" y="8878"/>
                    <a:pt x="16623" y="8256"/>
                    <a:pt x="16422" y="7564"/>
                  </a:cubicBezTo>
                  <a:lnTo>
                    <a:pt x="17080" y="6900"/>
                  </a:lnTo>
                  <a:lnTo>
                    <a:pt x="21600" y="11381"/>
                  </a:lnTo>
                  <a:lnTo>
                    <a:pt x="17713" y="15280"/>
                  </a:lnTo>
                  <a:lnTo>
                    <a:pt x="18386" y="15944"/>
                  </a:lnTo>
                  <a:cubicBezTo>
                    <a:pt x="19091" y="15709"/>
                    <a:pt x="19749" y="15792"/>
                    <a:pt x="20157" y="16221"/>
                  </a:cubicBezTo>
                  <a:cubicBezTo>
                    <a:pt x="20903" y="16912"/>
                    <a:pt x="20606" y="18406"/>
                    <a:pt x="19524" y="19457"/>
                  </a:cubicBezTo>
                </a:path>
              </a:pathLst>
            </a:custGeom>
            <a:solidFill>
              <a:srgbClr val="FAFFE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8" name="Shape 1429"/>
            <p:cNvSpPr/>
            <p:nvPr/>
          </p:nvSpPr>
          <p:spPr>
            <a:xfrm>
              <a:off x="1309359" y="1565493"/>
              <a:ext cx="34364" cy="487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8514"/>
                  </a:moveTo>
                  <a:lnTo>
                    <a:pt x="0" y="15634"/>
                  </a:lnTo>
                  <a:cubicBezTo>
                    <a:pt x="0" y="15634"/>
                    <a:pt x="5918" y="12754"/>
                    <a:pt x="5030" y="6994"/>
                  </a:cubicBezTo>
                  <a:cubicBezTo>
                    <a:pt x="5030" y="1234"/>
                    <a:pt x="11540" y="0"/>
                    <a:pt x="11540" y="0"/>
                  </a:cubicBezTo>
                  <a:lnTo>
                    <a:pt x="16570" y="2263"/>
                  </a:lnTo>
                  <a:lnTo>
                    <a:pt x="21600" y="11726"/>
                  </a:lnTo>
                  <a:lnTo>
                    <a:pt x="8581" y="21600"/>
                  </a:lnTo>
                  <a:lnTo>
                    <a:pt x="0" y="18514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9" name="Shape 1430"/>
            <p:cNvSpPr/>
            <p:nvPr/>
          </p:nvSpPr>
          <p:spPr>
            <a:xfrm>
              <a:off x="1298343" y="1561395"/>
              <a:ext cx="63828" cy="610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76" h="21600" extrusionOk="0">
                  <a:moveTo>
                    <a:pt x="9913" y="4710"/>
                  </a:moveTo>
                  <a:cubicBezTo>
                    <a:pt x="9450" y="974"/>
                    <a:pt x="13307" y="0"/>
                    <a:pt x="13307" y="0"/>
                  </a:cubicBezTo>
                  <a:cubicBezTo>
                    <a:pt x="13307" y="0"/>
                    <a:pt x="17319" y="2111"/>
                    <a:pt x="18553" y="5197"/>
                  </a:cubicBezTo>
                  <a:cubicBezTo>
                    <a:pt x="19942" y="8445"/>
                    <a:pt x="19942" y="11044"/>
                    <a:pt x="21176" y="12830"/>
                  </a:cubicBezTo>
                  <a:lnTo>
                    <a:pt x="17627" y="15266"/>
                  </a:lnTo>
                  <a:lnTo>
                    <a:pt x="15467" y="13805"/>
                  </a:lnTo>
                  <a:cubicBezTo>
                    <a:pt x="15467" y="13805"/>
                    <a:pt x="15467" y="15591"/>
                    <a:pt x="13770" y="17540"/>
                  </a:cubicBezTo>
                  <a:cubicBezTo>
                    <a:pt x="12073" y="19326"/>
                    <a:pt x="3896" y="21600"/>
                    <a:pt x="3896" y="21600"/>
                  </a:cubicBezTo>
                  <a:cubicBezTo>
                    <a:pt x="3896" y="21600"/>
                    <a:pt x="502" y="21113"/>
                    <a:pt x="39" y="18839"/>
                  </a:cubicBezTo>
                  <a:cubicBezTo>
                    <a:pt x="-424" y="16078"/>
                    <a:pt x="3433" y="13317"/>
                    <a:pt x="3433" y="13317"/>
                  </a:cubicBezTo>
                  <a:cubicBezTo>
                    <a:pt x="3433" y="13317"/>
                    <a:pt x="5285" y="16078"/>
                    <a:pt x="7445" y="14292"/>
                  </a:cubicBezTo>
                  <a:cubicBezTo>
                    <a:pt x="8987" y="12830"/>
                    <a:pt x="10685" y="7795"/>
                    <a:pt x="9913" y="4710"/>
                  </a:cubicBezTo>
                </a:path>
              </a:pathLst>
            </a:custGeom>
            <a:solidFill>
              <a:srgbClr val="6F7C76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0" name="Shape 1431"/>
            <p:cNvSpPr/>
            <p:nvPr/>
          </p:nvSpPr>
          <p:spPr>
            <a:xfrm>
              <a:off x="1139285" y="1609980"/>
              <a:ext cx="42564" cy="390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9821" extrusionOk="0">
                  <a:moveTo>
                    <a:pt x="0" y="13175"/>
                  </a:moveTo>
                  <a:lnTo>
                    <a:pt x="2136" y="10326"/>
                  </a:lnTo>
                  <a:cubicBezTo>
                    <a:pt x="2136" y="10326"/>
                    <a:pt x="7596" y="10326"/>
                    <a:pt x="10919" y="4392"/>
                  </a:cubicBezTo>
                  <a:cubicBezTo>
                    <a:pt x="14242" y="-1779"/>
                    <a:pt x="19464" y="357"/>
                    <a:pt x="19464" y="357"/>
                  </a:cubicBezTo>
                  <a:lnTo>
                    <a:pt x="21600" y="5105"/>
                  </a:lnTo>
                  <a:lnTo>
                    <a:pt x="18989" y="16498"/>
                  </a:lnTo>
                  <a:lnTo>
                    <a:pt x="4035" y="19821"/>
                  </a:lnTo>
                  <a:lnTo>
                    <a:pt x="0" y="13175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1" name="Shape 1432"/>
            <p:cNvSpPr/>
            <p:nvPr/>
          </p:nvSpPr>
          <p:spPr>
            <a:xfrm>
              <a:off x="1127130" y="1615586"/>
              <a:ext cx="69245" cy="443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04" h="19663" extrusionOk="0">
                  <a:moveTo>
                    <a:pt x="14120" y="2632"/>
                  </a:moveTo>
                  <a:cubicBezTo>
                    <a:pt x="14803" y="-1314"/>
                    <a:pt x="18768" y="348"/>
                    <a:pt x="18768" y="348"/>
                  </a:cubicBezTo>
                  <a:cubicBezTo>
                    <a:pt x="18768" y="348"/>
                    <a:pt x="20955" y="5748"/>
                    <a:pt x="20271" y="9694"/>
                  </a:cubicBezTo>
                  <a:cubicBezTo>
                    <a:pt x="19451" y="13848"/>
                    <a:pt x="17947" y="16755"/>
                    <a:pt x="18358" y="19663"/>
                  </a:cubicBezTo>
                  <a:lnTo>
                    <a:pt x="14803" y="19663"/>
                  </a:lnTo>
                  <a:lnTo>
                    <a:pt x="14120" y="16755"/>
                  </a:lnTo>
                  <a:cubicBezTo>
                    <a:pt x="14120" y="16755"/>
                    <a:pt x="13299" y="18001"/>
                    <a:pt x="10975" y="19040"/>
                  </a:cubicBezTo>
                  <a:cubicBezTo>
                    <a:pt x="8651" y="20286"/>
                    <a:pt x="1679" y="16132"/>
                    <a:pt x="1679" y="16132"/>
                  </a:cubicBezTo>
                  <a:cubicBezTo>
                    <a:pt x="1679" y="16132"/>
                    <a:pt x="-645" y="12601"/>
                    <a:pt x="175" y="9694"/>
                  </a:cubicBezTo>
                  <a:cubicBezTo>
                    <a:pt x="996" y="6786"/>
                    <a:pt x="5233" y="6786"/>
                    <a:pt x="5233" y="6786"/>
                  </a:cubicBezTo>
                  <a:cubicBezTo>
                    <a:pt x="5233" y="6786"/>
                    <a:pt x="5233" y="10940"/>
                    <a:pt x="7558" y="10940"/>
                  </a:cubicBezTo>
                  <a:cubicBezTo>
                    <a:pt x="9882" y="10940"/>
                    <a:pt x="12889" y="6786"/>
                    <a:pt x="14120" y="2632"/>
                  </a:cubicBezTo>
                </a:path>
              </a:pathLst>
            </a:custGeom>
            <a:solidFill>
              <a:srgbClr val="6F7C76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2" name="Shape 1433"/>
            <p:cNvSpPr/>
            <p:nvPr/>
          </p:nvSpPr>
          <p:spPr>
            <a:xfrm>
              <a:off x="1234429" y="1333948"/>
              <a:ext cx="113397" cy="2513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90" h="21064" extrusionOk="0">
                  <a:moveTo>
                    <a:pt x="2321" y="2098"/>
                  </a:moveTo>
                  <a:lnTo>
                    <a:pt x="10740" y="0"/>
                  </a:lnTo>
                  <a:cubicBezTo>
                    <a:pt x="10740" y="0"/>
                    <a:pt x="14567" y="2331"/>
                    <a:pt x="12101" y="4196"/>
                  </a:cubicBezTo>
                  <a:cubicBezTo>
                    <a:pt x="9975" y="5711"/>
                    <a:pt x="10230" y="8896"/>
                    <a:pt x="10230" y="9557"/>
                  </a:cubicBezTo>
                  <a:cubicBezTo>
                    <a:pt x="10230" y="9557"/>
                    <a:pt x="11676" y="10528"/>
                    <a:pt x="12866" y="11732"/>
                  </a:cubicBezTo>
                  <a:cubicBezTo>
                    <a:pt x="14057" y="12937"/>
                    <a:pt x="19244" y="18647"/>
                    <a:pt x="20690" y="19424"/>
                  </a:cubicBezTo>
                  <a:cubicBezTo>
                    <a:pt x="20690" y="19424"/>
                    <a:pt x="17373" y="21600"/>
                    <a:pt x="14567" y="20940"/>
                  </a:cubicBezTo>
                  <a:cubicBezTo>
                    <a:pt x="14567" y="20940"/>
                    <a:pt x="3427" y="12859"/>
                    <a:pt x="1301" y="11965"/>
                  </a:cubicBezTo>
                  <a:cubicBezTo>
                    <a:pt x="-910" y="11072"/>
                    <a:pt x="366" y="4740"/>
                    <a:pt x="366" y="4740"/>
                  </a:cubicBezTo>
                  <a:lnTo>
                    <a:pt x="2321" y="2098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3" name="Shape 1434"/>
            <p:cNvSpPr/>
            <p:nvPr/>
          </p:nvSpPr>
          <p:spPr>
            <a:xfrm>
              <a:off x="1158191" y="1350197"/>
              <a:ext cx="105562" cy="2719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951" h="19936" extrusionOk="0">
                  <a:moveTo>
                    <a:pt x="19369" y="563"/>
                  </a:moveTo>
                  <a:cubicBezTo>
                    <a:pt x="21125" y="2604"/>
                    <a:pt x="18579" y="4611"/>
                    <a:pt x="16120" y="5189"/>
                  </a:cubicBezTo>
                  <a:cubicBezTo>
                    <a:pt x="13662" y="5767"/>
                    <a:pt x="8920" y="9407"/>
                    <a:pt x="8920" y="9407"/>
                  </a:cubicBezTo>
                  <a:cubicBezTo>
                    <a:pt x="9974" y="11414"/>
                    <a:pt x="7954" y="16210"/>
                    <a:pt x="6988" y="17469"/>
                  </a:cubicBezTo>
                  <a:cubicBezTo>
                    <a:pt x="6023" y="18795"/>
                    <a:pt x="6725" y="19782"/>
                    <a:pt x="6725" y="19782"/>
                  </a:cubicBezTo>
                  <a:cubicBezTo>
                    <a:pt x="4003" y="20258"/>
                    <a:pt x="52" y="19476"/>
                    <a:pt x="52" y="19476"/>
                  </a:cubicBezTo>
                  <a:cubicBezTo>
                    <a:pt x="52" y="19476"/>
                    <a:pt x="315" y="16108"/>
                    <a:pt x="315" y="13931"/>
                  </a:cubicBezTo>
                  <a:cubicBezTo>
                    <a:pt x="491" y="11618"/>
                    <a:pt x="-475" y="9611"/>
                    <a:pt x="315" y="8046"/>
                  </a:cubicBezTo>
                  <a:cubicBezTo>
                    <a:pt x="1018" y="6618"/>
                    <a:pt x="6198" y="2196"/>
                    <a:pt x="6198" y="2196"/>
                  </a:cubicBezTo>
                  <a:cubicBezTo>
                    <a:pt x="6198" y="2196"/>
                    <a:pt x="17613" y="-1342"/>
                    <a:pt x="19369" y="563"/>
                  </a:cubicBezTo>
                </a:path>
              </a:pathLst>
            </a:custGeom>
            <a:solidFill>
              <a:srgbClr val="52858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4" name="Shape 1435"/>
            <p:cNvSpPr/>
            <p:nvPr/>
          </p:nvSpPr>
          <p:spPr>
            <a:xfrm>
              <a:off x="1233543" y="1180267"/>
              <a:ext cx="26172" cy="220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6300"/>
                  </a:moveTo>
                  <a:lnTo>
                    <a:pt x="18514" y="0"/>
                  </a:lnTo>
                  <a:lnTo>
                    <a:pt x="21600" y="16650"/>
                  </a:lnTo>
                  <a:lnTo>
                    <a:pt x="1157" y="21600"/>
                  </a:lnTo>
                  <a:lnTo>
                    <a:pt x="0" y="6300"/>
                  </a:lnTo>
                </a:path>
              </a:pathLst>
            </a:custGeom>
            <a:solidFill>
              <a:srgbClr val="FFFF7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5" name="Shape 1436"/>
            <p:cNvSpPr/>
            <p:nvPr/>
          </p:nvSpPr>
          <p:spPr>
            <a:xfrm>
              <a:off x="1192848" y="1194611"/>
              <a:ext cx="114000" cy="1942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46" h="19922" extrusionOk="0">
                  <a:moveTo>
                    <a:pt x="17871" y="10800"/>
                  </a:moveTo>
                  <a:cubicBezTo>
                    <a:pt x="17871" y="12425"/>
                    <a:pt x="20446" y="16726"/>
                    <a:pt x="20446" y="16726"/>
                  </a:cubicBezTo>
                  <a:cubicBezTo>
                    <a:pt x="15295" y="21600"/>
                    <a:pt x="923" y="19450"/>
                    <a:pt x="923" y="19450"/>
                  </a:cubicBezTo>
                  <a:cubicBezTo>
                    <a:pt x="923" y="19450"/>
                    <a:pt x="-1154" y="19688"/>
                    <a:pt x="923" y="17825"/>
                  </a:cubicBezTo>
                  <a:cubicBezTo>
                    <a:pt x="3083" y="16057"/>
                    <a:pt x="4911" y="11612"/>
                    <a:pt x="2834" y="7168"/>
                  </a:cubicBezTo>
                  <a:cubicBezTo>
                    <a:pt x="923" y="2724"/>
                    <a:pt x="923" y="4444"/>
                    <a:pt x="2335" y="2963"/>
                  </a:cubicBezTo>
                  <a:cubicBezTo>
                    <a:pt x="3581" y="1768"/>
                    <a:pt x="7569" y="0"/>
                    <a:pt x="11474" y="0"/>
                  </a:cubicBezTo>
                  <a:cubicBezTo>
                    <a:pt x="15711" y="0"/>
                    <a:pt x="18120" y="1912"/>
                    <a:pt x="18120" y="1912"/>
                  </a:cubicBezTo>
                  <a:cubicBezTo>
                    <a:pt x="18286" y="3393"/>
                    <a:pt x="17871" y="9175"/>
                    <a:pt x="17871" y="10800"/>
                  </a:cubicBezTo>
                </a:path>
              </a:pathLst>
            </a:custGeom>
            <a:solidFill>
              <a:srgbClr val="699A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6" name="Shape 1437"/>
            <p:cNvSpPr/>
            <p:nvPr/>
          </p:nvSpPr>
          <p:spPr>
            <a:xfrm>
              <a:off x="1115176" y="1212667"/>
              <a:ext cx="124217" cy="1147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15" h="19577" extrusionOk="0">
                  <a:moveTo>
                    <a:pt x="20021" y="5570"/>
                  </a:moveTo>
                  <a:cubicBezTo>
                    <a:pt x="18960" y="10034"/>
                    <a:pt x="17217" y="10512"/>
                    <a:pt x="16383" y="12026"/>
                  </a:cubicBezTo>
                  <a:cubicBezTo>
                    <a:pt x="13428" y="16968"/>
                    <a:pt x="11457" y="18562"/>
                    <a:pt x="5091" y="19518"/>
                  </a:cubicBezTo>
                  <a:cubicBezTo>
                    <a:pt x="2287" y="19917"/>
                    <a:pt x="-745" y="18163"/>
                    <a:pt x="164" y="17924"/>
                  </a:cubicBezTo>
                  <a:cubicBezTo>
                    <a:pt x="4863" y="16569"/>
                    <a:pt x="9790" y="13142"/>
                    <a:pt x="10396" y="10910"/>
                  </a:cubicBezTo>
                  <a:cubicBezTo>
                    <a:pt x="10623" y="10512"/>
                    <a:pt x="11912" y="8041"/>
                    <a:pt x="12367" y="7085"/>
                  </a:cubicBezTo>
                  <a:cubicBezTo>
                    <a:pt x="13200" y="5092"/>
                    <a:pt x="14489" y="-1683"/>
                    <a:pt x="18733" y="389"/>
                  </a:cubicBezTo>
                  <a:cubicBezTo>
                    <a:pt x="18733" y="389"/>
                    <a:pt x="20855" y="1505"/>
                    <a:pt x="20021" y="557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7" name="Shape 1438"/>
            <p:cNvSpPr/>
            <p:nvPr/>
          </p:nvSpPr>
          <p:spPr>
            <a:xfrm>
              <a:off x="1213717" y="1141334"/>
              <a:ext cx="45366" cy="552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860" h="19572" extrusionOk="0">
                  <a:moveTo>
                    <a:pt x="12202" y="0"/>
                  </a:moveTo>
                  <a:lnTo>
                    <a:pt x="17829" y="8182"/>
                  </a:lnTo>
                  <a:cubicBezTo>
                    <a:pt x="17829" y="8182"/>
                    <a:pt x="18918" y="21600"/>
                    <a:pt x="8209" y="19309"/>
                  </a:cubicBezTo>
                  <a:cubicBezTo>
                    <a:pt x="-2682" y="17018"/>
                    <a:pt x="404" y="2291"/>
                    <a:pt x="404" y="2291"/>
                  </a:cubicBezTo>
                  <a:lnTo>
                    <a:pt x="12202" y="0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8" name="Shape 1439"/>
            <p:cNvSpPr/>
            <p:nvPr/>
          </p:nvSpPr>
          <p:spPr>
            <a:xfrm>
              <a:off x="1213052" y="1105460"/>
              <a:ext cx="84202" cy="1541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48" h="19400" extrusionOk="0">
                  <a:moveTo>
                    <a:pt x="0" y="4869"/>
                  </a:moveTo>
                  <a:cubicBezTo>
                    <a:pt x="0" y="4694"/>
                    <a:pt x="0" y="432"/>
                    <a:pt x="7630" y="82"/>
                  </a:cubicBezTo>
                  <a:cubicBezTo>
                    <a:pt x="14322" y="-385"/>
                    <a:pt x="20896" y="1074"/>
                    <a:pt x="21248" y="6037"/>
                  </a:cubicBezTo>
                  <a:lnTo>
                    <a:pt x="21248" y="6854"/>
                  </a:lnTo>
                  <a:cubicBezTo>
                    <a:pt x="21248" y="7379"/>
                    <a:pt x="20896" y="7846"/>
                    <a:pt x="20543" y="8372"/>
                  </a:cubicBezTo>
                  <a:cubicBezTo>
                    <a:pt x="19252" y="11291"/>
                    <a:pt x="21600" y="17070"/>
                    <a:pt x="20896" y="17245"/>
                  </a:cubicBezTo>
                  <a:cubicBezTo>
                    <a:pt x="14909" y="17887"/>
                    <a:pt x="11270" y="21215"/>
                    <a:pt x="5635" y="18063"/>
                  </a:cubicBezTo>
                  <a:cubicBezTo>
                    <a:pt x="5400" y="17887"/>
                    <a:pt x="5635" y="16895"/>
                    <a:pt x="4696" y="13918"/>
                  </a:cubicBezTo>
                  <a:cubicBezTo>
                    <a:pt x="4696" y="13918"/>
                    <a:pt x="5400" y="12458"/>
                    <a:pt x="5635" y="11466"/>
                  </a:cubicBezTo>
                  <a:cubicBezTo>
                    <a:pt x="5400" y="11466"/>
                    <a:pt x="5400" y="11466"/>
                    <a:pt x="5400" y="11466"/>
                  </a:cubicBezTo>
                  <a:cubicBezTo>
                    <a:pt x="5400" y="11466"/>
                    <a:pt x="6691" y="9539"/>
                    <a:pt x="6691" y="8021"/>
                  </a:cubicBezTo>
                  <a:cubicBezTo>
                    <a:pt x="6691" y="6562"/>
                    <a:pt x="5400" y="5570"/>
                    <a:pt x="4343" y="7671"/>
                  </a:cubicBezTo>
                  <a:cubicBezTo>
                    <a:pt x="4343" y="7671"/>
                    <a:pt x="1057" y="6212"/>
                    <a:pt x="0" y="4869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9" name="Shape 1440"/>
            <p:cNvSpPr/>
            <p:nvPr/>
          </p:nvSpPr>
          <p:spPr>
            <a:xfrm>
              <a:off x="802996" y="1233322"/>
              <a:ext cx="16393" cy="163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900" y="2400"/>
                  </a:moveTo>
                  <a:cubicBezTo>
                    <a:pt x="18900" y="1200"/>
                    <a:pt x="20250" y="600"/>
                    <a:pt x="21600" y="0"/>
                  </a:cubicBezTo>
                  <a:cubicBezTo>
                    <a:pt x="21600" y="600"/>
                    <a:pt x="20250" y="1200"/>
                    <a:pt x="18900" y="2400"/>
                  </a:cubicBezTo>
                  <a:close/>
                  <a:moveTo>
                    <a:pt x="10800" y="10800"/>
                  </a:moveTo>
                  <a:lnTo>
                    <a:pt x="10800" y="9000"/>
                  </a:lnTo>
                  <a:cubicBezTo>
                    <a:pt x="14850" y="10800"/>
                    <a:pt x="10800" y="10800"/>
                    <a:pt x="10800" y="10800"/>
                  </a:cubicBezTo>
                  <a:close/>
                  <a:moveTo>
                    <a:pt x="2700" y="21000"/>
                  </a:moveTo>
                  <a:cubicBezTo>
                    <a:pt x="2700" y="21000"/>
                    <a:pt x="1350" y="21000"/>
                    <a:pt x="0" y="21600"/>
                  </a:cubicBezTo>
                  <a:cubicBezTo>
                    <a:pt x="1350" y="21000"/>
                    <a:pt x="1350" y="21000"/>
                    <a:pt x="2700" y="21000"/>
                  </a:cubicBezTo>
                  <a:close/>
                </a:path>
              </a:pathLst>
            </a:custGeom>
            <a:solidFill>
              <a:srgbClr val="C7FFD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0" name="Shape 1441"/>
            <p:cNvSpPr/>
            <p:nvPr/>
          </p:nvSpPr>
          <p:spPr>
            <a:xfrm>
              <a:off x="1550922" y="131140"/>
              <a:ext cx="16394" cy="2001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788" y="2571"/>
                  </a:moveTo>
                  <a:cubicBezTo>
                    <a:pt x="17788" y="1543"/>
                    <a:pt x="21600" y="1543"/>
                    <a:pt x="21600" y="0"/>
                  </a:cubicBezTo>
                  <a:cubicBezTo>
                    <a:pt x="21600" y="2057"/>
                    <a:pt x="20329" y="2571"/>
                    <a:pt x="17788" y="2571"/>
                  </a:cubicBezTo>
                  <a:close/>
                  <a:moveTo>
                    <a:pt x="10165" y="11314"/>
                  </a:moveTo>
                  <a:lnTo>
                    <a:pt x="10165" y="10286"/>
                  </a:lnTo>
                  <a:cubicBezTo>
                    <a:pt x="13976" y="10286"/>
                    <a:pt x="10165" y="11314"/>
                    <a:pt x="10165" y="11314"/>
                  </a:cubicBezTo>
                  <a:close/>
                  <a:moveTo>
                    <a:pt x="0" y="21600"/>
                  </a:moveTo>
                  <a:cubicBezTo>
                    <a:pt x="0" y="20057"/>
                    <a:pt x="0" y="20057"/>
                    <a:pt x="3812" y="20057"/>
                  </a:cubicBezTo>
                  <a:cubicBezTo>
                    <a:pt x="3812" y="20057"/>
                    <a:pt x="0" y="20057"/>
                    <a:pt x="0" y="21600"/>
                  </a:cubicBezTo>
                  <a:close/>
                </a:path>
              </a:pathLst>
            </a:custGeom>
            <a:solidFill>
              <a:srgbClr val="C7FFD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1" name="Shape 1442"/>
            <p:cNvSpPr/>
            <p:nvPr/>
          </p:nvSpPr>
          <p:spPr>
            <a:xfrm>
              <a:off x="1885510" y="247593"/>
              <a:ext cx="346809" cy="2011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5" extrusionOk="0">
                  <a:moveTo>
                    <a:pt x="2851" y="16804"/>
                  </a:moveTo>
                  <a:cubicBezTo>
                    <a:pt x="-951" y="12931"/>
                    <a:pt x="-951" y="6779"/>
                    <a:pt x="2851" y="2905"/>
                  </a:cubicBezTo>
                  <a:cubicBezTo>
                    <a:pt x="6707" y="-968"/>
                    <a:pt x="12912" y="-968"/>
                    <a:pt x="16767" y="2905"/>
                  </a:cubicBezTo>
                  <a:cubicBezTo>
                    <a:pt x="20649" y="6779"/>
                    <a:pt x="20649" y="12931"/>
                    <a:pt x="16767" y="16804"/>
                  </a:cubicBezTo>
                  <a:cubicBezTo>
                    <a:pt x="12912" y="20632"/>
                    <a:pt x="6707" y="20632"/>
                    <a:pt x="2851" y="16804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2" name="Shape 1443"/>
            <p:cNvSpPr/>
            <p:nvPr/>
          </p:nvSpPr>
          <p:spPr>
            <a:xfrm>
              <a:off x="909789" y="174171"/>
              <a:ext cx="1251522" cy="7249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1368"/>
                  </a:moveTo>
                  <a:lnTo>
                    <a:pt x="17705" y="15272"/>
                  </a:lnTo>
                  <a:lnTo>
                    <a:pt x="17032" y="14608"/>
                  </a:lnTo>
                  <a:cubicBezTo>
                    <a:pt x="17256" y="13915"/>
                    <a:pt x="17160" y="13251"/>
                    <a:pt x="16759" y="12849"/>
                  </a:cubicBezTo>
                  <a:cubicBezTo>
                    <a:pt x="16030" y="12157"/>
                    <a:pt x="14587" y="12420"/>
                    <a:pt x="13521" y="13514"/>
                  </a:cubicBezTo>
                  <a:cubicBezTo>
                    <a:pt x="12455" y="14608"/>
                    <a:pt x="12167" y="16062"/>
                    <a:pt x="12888" y="16768"/>
                  </a:cubicBezTo>
                  <a:cubicBezTo>
                    <a:pt x="13297" y="17197"/>
                    <a:pt x="13978" y="17266"/>
                    <a:pt x="14651" y="17031"/>
                  </a:cubicBezTo>
                  <a:lnTo>
                    <a:pt x="15332" y="17695"/>
                  </a:lnTo>
                  <a:lnTo>
                    <a:pt x="11437" y="21600"/>
                  </a:lnTo>
                  <a:lnTo>
                    <a:pt x="6925" y="17114"/>
                  </a:lnTo>
                  <a:lnTo>
                    <a:pt x="6268" y="17778"/>
                  </a:lnTo>
                  <a:cubicBezTo>
                    <a:pt x="6492" y="18485"/>
                    <a:pt x="6428" y="19149"/>
                    <a:pt x="5995" y="19537"/>
                  </a:cubicBezTo>
                  <a:cubicBezTo>
                    <a:pt x="5274" y="20229"/>
                    <a:pt x="3823" y="19952"/>
                    <a:pt x="2765" y="18872"/>
                  </a:cubicBezTo>
                  <a:cubicBezTo>
                    <a:pt x="1675" y="17778"/>
                    <a:pt x="1387" y="16338"/>
                    <a:pt x="2108" y="15632"/>
                  </a:cubicBezTo>
                  <a:cubicBezTo>
                    <a:pt x="2517" y="15203"/>
                    <a:pt x="3190" y="15120"/>
                    <a:pt x="3871" y="15355"/>
                  </a:cubicBezTo>
                  <a:lnTo>
                    <a:pt x="4528" y="14691"/>
                  </a:lnTo>
                  <a:lnTo>
                    <a:pt x="0" y="10191"/>
                  </a:lnTo>
                  <a:lnTo>
                    <a:pt x="3895" y="6328"/>
                  </a:lnTo>
                  <a:lnTo>
                    <a:pt x="4576" y="6992"/>
                  </a:lnTo>
                  <a:cubicBezTo>
                    <a:pt x="4368" y="7698"/>
                    <a:pt x="4440" y="8363"/>
                    <a:pt x="4841" y="8751"/>
                  </a:cubicBezTo>
                  <a:cubicBezTo>
                    <a:pt x="5570" y="9457"/>
                    <a:pt x="7013" y="9180"/>
                    <a:pt x="8071" y="8086"/>
                  </a:cubicBezTo>
                  <a:cubicBezTo>
                    <a:pt x="9137" y="6992"/>
                    <a:pt x="9425" y="5552"/>
                    <a:pt x="8704" y="4846"/>
                  </a:cubicBezTo>
                  <a:cubicBezTo>
                    <a:pt x="8295" y="4417"/>
                    <a:pt x="7614" y="4334"/>
                    <a:pt x="6949" y="4569"/>
                  </a:cubicBezTo>
                  <a:lnTo>
                    <a:pt x="6268" y="3905"/>
                  </a:lnTo>
                  <a:lnTo>
                    <a:pt x="10155" y="0"/>
                  </a:lnTo>
                  <a:lnTo>
                    <a:pt x="14675" y="4486"/>
                  </a:lnTo>
                  <a:lnTo>
                    <a:pt x="15332" y="3822"/>
                  </a:lnTo>
                  <a:cubicBezTo>
                    <a:pt x="15108" y="3129"/>
                    <a:pt x="15172" y="2465"/>
                    <a:pt x="15605" y="2063"/>
                  </a:cubicBezTo>
                  <a:cubicBezTo>
                    <a:pt x="16326" y="1371"/>
                    <a:pt x="17777" y="1634"/>
                    <a:pt x="18835" y="2728"/>
                  </a:cubicBezTo>
                  <a:cubicBezTo>
                    <a:pt x="19925" y="3822"/>
                    <a:pt x="20213" y="5275"/>
                    <a:pt x="19492" y="5982"/>
                  </a:cubicBezTo>
                  <a:cubicBezTo>
                    <a:pt x="19083" y="6411"/>
                    <a:pt x="18426" y="6480"/>
                    <a:pt x="17729" y="6245"/>
                  </a:cubicBezTo>
                  <a:lnTo>
                    <a:pt x="17072" y="6909"/>
                  </a:lnTo>
                  <a:lnTo>
                    <a:pt x="21600" y="11368"/>
                  </a:ln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3" name="Shape 1444"/>
            <p:cNvSpPr/>
            <p:nvPr/>
          </p:nvSpPr>
          <p:spPr>
            <a:xfrm>
              <a:off x="917985" y="648355"/>
              <a:ext cx="91744" cy="4294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792" extrusionOk="0">
                  <a:moveTo>
                    <a:pt x="11403" y="1615"/>
                  </a:moveTo>
                  <a:cubicBezTo>
                    <a:pt x="14144" y="6115"/>
                    <a:pt x="16995" y="6115"/>
                    <a:pt x="19736" y="11065"/>
                  </a:cubicBezTo>
                  <a:cubicBezTo>
                    <a:pt x="20065" y="11740"/>
                    <a:pt x="21600" y="13765"/>
                    <a:pt x="21600" y="14890"/>
                  </a:cubicBezTo>
                  <a:cubicBezTo>
                    <a:pt x="20942" y="18715"/>
                    <a:pt x="17543" y="21190"/>
                    <a:pt x="16008" y="20740"/>
                  </a:cubicBezTo>
                  <a:cubicBezTo>
                    <a:pt x="13596" y="20065"/>
                    <a:pt x="11403" y="18715"/>
                    <a:pt x="8662" y="18040"/>
                  </a:cubicBezTo>
                  <a:cubicBezTo>
                    <a:pt x="6798" y="17590"/>
                    <a:pt x="2741" y="17590"/>
                    <a:pt x="877" y="16240"/>
                  </a:cubicBezTo>
                  <a:cubicBezTo>
                    <a:pt x="0" y="14890"/>
                    <a:pt x="0" y="10390"/>
                    <a:pt x="0" y="7915"/>
                  </a:cubicBezTo>
                  <a:cubicBezTo>
                    <a:pt x="0" y="6790"/>
                    <a:pt x="1206" y="4090"/>
                    <a:pt x="1206" y="4090"/>
                  </a:cubicBezTo>
                  <a:cubicBezTo>
                    <a:pt x="2741" y="5440"/>
                    <a:pt x="3399" y="6790"/>
                    <a:pt x="5482" y="6115"/>
                  </a:cubicBezTo>
                  <a:cubicBezTo>
                    <a:pt x="5811" y="5440"/>
                    <a:pt x="6469" y="5440"/>
                    <a:pt x="7017" y="5440"/>
                  </a:cubicBezTo>
                  <a:cubicBezTo>
                    <a:pt x="8881" y="940"/>
                    <a:pt x="10197" y="-410"/>
                    <a:pt x="10745" y="265"/>
                  </a:cubicBezTo>
                  <a:cubicBezTo>
                    <a:pt x="10745" y="-410"/>
                    <a:pt x="11074" y="265"/>
                    <a:pt x="11403" y="1615"/>
                  </a:cubicBezTo>
                </a:path>
              </a:pathLst>
            </a:custGeom>
            <a:solidFill>
              <a:srgbClr val="47766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4" name="Shape 1445"/>
            <p:cNvSpPr/>
            <p:nvPr/>
          </p:nvSpPr>
          <p:spPr>
            <a:xfrm>
              <a:off x="827826" y="584820"/>
              <a:ext cx="88885" cy="417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04" h="21177" extrusionOk="0">
                  <a:moveTo>
                    <a:pt x="11579" y="1667"/>
                  </a:moveTo>
                  <a:cubicBezTo>
                    <a:pt x="14363" y="6080"/>
                    <a:pt x="17258" y="6080"/>
                    <a:pt x="20041" y="11422"/>
                  </a:cubicBezTo>
                  <a:cubicBezTo>
                    <a:pt x="20375" y="12119"/>
                    <a:pt x="21600" y="16067"/>
                    <a:pt x="21377" y="17229"/>
                  </a:cubicBezTo>
                  <a:cubicBezTo>
                    <a:pt x="21043" y="21177"/>
                    <a:pt x="17592" y="21177"/>
                    <a:pt x="16256" y="21177"/>
                  </a:cubicBezTo>
                  <a:cubicBezTo>
                    <a:pt x="13806" y="20712"/>
                    <a:pt x="11579" y="19319"/>
                    <a:pt x="8796" y="18622"/>
                  </a:cubicBezTo>
                  <a:cubicBezTo>
                    <a:pt x="6903" y="17925"/>
                    <a:pt x="2784" y="17925"/>
                    <a:pt x="891" y="16764"/>
                  </a:cubicBezTo>
                  <a:cubicBezTo>
                    <a:pt x="0" y="15371"/>
                    <a:pt x="0" y="10725"/>
                    <a:pt x="0" y="8171"/>
                  </a:cubicBezTo>
                  <a:cubicBezTo>
                    <a:pt x="0" y="6777"/>
                    <a:pt x="1225" y="4222"/>
                    <a:pt x="1225" y="4222"/>
                  </a:cubicBezTo>
                  <a:cubicBezTo>
                    <a:pt x="2784" y="5616"/>
                    <a:pt x="3452" y="6777"/>
                    <a:pt x="5567" y="6080"/>
                  </a:cubicBezTo>
                  <a:cubicBezTo>
                    <a:pt x="5901" y="5616"/>
                    <a:pt x="6569" y="5616"/>
                    <a:pt x="7237" y="5616"/>
                  </a:cubicBezTo>
                  <a:cubicBezTo>
                    <a:pt x="9019" y="971"/>
                    <a:pt x="10355" y="-423"/>
                    <a:pt x="10911" y="274"/>
                  </a:cubicBezTo>
                  <a:cubicBezTo>
                    <a:pt x="10689" y="-423"/>
                    <a:pt x="10911" y="274"/>
                    <a:pt x="11579" y="1667"/>
                  </a:cubicBezTo>
                </a:path>
              </a:pathLst>
            </a:custGeom>
            <a:solidFill>
              <a:srgbClr val="47766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5" name="Shape 1446"/>
            <p:cNvSpPr/>
            <p:nvPr/>
          </p:nvSpPr>
          <p:spPr>
            <a:xfrm>
              <a:off x="946672" y="284821"/>
              <a:ext cx="137531" cy="1037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1" h="20336" extrusionOk="0">
                  <a:moveTo>
                    <a:pt x="0" y="2278"/>
                  </a:moveTo>
                  <a:lnTo>
                    <a:pt x="6336" y="0"/>
                  </a:lnTo>
                  <a:lnTo>
                    <a:pt x="7128" y="4101"/>
                  </a:lnTo>
                  <a:cubicBezTo>
                    <a:pt x="7128" y="4101"/>
                    <a:pt x="14040" y="11028"/>
                    <a:pt x="16704" y="13397"/>
                  </a:cubicBezTo>
                  <a:cubicBezTo>
                    <a:pt x="16704" y="13397"/>
                    <a:pt x="21600" y="14400"/>
                    <a:pt x="21384" y="17772"/>
                  </a:cubicBezTo>
                  <a:cubicBezTo>
                    <a:pt x="21384" y="21053"/>
                    <a:pt x="17280" y="21600"/>
                    <a:pt x="14472" y="16952"/>
                  </a:cubicBezTo>
                  <a:cubicBezTo>
                    <a:pt x="14472" y="16952"/>
                    <a:pt x="6120" y="12577"/>
                    <a:pt x="4320" y="10299"/>
                  </a:cubicBezTo>
                  <a:cubicBezTo>
                    <a:pt x="2664" y="7929"/>
                    <a:pt x="0" y="2278"/>
                    <a:pt x="0" y="2278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6" name="Shape 1447"/>
            <p:cNvSpPr/>
            <p:nvPr/>
          </p:nvSpPr>
          <p:spPr>
            <a:xfrm>
              <a:off x="928694" y="221530"/>
              <a:ext cx="68739" cy="853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54" h="19239" extrusionOk="0">
                  <a:moveTo>
                    <a:pt x="3504" y="260"/>
                  </a:moveTo>
                  <a:cubicBezTo>
                    <a:pt x="11829" y="-2361"/>
                    <a:pt x="16554" y="15674"/>
                    <a:pt x="16554" y="15674"/>
                  </a:cubicBezTo>
                  <a:cubicBezTo>
                    <a:pt x="16554" y="15674"/>
                    <a:pt x="15316" y="16827"/>
                    <a:pt x="11829" y="17981"/>
                  </a:cubicBezTo>
                  <a:cubicBezTo>
                    <a:pt x="8004" y="19239"/>
                    <a:pt x="4742" y="19239"/>
                    <a:pt x="4742" y="19239"/>
                  </a:cubicBezTo>
                  <a:cubicBezTo>
                    <a:pt x="4742" y="19239"/>
                    <a:pt x="-5046" y="2987"/>
                    <a:pt x="3504" y="260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7" name="Shape 1448"/>
            <p:cNvSpPr/>
            <p:nvPr/>
          </p:nvSpPr>
          <p:spPr>
            <a:xfrm>
              <a:off x="831924" y="417266"/>
              <a:ext cx="114289" cy="1867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138" extrusionOk="0">
                  <a:moveTo>
                    <a:pt x="9842" y="123"/>
                  </a:moveTo>
                  <a:cubicBezTo>
                    <a:pt x="12019" y="-582"/>
                    <a:pt x="21600" y="1986"/>
                    <a:pt x="21600" y="1986"/>
                  </a:cubicBezTo>
                  <a:cubicBezTo>
                    <a:pt x="21600" y="1986"/>
                    <a:pt x="15765" y="11754"/>
                    <a:pt x="14023" y="13315"/>
                  </a:cubicBezTo>
                  <a:cubicBezTo>
                    <a:pt x="12019" y="14875"/>
                    <a:pt x="7403" y="19558"/>
                    <a:pt x="7403" y="19558"/>
                  </a:cubicBezTo>
                  <a:cubicBezTo>
                    <a:pt x="7403" y="19558"/>
                    <a:pt x="1481" y="21018"/>
                    <a:pt x="0" y="19306"/>
                  </a:cubicBezTo>
                  <a:cubicBezTo>
                    <a:pt x="0" y="19306"/>
                    <a:pt x="1481" y="13466"/>
                    <a:pt x="4965" y="11049"/>
                  </a:cubicBezTo>
                  <a:cubicBezTo>
                    <a:pt x="4965" y="11049"/>
                    <a:pt x="7839" y="828"/>
                    <a:pt x="9842" y="123"/>
                  </a:cubicBezTo>
                </a:path>
              </a:pathLst>
            </a:custGeom>
            <a:solidFill>
              <a:srgbClr val="4773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8" name="Shape 1449"/>
            <p:cNvSpPr/>
            <p:nvPr/>
          </p:nvSpPr>
          <p:spPr>
            <a:xfrm>
              <a:off x="858970" y="430305"/>
              <a:ext cx="109776" cy="2345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27" h="21172" extrusionOk="0">
                  <a:moveTo>
                    <a:pt x="13477" y="710"/>
                  </a:moveTo>
                  <a:cubicBezTo>
                    <a:pt x="13477" y="710"/>
                    <a:pt x="17977" y="8941"/>
                    <a:pt x="18787" y="10612"/>
                  </a:cubicBezTo>
                  <a:cubicBezTo>
                    <a:pt x="19507" y="12241"/>
                    <a:pt x="21127" y="20514"/>
                    <a:pt x="21127" y="20514"/>
                  </a:cubicBezTo>
                  <a:cubicBezTo>
                    <a:pt x="17257" y="21600"/>
                    <a:pt x="12757" y="21015"/>
                    <a:pt x="12757" y="21015"/>
                  </a:cubicBezTo>
                  <a:lnTo>
                    <a:pt x="8437" y="10487"/>
                  </a:lnTo>
                  <a:cubicBezTo>
                    <a:pt x="8437" y="10487"/>
                    <a:pt x="3577" y="5682"/>
                    <a:pt x="1507" y="3885"/>
                  </a:cubicBezTo>
                  <a:cubicBezTo>
                    <a:pt x="-473" y="2005"/>
                    <a:pt x="67" y="0"/>
                    <a:pt x="67" y="0"/>
                  </a:cubicBezTo>
                  <a:lnTo>
                    <a:pt x="13477" y="71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9" name="Shape 1450"/>
            <p:cNvSpPr/>
            <p:nvPr/>
          </p:nvSpPr>
          <p:spPr>
            <a:xfrm>
              <a:off x="852415" y="215186"/>
              <a:ext cx="114285" cy="2296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9403" extrusionOk="0">
                  <a:moveTo>
                    <a:pt x="21600" y="2555"/>
                  </a:moveTo>
                  <a:lnTo>
                    <a:pt x="19580" y="18618"/>
                  </a:lnTo>
                  <a:cubicBezTo>
                    <a:pt x="10712" y="20385"/>
                    <a:pt x="0" y="18618"/>
                    <a:pt x="0" y="18618"/>
                  </a:cubicBezTo>
                  <a:lnTo>
                    <a:pt x="0" y="2241"/>
                  </a:lnTo>
                  <a:cubicBezTo>
                    <a:pt x="8166" y="-1215"/>
                    <a:pt x="18351" y="356"/>
                    <a:pt x="18351" y="356"/>
                  </a:cubicBezTo>
                  <a:cubicBezTo>
                    <a:pt x="20810" y="1024"/>
                    <a:pt x="21600" y="2673"/>
                    <a:pt x="21600" y="2555"/>
                  </a:cubicBezTo>
                </a:path>
              </a:pathLst>
            </a:custGeom>
            <a:solidFill>
              <a:srgbClr val="52838D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0" name="Shape 1451"/>
            <p:cNvSpPr/>
            <p:nvPr/>
          </p:nvSpPr>
          <p:spPr>
            <a:xfrm>
              <a:off x="858562" y="305312"/>
              <a:ext cx="137525" cy="1039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0" h="20371" extrusionOk="0">
                  <a:moveTo>
                    <a:pt x="0" y="2370"/>
                  </a:moveTo>
                  <a:lnTo>
                    <a:pt x="6285" y="0"/>
                  </a:lnTo>
                  <a:lnTo>
                    <a:pt x="7080" y="4101"/>
                  </a:lnTo>
                  <a:cubicBezTo>
                    <a:pt x="7080" y="4101"/>
                    <a:pt x="14015" y="11028"/>
                    <a:pt x="16688" y="13397"/>
                  </a:cubicBezTo>
                  <a:cubicBezTo>
                    <a:pt x="16688" y="13397"/>
                    <a:pt x="21600" y="14400"/>
                    <a:pt x="21383" y="17772"/>
                  </a:cubicBezTo>
                  <a:cubicBezTo>
                    <a:pt x="21383" y="21144"/>
                    <a:pt x="17266" y="21600"/>
                    <a:pt x="14448" y="16952"/>
                  </a:cubicBezTo>
                  <a:cubicBezTo>
                    <a:pt x="14448" y="16952"/>
                    <a:pt x="6068" y="12577"/>
                    <a:pt x="4262" y="10299"/>
                  </a:cubicBezTo>
                  <a:cubicBezTo>
                    <a:pt x="2601" y="8020"/>
                    <a:pt x="0" y="2370"/>
                    <a:pt x="0" y="237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1" name="Shape 1452"/>
            <p:cNvSpPr/>
            <p:nvPr/>
          </p:nvSpPr>
          <p:spPr>
            <a:xfrm>
              <a:off x="838637" y="240347"/>
              <a:ext cx="68636" cy="8499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29" h="19154" extrusionOk="0">
                  <a:moveTo>
                    <a:pt x="3479" y="280"/>
                  </a:moveTo>
                  <a:cubicBezTo>
                    <a:pt x="11804" y="-2446"/>
                    <a:pt x="16529" y="15589"/>
                    <a:pt x="16529" y="15589"/>
                  </a:cubicBezTo>
                  <a:cubicBezTo>
                    <a:pt x="16529" y="15589"/>
                    <a:pt x="15291" y="16847"/>
                    <a:pt x="11804" y="18001"/>
                  </a:cubicBezTo>
                  <a:cubicBezTo>
                    <a:pt x="7979" y="19154"/>
                    <a:pt x="4829" y="19154"/>
                    <a:pt x="4829" y="19154"/>
                  </a:cubicBezTo>
                  <a:cubicBezTo>
                    <a:pt x="4829" y="19154"/>
                    <a:pt x="-5071" y="2902"/>
                    <a:pt x="3479" y="280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2" name="Shape 1453"/>
            <p:cNvSpPr/>
            <p:nvPr/>
          </p:nvSpPr>
          <p:spPr>
            <a:xfrm>
              <a:off x="887249" y="188514"/>
              <a:ext cx="38255" cy="537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517" h="19015" extrusionOk="0">
                  <a:moveTo>
                    <a:pt x="16090" y="0"/>
                  </a:moveTo>
                  <a:lnTo>
                    <a:pt x="17412" y="8770"/>
                  </a:lnTo>
                  <a:cubicBezTo>
                    <a:pt x="17412" y="8770"/>
                    <a:pt x="21600" y="16078"/>
                    <a:pt x="13665" y="18352"/>
                  </a:cubicBezTo>
                  <a:cubicBezTo>
                    <a:pt x="1102" y="21600"/>
                    <a:pt x="0" y="11856"/>
                    <a:pt x="0" y="11856"/>
                  </a:cubicBezTo>
                  <a:lnTo>
                    <a:pt x="3747" y="2761"/>
                  </a:lnTo>
                  <a:lnTo>
                    <a:pt x="16090" y="0"/>
                  </a:lnTo>
                </a:path>
              </a:pathLst>
            </a:custGeom>
            <a:solidFill>
              <a:srgbClr val="FFE98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3" name="Shape 1454"/>
            <p:cNvSpPr/>
            <p:nvPr/>
          </p:nvSpPr>
          <p:spPr>
            <a:xfrm>
              <a:off x="860449" y="101691"/>
              <a:ext cx="94927" cy="1220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1" h="18710" extrusionOk="0">
                  <a:moveTo>
                    <a:pt x="5546" y="18465"/>
                  </a:moveTo>
                  <a:cubicBezTo>
                    <a:pt x="5546" y="20461"/>
                    <a:pt x="-2293" y="9768"/>
                    <a:pt x="668" y="5134"/>
                  </a:cubicBezTo>
                  <a:cubicBezTo>
                    <a:pt x="3368" y="714"/>
                    <a:pt x="9988" y="-1139"/>
                    <a:pt x="14691" y="714"/>
                  </a:cubicBezTo>
                  <a:cubicBezTo>
                    <a:pt x="19307" y="2497"/>
                    <a:pt x="17652" y="5990"/>
                    <a:pt x="17652" y="5990"/>
                  </a:cubicBezTo>
                  <a:cubicBezTo>
                    <a:pt x="17652" y="5990"/>
                    <a:pt x="7549" y="9198"/>
                    <a:pt x="5546" y="18465"/>
                  </a:cubicBezTo>
                </a:path>
              </a:pathLst>
            </a:custGeom>
            <a:solidFill>
              <a:srgbClr val="DFD85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4" name="Shape 1455"/>
            <p:cNvSpPr/>
            <p:nvPr/>
          </p:nvSpPr>
          <p:spPr>
            <a:xfrm>
              <a:off x="875141" y="124993"/>
              <a:ext cx="74100" cy="904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39" h="20836" extrusionOk="0">
                  <a:moveTo>
                    <a:pt x="3678" y="15797"/>
                  </a:moveTo>
                  <a:cubicBezTo>
                    <a:pt x="3307" y="15260"/>
                    <a:pt x="3307" y="14615"/>
                    <a:pt x="2690" y="13970"/>
                  </a:cubicBezTo>
                  <a:cubicBezTo>
                    <a:pt x="1333" y="12466"/>
                    <a:pt x="-1136" y="8275"/>
                    <a:pt x="592" y="6985"/>
                  </a:cubicBezTo>
                  <a:cubicBezTo>
                    <a:pt x="3678" y="4943"/>
                    <a:pt x="4418" y="9779"/>
                    <a:pt x="4418" y="9779"/>
                  </a:cubicBezTo>
                  <a:cubicBezTo>
                    <a:pt x="4789" y="6985"/>
                    <a:pt x="10713" y="5803"/>
                    <a:pt x="14539" y="4943"/>
                  </a:cubicBezTo>
                  <a:cubicBezTo>
                    <a:pt x="18366" y="3976"/>
                    <a:pt x="18736" y="0"/>
                    <a:pt x="18736" y="0"/>
                  </a:cubicBezTo>
                  <a:cubicBezTo>
                    <a:pt x="20464" y="2794"/>
                    <a:pt x="19353" y="8275"/>
                    <a:pt x="18366" y="13970"/>
                  </a:cubicBezTo>
                  <a:cubicBezTo>
                    <a:pt x="17995" y="17301"/>
                    <a:pt x="16638" y="18806"/>
                    <a:pt x="15527" y="20096"/>
                  </a:cubicBezTo>
                  <a:cubicBezTo>
                    <a:pt x="14539" y="20633"/>
                    <a:pt x="12071" y="21600"/>
                    <a:pt x="8985" y="19773"/>
                  </a:cubicBezTo>
                  <a:cubicBezTo>
                    <a:pt x="6887" y="18591"/>
                    <a:pt x="5159" y="17087"/>
                    <a:pt x="3678" y="15797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5" name="Shape 1456"/>
            <p:cNvSpPr/>
            <p:nvPr/>
          </p:nvSpPr>
          <p:spPr>
            <a:xfrm>
              <a:off x="1808103" y="73766"/>
              <a:ext cx="16394" cy="999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276"/>
                  </a:moveTo>
                  <a:lnTo>
                    <a:pt x="21600" y="21600"/>
                  </a:lnTo>
                  <a:cubicBezTo>
                    <a:pt x="4629" y="19908"/>
                    <a:pt x="0" y="17917"/>
                    <a:pt x="0" y="16225"/>
                  </a:cubicBezTo>
                  <a:lnTo>
                    <a:pt x="0" y="0"/>
                  </a:lnTo>
                  <a:cubicBezTo>
                    <a:pt x="0" y="1692"/>
                    <a:pt x="9257" y="3285"/>
                    <a:pt x="21600" y="5276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6" name="Shape 1457"/>
            <p:cNvSpPr/>
            <p:nvPr/>
          </p:nvSpPr>
          <p:spPr>
            <a:xfrm>
              <a:off x="1307310" y="157778"/>
              <a:ext cx="38470" cy="93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256"/>
                  </a:moveTo>
                  <a:lnTo>
                    <a:pt x="21600" y="21600"/>
                  </a:lnTo>
                  <a:lnTo>
                    <a:pt x="0" y="17450"/>
                  </a:lnTo>
                  <a:lnTo>
                    <a:pt x="0" y="0"/>
                  </a:lnTo>
                  <a:lnTo>
                    <a:pt x="21600" y="4256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7" name="Shape 1458"/>
            <p:cNvSpPr/>
            <p:nvPr/>
          </p:nvSpPr>
          <p:spPr>
            <a:xfrm>
              <a:off x="1344193" y="163926"/>
              <a:ext cx="122483" cy="12042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7816"/>
                  </a:moveTo>
                  <a:lnTo>
                    <a:pt x="21600" y="21600"/>
                  </a:lnTo>
                  <a:cubicBezTo>
                    <a:pt x="21600" y="18995"/>
                    <a:pt x="20214" y="16893"/>
                    <a:pt x="17688" y="15633"/>
                  </a:cubicBezTo>
                  <a:cubicBezTo>
                    <a:pt x="17198" y="15465"/>
                    <a:pt x="16546" y="15212"/>
                    <a:pt x="16057" y="14960"/>
                  </a:cubicBezTo>
                  <a:cubicBezTo>
                    <a:pt x="15568" y="14708"/>
                    <a:pt x="14916" y="14708"/>
                    <a:pt x="14427" y="14456"/>
                  </a:cubicBezTo>
                  <a:lnTo>
                    <a:pt x="14020" y="14456"/>
                  </a:lnTo>
                  <a:cubicBezTo>
                    <a:pt x="13531" y="14456"/>
                    <a:pt x="13042" y="14204"/>
                    <a:pt x="12389" y="14204"/>
                  </a:cubicBezTo>
                  <a:lnTo>
                    <a:pt x="9863" y="14204"/>
                  </a:lnTo>
                  <a:cubicBezTo>
                    <a:pt x="9129" y="14204"/>
                    <a:pt x="8477" y="14204"/>
                    <a:pt x="7988" y="14456"/>
                  </a:cubicBezTo>
                  <a:cubicBezTo>
                    <a:pt x="7825" y="14456"/>
                    <a:pt x="7580" y="14456"/>
                    <a:pt x="7091" y="14708"/>
                  </a:cubicBezTo>
                  <a:cubicBezTo>
                    <a:pt x="6602" y="14708"/>
                    <a:pt x="6195" y="14960"/>
                    <a:pt x="5706" y="14960"/>
                  </a:cubicBezTo>
                  <a:cubicBezTo>
                    <a:pt x="5217" y="14960"/>
                    <a:pt x="4809" y="15212"/>
                    <a:pt x="4320" y="15212"/>
                  </a:cubicBezTo>
                  <a:cubicBezTo>
                    <a:pt x="3912" y="15212"/>
                    <a:pt x="3668" y="15465"/>
                    <a:pt x="3179" y="15465"/>
                  </a:cubicBezTo>
                  <a:cubicBezTo>
                    <a:pt x="2282" y="15633"/>
                    <a:pt x="1304" y="15885"/>
                    <a:pt x="408" y="16137"/>
                  </a:cubicBezTo>
                  <a:cubicBezTo>
                    <a:pt x="163" y="16137"/>
                    <a:pt x="0" y="16389"/>
                    <a:pt x="0" y="16389"/>
                  </a:cubicBezTo>
                  <a:lnTo>
                    <a:pt x="0" y="2605"/>
                  </a:lnTo>
                  <a:lnTo>
                    <a:pt x="163" y="2605"/>
                  </a:lnTo>
                  <a:cubicBezTo>
                    <a:pt x="408" y="2605"/>
                    <a:pt x="408" y="2605"/>
                    <a:pt x="652" y="2353"/>
                  </a:cubicBezTo>
                  <a:cubicBezTo>
                    <a:pt x="1549" y="2185"/>
                    <a:pt x="2527" y="1933"/>
                    <a:pt x="3423" y="1681"/>
                  </a:cubicBezTo>
                  <a:cubicBezTo>
                    <a:pt x="3668" y="1681"/>
                    <a:pt x="3668" y="1429"/>
                    <a:pt x="3912" y="1429"/>
                  </a:cubicBezTo>
                  <a:cubicBezTo>
                    <a:pt x="4075" y="1429"/>
                    <a:pt x="4320" y="1429"/>
                    <a:pt x="4565" y="1177"/>
                  </a:cubicBezTo>
                  <a:cubicBezTo>
                    <a:pt x="5054" y="1177"/>
                    <a:pt x="5461" y="925"/>
                    <a:pt x="5950" y="925"/>
                  </a:cubicBezTo>
                  <a:cubicBezTo>
                    <a:pt x="6195" y="925"/>
                    <a:pt x="6439" y="756"/>
                    <a:pt x="6439" y="756"/>
                  </a:cubicBezTo>
                  <a:cubicBezTo>
                    <a:pt x="6602" y="756"/>
                    <a:pt x="6847" y="756"/>
                    <a:pt x="7336" y="504"/>
                  </a:cubicBezTo>
                  <a:cubicBezTo>
                    <a:pt x="7580" y="504"/>
                    <a:pt x="7825" y="252"/>
                    <a:pt x="8232" y="252"/>
                  </a:cubicBezTo>
                  <a:lnTo>
                    <a:pt x="8722" y="252"/>
                  </a:lnTo>
                  <a:cubicBezTo>
                    <a:pt x="9129" y="252"/>
                    <a:pt x="9863" y="0"/>
                    <a:pt x="10352" y="0"/>
                  </a:cubicBezTo>
                  <a:cubicBezTo>
                    <a:pt x="10352" y="0"/>
                    <a:pt x="10352" y="0"/>
                    <a:pt x="10515" y="0"/>
                  </a:cubicBezTo>
                  <a:lnTo>
                    <a:pt x="13775" y="0"/>
                  </a:lnTo>
                  <a:cubicBezTo>
                    <a:pt x="14264" y="0"/>
                    <a:pt x="14427" y="0"/>
                    <a:pt x="14672" y="252"/>
                  </a:cubicBezTo>
                  <a:lnTo>
                    <a:pt x="15405" y="252"/>
                  </a:lnTo>
                  <a:cubicBezTo>
                    <a:pt x="15813" y="252"/>
                    <a:pt x="16546" y="504"/>
                    <a:pt x="16954" y="756"/>
                  </a:cubicBezTo>
                  <a:cubicBezTo>
                    <a:pt x="17688" y="925"/>
                    <a:pt x="18177" y="1177"/>
                    <a:pt x="18584" y="1429"/>
                  </a:cubicBezTo>
                  <a:cubicBezTo>
                    <a:pt x="20214" y="3110"/>
                    <a:pt x="21600" y="5211"/>
                    <a:pt x="21600" y="7816"/>
                  </a:cubicBez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8" name="Shape 1459"/>
            <p:cNvSpPr/>
            <p:nvPr/>
          </p:nvSpPr>
          <p:spPr>
            <a:xfrm>
              <a:off x="1952768" y="104502"/>
              <a:ext cx="124530" cy="1388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2145"/>
                  </a:lnTo>
                  <a:cubicBezTo>
                    <a:pt x="21600" y="12509"/>
                    <a:pt x="21600" y="12727"/>
                    <a:pt x="21358" y="13164"/>
                  </a:cubicBezTo>
                  <a:cubicBezTo>
                    <a:pt x="21358" y="13382"/>
                    <a:pt x="21358" y="13382"/>
                    <a:pt x="21197" y="13600"/>
                  </a:cubicBezTo>
                  <a:lnTo>
                    <a:pt x="21197" y="14182"/>
                  </a:lnTo>
                  <a:cubicBezTo>
                    <a:pt x="20955" y="14618"/>
                    <a:pt x="20955" y="14836"/>
                    <a:pt x="20713" y="14982"/>
                  </a:cubicBezTo>
                  <a:cubicBezTo>
                    <a:pt x="20713" y="15200"/>
                    <a:pt x="20713" y="15200"/>
                    <a:pt x="20472" y="15200"/>
                  </a:cubicBezTo>
                  <a:cubicBezTo>
                    <a:pt x="20472" y="15200"/>
                    <a:pt x="20472" y="15418"/>
                    <a:pt x="20230" y="15418"/>
                  </a:cubicBezTo>
                  <a:cubicBezTo>
                    <a:pt x="19988" y="15636"/>
                    <a:pt x="19988" y="15636"/>
                    <a:pt x="19988" y="15855"/>
                  </a:cubicBezTo>
                  <a:cubicBezTo>
                    <a:pt x="19827" y="16218"/>
                    <a:pt x="19585" y="16436"/>
                    <a:pt x="19101" y="16655"/>
                  </a:cubicBezTo>
                  <a:lnTo>
                    <a:pt x="17731" y="17891"/>
                  </a:lnTo>
                  <a:cubicBezTo>
                    <a:pt x="17731" y="17891"/>
                    <a:pt x="17731" y="17891"/>
                    <a:pt x="17490" y="18109"/>
                  </a:cubicBezTo>
                  <a:cubicBezTo>
                    <a:pt x="17087" y="18473"/>
                    <a:pt x="16603" y="18691"/>
                    <a:pt x="15958" y="18909"/>
                  </a:cubicBezTo>
                  <a:cubicBezTo>
                    <a:pt x="15716" y="18909"/>
                    <a:pt x="15475" y="19127"/>
                    <a:pt x="15475" y="19127"/>
                  </a:cubicBezTo>
                  <a:cubicBezTo>
                    <a:pt x="15233" y="19345"/>
                    <a:pt x="14991" y="19345"/>
                    <a:pt x="14749" y="19491"/>
                  </a:cubicBezTo>
                  <a:cubicBezTo>
                    <a:pt x="14749" y="19491"/>
                    <a:pt x="14588" y="19491"/>
                    <a:pt x="14588" y="19709"/>
                  </a:cubicBezTo>
                  <a:cubicBezTo>
                    <a:pt x="14104" y="19927"/>
                    <a:pt x="13460" y="20145"/>
                    <a:pt x="12734" y="20364"/>
                  </a:cubicBezTo>
                  <a:cubicBezTo>
                    <a:pt x="12493" y="20364"/>
                    <a:pt x="12493" y="20582"/>
                    <a:pt x="12251" y="20582"/>
                  </a:cubicBezTo>
                  <a:lnTo>
                    <a:pt x="12090" y="20582"/>
                  </a:lnTo>
                  <a:cubicBezTo>
                    <a:pt x="11928" y="20582"/>
                    <a:pt x="11606" y="20727"/>
                    <a:pt x="11364" y="20727"/>
                  </a:cubicBezTo>
                  <a:cubicBezTo>
                    <a:pt x="10961" y="20945"/>
                    <a:pt x="10719" y="20945"/>
                    <a:pt x="10236" y="20945"/>
                  </a:cubicBezTo>
                  <a:lnTo>
                    <a:pt x="9994" y="20945"/>
                  </a:lnTo>
                  <a:cubicBezTo>
                    <a:pt x="9752" y="20945"/>
                    <a:pt x="9591" y="20945"/>
                    <a:pt x="9349" y="21164"/>
                  </a:cubicBezTo>
                  <a:cubicBezTo>
                    <a:pt x="9107" y="21164"/>
                    <a:pt x="8624" y="21382"/>
                    <a:pt x="8382" y="21382"/>
                  </a:cubicBezTo>
                  <a:lnTo>
                    <a:pt x="7979" y="21382"/>
                  </a:lnTo>
                  <a:cubicBezTo>
                    <a:pt x="7737" y="21382"/>
                    <a:pt x="7496" y="21382"/>
                    <a:pt x="7093" y="21600"/>
                  </a:cubicBezTo>
                  <a:lnTo>
                    <a:pt x="1854" y="21600"/>
                  </a:lnTo>
                  <a:cubicBezTo>
                    <a:pt x="1128" y="21600"/>
                    <a:pt x="725" y="21600"/>
                    <a:pt x="0" y="21382"/>
                  </a:cubicBezTo>
                  <a:lnTo>
                    <a:pt x="0" y="9455"/>
                  </a:lnTo>
                  <a:cubicBezTo>
                    <a:pt x="725" y="9455"/>
                    <a:pt x="1370" y="9673"/>
                    <a:pt x="2015" y="9673"/>
                  </a:cubicBezTo>
                  <a:lnTo>
                    <a:pt x="5481" y="9673"/>
                  </a:lnTo>
                  <a:cubicBezTo>
                    <a:pt x="5884" y="9673"/>
                    <a:pt x="6367" y="9673"/>
                    <a:pt x="6851" y="9455"/>
                  </a:cubicBezTo>
                  <a:cubicBezTo>
                    <a:pt x="7093" y="9455"/>
                    <a:pt x="7254" y="9455"/>
                    <a:pt x="7737" y="9236"/>
                  </a:cubicBezTo>
                  <a:cubicBezTo>
                    <a:pt x="8221" y="9236"/>
                    <a:pt x="8624" y="9091"/>
                    <a:pt x="9107" y="9091"/>
                  </a:cubicBezTo>
                  <a:cubicBezTo>
                    <a:pt x="9349" y="9091"/>
                    <a:pt x="9591" y="9091"/>
                    <a:pt x="9752" y="8873"/>
                  </a:cubicBezTo>
                  <a:cubicBezTo>
                    <a:pt x="10236" y="8655"/>
                    <a:pt x="10719" y="8655"/>
                    <a:pt x="11122" y="8436"/>
                  </a:cubicBezTo>
                  <a:cubicBezTo>
                    <a:pt x="11364" y="8436"/>
                    <a:pt x="11606" y="8218"/>
                    <a:pt x="11848" y="8218"/>
                  </a:cubicBezTo>
                  <a:cubicBezTo>
                    <a:pt x="12090" y="8218"/>
                    <a:pt x="12251" y="8000"/>
                    <a:pt x="12251" y="8000"/>
                  </a:cubicBezTo>
                  <a:cubicBezTo>
                    <a:pt x="12976" y="7855"/>
                    <a:pt x="13460" y="7636"/>
                    <a:pt x="14104" y="7418"/>
                  </a:cubicBezTo>
                  <a:cubicBezTo>
                    <a:pt x="14588" y="7200"/>
                    <a:pt x="14749" y="7200"/>
                    <a:pt x="15233" y="6982"/>
                  </a:cubicBezTo>
                  <a:cubicBezTo>
                    <a:pt x="15475" y="6982"/>
                    <a:pt x="15716" y="6764"/>
                    <a:pt x="15716" y="6764"/>
                  </a:cubicBezTo>
                  <a:cubicBezTo>
                    <a:pt x="16119" y="6618"/>
                    <a:pt x="16845" y="6182"/>
                    <a:pt x="17328" y="5964"/>
                  </a:cubicBezTo>
                  <a:cubicBezTo>
                    <a:pt x="17973" y="5600"/>
                    <a:pt x="18457" y="5164"/>
                    <a:pt x="18860" y="4727"/>
                  </a:cubicBezTo>
                  <a:cubicBezTo>
                    <a:pt x="19343" y="4364"/>
                    <a:pt x="19585" y="3927"/>
                    <a:pt x="19988" y="3491"/>
                  </a:cubicBezTo>
                  <a:cubicBezTo>
                    <a:pt x="19988" y="3491"/>
                    <a:pt x="19988" y="3273"/>
                    <a:pt x="20230" y="3273"/>
                  </a:cubicBezTo>
                  <a:cubicBezTo>
                    <a:pt x="20472" y="2909"/>
                    <a:pt x="20713" y="2473"/>
                    <a:pt x="20955" y="2109"/>
                  </a:cubicBezTo>
                  <a:lnTo>
                    <a:pt x="20955" y="1891"/>
                  </a:lnTo>
                  <a:cubicBezTo>
                    <a:pt x="21600" y="1236"/>
                    <a:pt x="21600" y="655"/>
                    <a:pt x="21600" y="0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9" name="Shape 1460"/>
            <p:cNvSpPr/>
            <p:nvPr/>
          </p:nvSpPr>
          <p:spPr>
            <a:xfrm>
              <a:off x="1917934" y="163926"/>
              <a:ext cx="38464" cy="1040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810" y="0"/>
                  </a:moveTo>
                  <a:lnTo>
                    <a:pt x="21600" y="16176"/>
                  </a:lnTo>
                  <a:lnTo>
                    <a:pt x="0" y="21600"/>
                  </a:lnTo>
                  <a:lnTo>
                    <a:pt x="0" y="5812"/>
                  </a:lnTo>
                  <a:lnTo>
                    <a:pt x="2081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0" name="Shape 1461"/>
            <p:cNvSpPr/>
            <p:nvPr/>
          </p:nvSpPr>
          <p:spPr>
            <a:xfrm>
              <a:off x="1199528" y="274575"/>
              <a:ext cx="16394" cy="93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086" y="21600"/>
                  </a:moveTo>
                  <a:cubicBezTo>
                    <a:pt x="3086" y="21387"/>
                    <a:pt x="3086" y="21068"/>
                    <a:pt x="0" y="21068"/>
                  </a:cubicBezTo>
                  <a:cubicBezTo>
                    <a:pt x="0" y="20749"/>
                    <a:pt x="3086" y="20110"/>
                    <a:pt x="3086" y="19791"/>
                  </a:cubicBezTo>
                  <a:lnTo>
                    <a:pt x="3086" y="21600"/>
                  </a:lnTo>
                  <a:close/>
                  <a:moveTo>
                    <a:pt x="3086" y="6065"/>
                  </a:moveTo>
                  <a:lnTo>
                    <a:pt x="3086" y="3618"/>
                  </a:lnTo>
                  <a:cubicBezTo>
                    <a:pt x="3086" y="3299"/>
                    <a:pt x="7714" y="2767"/>
                    <a:pt x="7714" y="2447"/>
                  </a:cubicBezTo>
                  <a:lnTo>
                    <a:pt x="7714" y="1809"/>
                  </a:lnTo>
                  <a:lnTo>
                    <a:pt x="21600" y="0"/>
                  </a:lnTo>
                  <a:lnTo>
                    <a:pt x="21600" y="17450"/>
                  </a:lnTo>
                  <a:lnTo>
                    <a:pt x="7714" y="19259"/>
                  </a:lnTo>
                  <a:cubicBezTo>
                    <a:pt x="7714" y="19578"/>
                    <a:pt x="7714" y="19578"/>
                    <a:pt x="3086" y="19791"/>
                  </a:cubicBezTo>
                  <a:lnTo>
                    <a:pt x="3086" y="6065"/>
                  </a:lnTo>
                  <a:close/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1" name="Shape 1462"/>
            <p:cNvSpPr/>
            <p:nvPr/>
          </p:nvSpPr>
          <p:spPr>
            <a:xfrm>
              <a:off x="954869" y="413913"/>
              <a:ext cx="257718" cy="2023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3457"/>
                  </a:moveTo>
                  <a:lnTo>
                    <a:pt x="21600" y="21600"/>
                  </a:lnTo>
                  <a:lnTo>
                    <a:pt x="0" y="8143"/>
                  </a:lnTo>
                  <a:lnTo>
                    <a:pt x="0" y="0"/>
                  </a:lnTo>
                  <a:lnTo>
                    <a:pt x="21600" y="13457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2" name="Shape 1463"/>
            <p:cNvSpPr/>
            <p:nvPr/>
          </p:nvSpPr>
          <p:spPr>
            <a:xfrm>
              <a:off x="1655652" y="391373"/>
              <a:ext cx="270013" cy="2064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117"/>
                  </a:moveTo>
                  <a:lnTo>
                    <a:pt x="21600" y="12059"/>
                  </a:lnTo>
                  <a:cubicBezTo>
                    <a:pt x="21600" y="10558"/>
                    <a:pt x="20966" y="9299"/>
                    <a:pt x="19809" y="8621"/>
                  </a:cubicBezTo>
                  <a:cubicBezTo>
                    <a:pt x="19585" y="8475"/>
                    <a:pt x="19399" y="8378"/>
                    <a:pt x="19063" y="8233"/>
                  </a:cubicBezTo>
                  <a:cubicBezTo>
                    <a:pt x="18951" y="8088"/>
                    <a:pt x="18877" y="8088"/>
                    <a:pt x="18653" y="8088"/>
                  </a:cubicBezTo>
                  <a:cubicBezTo>
                    <a:pt x="18466" y="8088"/>
                    <a:pt x="18429" y="7943"/>
                    <a:pt x="18317" y="7943"/>
                  </a:cubicBezTo>
                  <a:cubicBezTo>
                    <a:pt x="18131" y="7797"/>
                    <a:pt x="17907" y="7797"/>
                    <a:pt x="17683" y="7797"/>
                  </a:cubicBezTo>
                  <a:lnTo>
                    <a:pt x="17608" y="7797"/>
                  </a:lnTo>
                  <a:cubicBezTo>
                    <a:pt x="17384" y="7797"/>
                    <a:pt x="17049" y="7652"/>
                    <a:pt x="16862" y="7652"/>
                  </a:cubicBezTo>
                  <a:lnTo>
                    <a:pt x="15818" y="7652"/>
                  </a:lnTo>
                  <a:cubicBezTo>
                    <a:pt x="15594" y="7652"/>
                    <a:pt x="15482" y="7652"/>
                    <a:pt x="15258" y="7797"/>
                  </a:cubicBezTo>
                  <a:cubicBezTo>
                    <a:pt x="15072" y="7797"/>
                    <a:pt x="14960" y="7797"/>
                    <a:pt x="14848" y="7943"/>
                  </a:cubicBezTo>
                  <a:cubicBezTo>
                    <a:pt x="14736" y="7943"/>
                    <a:pt x="14549" y="7943"/>
                    <a:pt x="14437" y="8088"/>
                  </a:cubicBezTo>
                  <a:cubicBezTo>
                    <a:pt x="14213" y="8233"/>
                    <a:pt x="14027" y="8233"/>
                    <a:pt x="13691" y="8233"/>
                  </a:cubicBezTo>
                  <a:cubicBezTo>
                    <a:pt x="13579" y="8233"/>
                    <a:pt x="13467" y="8378"/>
                    <a:pt x="13281" y="8378"/>
                  </a:cubicBezTo>
                  <a:cubicBezTo>
                    <a:pt x="12870" y="8475"/>
                    <a:pt x="12423" y="8621"/>
                    <a:pt x="11901" y="8766"/>
                  </a:cubicBezTo>
                  <a:cubicBezTo>
                    <a:pt x="11789" y="8911"/>
                    <a:pt x="11714" y="8911"/>
                    <a:pt x="11602" y="8911"/>
                  </a:cubicBezTo>
                  <a:cubicBezTo>
                    <a:pt x="11266" y="9057"/>
                    <a:pt x="10968" y="9153"/>
                    <a:pt x="10632" y="9299"/>
                  </a:cubicBezTo>
                  <a:cubicBezTo>
                    <a:pt x="10520" y="9299"/>
                    <a:pt x="10446" y="9444"/>
                    <a:pt x="10222" y="9444"/>
                  </a:cubicBezTo>
                  <a:cubicBezTo>
                    <a:pt x="9923" y="9589"/>
                    <a:pt x="9588" y="9880"/>
                    <a:pt x="9177" y="9977"/>
                  </a:cubicBezTo>
                  <a:cubicBezTo>
                    <a:pt x="9065" y="9977"/>
                    <a:pt x="9065" y="10122"/>
                    <a:pt x="8953" y="10122"/>
                  </a:cubicBezTo>
                  <a:cubicBezTo>
                    <a:pt x="8319" y="10558"/>
                    <a:pt x="7573" y="10945"/>
                    <a:pt x="6976" y="11478"/>
                  </a:cubicBezTo>
                  <a:lnTo>
                    <a:pt x="6864" y="11478"/>
                  </a:lnTo>
                  <a:cubicBezTo>
                    <a:pt x="6230" y="12059"/>
                    <a:pt x="5596" y="12447"/>
                    <a:pt x="4962" y="13125"/>
                  </a:cubicBezTo>
                  <a:cubicBezTo>
                    <a:pt x="4738" y="13270"/>
                    <a:pt x="4626" y="13561"/>
                    <a:pt x="4439" y="13706"/>
                  </a:cubicBezTo>
                  <a:cubicBezTo>
                    <a:pt x="4104" y="13948"/>
                    <a:pt x="3917" y="14239"/>
                    <a:pt x="3693" y="14529"/>
                  </a:cubicBezTo>
                  <a:cubicBezTo>
                    <a:pt x="3581" y="14626"/>
                    <a:pt x="3469" y="14771"/>
                    <a:pt x="3283" y="14917"/>
                  </a:cubicBezTo>
                  <a:cubicBezTo>
                    <a:pt x="3059" y="15207"/>
                    <a:pt x="2873" y="15449"/>
                    <a:pt x="2649" y="15740"/>
                  </a:cubicBezTo>
                  <a:cubicBezTo>
                    <a:pt x="2574" y="15885"/>
                    <a:pt x="2425" y="16127"/>
                    <a:pt x="2238" y="16273"/>
                  </a:cubicBezTo>
                  <a:cubicBezTo>
                    <a:pt x="2126" y="16418"/>
                    <a:pt x="2164" y="16418"/>
                    <a:pt x="2015" y="16563"/>
                  </a:cubicBezTo>
                  <a:cubicBezTo>
                    <a:pt x="1828" y="16805"/>
                    <a:pt x="1679" y="17096"/>
                    <a:pt x="1492" y="17387"/>
                  </a:cubicBezTo>
                  <a:lnTo>
                    <a:pt x="1380" y="17532"/>
                  </a:lnTo>
                  <a:cubicBezTo>
                    <a:pt x="1268" y="17629"/>
                    <a:pt x="1268" y="17774"/>
                    <a:pt x="1268" y="17774"/>
                  </a:cubicBezTo>
                  <a:cubicBezTo>
                    <a:pt x="1045" y="18065"/>
                    <a:pt x="970" y="18355"/>
                    <a:pt x="858" y="18597"/>
                  </a:cubicBezTo>
                  <a:cubicBezTo>
                    <a:pt x="746" y="18743"/>
                    <a:pt x="746" y="18985"/>
                    <a:pt x="634" y="19130"/>
                  </a:cubicBezTo>
                  <a:cubicBezTo>
                    <a:pt x="522" y="19227"/>
                    <a:pt x="522" y="19421"/>
                    <a:pt x="448" y="19711"/>
                  </a:cubicBezTo>
                  <a:cubicBezTo>
                    <a:pt x="336" y="19953"/>
                    <a:pt x="336" y="20244"/>
                    <a:pt x="224" y="20389"/>
                  </a:cubicBezTo>
                  <a:cubicBezTo>
                    <a:pt x="224" y="20535"/>
                    <a:pt x="112" y="20535"/>
                    <a:pt x="112" y="20680"/>
                  </a:cubicBezTo>
                  <a:cubicBezTo>
                    <a:pt x="0" y="21067"/>
                    <a:pt x="0" y="21358"/>
                    <a:pt x="0" y="21600"/>
                  </a:cubicBezTo>
                  <a:lnTo>
                    <a:pt x="0" y="13561"/>
                  </a:lnTo>
                  <a:cubicBezTo>
                    <a:pt x="0" y="13270"/>
                    <a:pt x="0" y="12979"/>
                    <a:pt x="112" y="12737"/>
                  </a:cubicBezTo>
                  <a:cubicBezTo>
                    <a:pt x="112" y="12592"/>
                    <a:pt x="112" y="12592"/>
                    <a:pt x="224" y="12447"/>
                  </a:cubicBezTo>
                  <a:cubicBezTo>
                    <a:pt x="224" y="12301"/>
                    <a:pt x="336" y="12059"/>
                    <a:pt x="336" y="11914"/>
                  </a:cubicBezTo>
                  <a:lnTo>
                    <a:pt x="336" y="11769"/>
                  </a:lnTo>
                  <a:cubicBezTo>
                    <a:pt x="448" y="11623"/>
                    <a:pt x="448" y="11478"/>
                    <a:pt x="522" y="11236"/>
                  </a:cubicBezTo>
                  <a:cubicBezTo>
                    <a:pt x="634" y="11091"/>
                    <a:pt x="634" y="10945"/>
                    <a:pt x="634" y="10800"/>
                  </a:cubicBezTo>
                  <a:cubicBezTo>
                    <a:pt x="634" y="10800"/>
                    <a:pt x="634" y="10655"/>
                    <a:pt x="746" y="10655"/>
                  </a:cubicBezTo>
                  <a:cubicBezTo>
                    <a:pt x="858" y="10413"/>
                    <a:pt x="1045" y="10122"/>
                    <a:pt x="1156" y="9880"/>
                  </a:cubicBezTo>
                  <a:cubicBezTo>
                    <a:pt x="1156" y="9735"/>
                    <a:pt x="1268" y="9735"/>
                    <a:pt x="1268" y="9589"/>
                  </a:cubicBezTo>
                  <a:cubicBezTo>
                    <a:pt x="1268" y="9444"/>
                    <a:pt x="1380" y="9444"/>
                    <a:pt x="1380" y="9444"/>
                  </a:cubicBezTo>
                  <a:cubicBezTo>
                    <a:pt x="1492" y="9153"/>
                    <a:pt x="1679" y="8911"/>
                    <a:pt x="1903" y="8621"/>
                  </a:cubicBezTo>
                  <a:cubicBezTo>
                    <a:pt x="2015" y="8475"/>
                    <a:pt x="2052" y="8475"/>
                    <a:pt x="2126" y="8378"/>
                  </a:cubicBezTo>
                  <a:cubicBezTo>
                    <a:pt x="2276" y="8233"/>
                    <a:pt x="2238" y="8185"/>
                    <a:pt x="2313" y="8088"/>
                  </a:cubicBezTo>
                  <a:cubicBezTo>
                    <a:pt x="2425" y="7894"/>
                    <a:pt x="2537" y="7943"/>
                    <a:pt x="2537" y="7797"/>
                  </a:cubicBezTo>
                  <a:cubicBezTo>
                    <a:pt x="2761" y="7555"/>
                    <a:pt x="2947" y="7265"/>
                    <a:pt x="3171" y="6974"/>
                  </a:cubicBezTo>
                  <a:cubicBezTo>
                    <a:pt x="3283" y="6829"/>
                    <a:pt x="3395" y="6732"/>
                    <a:pt x="3581" y="6587"/>
                  </a:cubicBezTo>
                  <a:cubicBezTo>
                    <a:pt x="3805" y="6296"/>
                    <a:pt x="4104" y="6054"/>
                    <a:pt x="4327" y="5763"/>
                  </a:cubicBezTo>
                  <a:cubicBezTo>
                    <a:pt x="4439" y="5618"/>
                    <a:pt x="4551" y="5473"/>
                    <a:pt x="4626" y="5473"/>
                  </a:cubicBezTo>
                  <a:cubicBezTo>
                    <a:pt x="4738" y="5327"/>
                    <a:pt x="4850" y="5327"/>
                    <a:pt x="4850" y="5230"/>
                  </a:cubicBezTo>
                  <a:cubicBezTo>
                    <a:pt x="5484" y="4649"/>
                    <a:pt x="6118" y="4117"/>
                    <a:pt x="6752" y="3584"/>
                  </a:cubicBezTo>
                  <a:lnTo>
                    <a:pt x="6864" y="3584"/>
                  </a:lnTo>
                  <a:cubicBezTo>
                    <a:pt x="7498" y="3003"/>
                    <a:pt x="8133" y="2615"/>
                    <a:pt x="8841" y="2228"/>
                  </a:cubicBezTo>
                  <a:cubicBezTo>
                    <a:pt x="8953" y="2228"/>
                    <a:pt x="8953" y="2228"/>
                    <a:pt x="9065" y="2083"/>
                  </a:cubicBezTo>
                  <a:cubicBezTo>
                    <a:pt x="9364" y="1792"/>
                    <a:pt x="9811" y="1647"/>
                    <a:pt x="10110" y="1501"/>
                  </a:cubicBezTo>
                  <a:cubicBezTo>
                    <a:pt x="10222" y="1404"/>
                    <a:pt x="10334" y="1404"/>
                    <a:pt x="10520" y="1404"/>
                  </a:cubicBezTo>
                  <a:cubicBezTo>
                    <a:pt x="10856" y="1259"/>
                    <a:pt x="11154" y="1114"/>
                    <a:pt x="11490" y="969"/>
                  </a:cubicBezTo>
                  <a:cubicBezTo>
                    <a:pt x="11602" y="969"/>
                    <a:pt x="11602" y="823"/>
                    <a:pt x="11714" y="823"/>
                  </a:cubicBezTo>
                  <a:lnTo>
                    <a:pt x="11789" y="823"/>
                  </a:lnTo>
                  <a:cubicBezTo>
                    <a:pt x="12236" y="678"/>
                    <a:pt x="12647" y="581"/>
                    <a:pt x="13169" y="436"/>
                  </a:cubicBezTo>
                  <a:lnTo>
                    <a:pt x="13281" y="436"/>
                  </a:lnTo>
                  <a:cubicBezTo>
                    <a:pt x="13393" y="436"/>
                    <a:pt x="13467" y="436"/>
                    <a:pt x="13467" y="291"/>
                  </a:cubicBezTo>
                  <a:cubicBezTo>
                    <a:pt x="13691" y="145"/>
                    <a:pt x="14027" y="145"/>
                    <a:pt x="14213" y="145"/>
                  </a:cubicBezTo>
                  <a:lnTo>
                    <a:pt x="14661" y="145"/>
                  </a:lnTo>
                  <a:cubicBezTo>
                    <a:pt x="14848" y="145"/>
                    <a:pt x="14960" y="145"/>
                    <a:pt x="15072" y="0"/>
                  </a:cubicBezTo>
                  <a:lnTo>
                    <a:pt x="16862" y="0"/>
                  </a:lnTo>
                  <a:cubicBezTo>
                    <a:pt x="17049" y="0"/>
                    <a:pt x="17273" y="0"/>
                    <a:pt x="17496" y="145"/>
                  </a:cubicBezTo>
                  <a:lnTo>
                    <a:pt x="17608" y="145"/>
                  </a:lnTo>
                  <a:cubicBezTo>
                    <a:pt x="17795" y="145"/>
                    <a:pt x="18019" y="291"/>
                    <a:pt x="18131" y="291"/>
                  </a:cubicBezTo>
                  <a:lnTo>
                    <a:pt x="18205" y="291"/>
                  </a:lnTo>
                  <a:cubicBezTo>
                    <a:pt x="18317" y="291"/>
                    <a:pt x="18429" y="436"/>
                    <a:pt x="18541" y="436"/>
                  </a:cubicBezTo>
                  <a:cubicBezTo>
                    <a:pt x="18653" y="436"/>
                    <a:pt x="18765" y="581"/>
                    <a:pt x="18839" y="581"/>
                  </a:cubicBezTo>
                  <a:cubicBezTo>
                    <a:pt x="18839" y="581"/>
                    <a:pt x="18839" y="581"/>
                    <a:pt x="18951" y="581"/>
                  </a:cubicBezTo>
                  <a:cubicBezTo>
                    <a:pt x="19175" y="678"/>
                    <a:pt x="19474" y="823"/>
                    <a:pt x="19697" y="969"/>
                  </a:cubicBezTo>
                  <a:cubicBezTo>
                    <a:pt x="20966" y="1501"/>
                    <a:pt x="21488" y="2761"/>
                    <a:pt x="21600" y="4117"/>
                  </a:cubicBez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3" name="Shape 1464"/>
            <p:cNvSpPr/>
            <p:nvPr/>
          </p:nvSpPr>
          <p:spPr>
            <a:xfrm>
              <a:off x="1917934" y="456943"/>
              <a:ext cx="38464" cy="958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194"/>
                  </a:moveTo>
                  <a:lnTo>
                    <a:pt x="21600" y="21600"/>
                  </a:lnTo>
                  <a:lnTo>
                    <a:pt x="0" y="17196"/>
                  </a:lnTo>
                  <a:lnTo>
                    <a:pt x="0" y="0"/>
                  </a:lnTo>
                  <a:lnTo>
                    <a:pt x="21600" y="4194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4" name="Shape 1465"/>
            <p:cNvSpPr/>
            <p:nvPr/>
          </p:nvSpPr>
          <p:spPr>
            <a:xfrm>
              <a:off x="1956866" y="317606"/>
              <a:ext cx="216740" cy="2351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6944"/>
                  </a:lnTo>
                  <a:lnTo>
                    <a:pt x="0" y="21600"/>
                  </a:lnTo>
                  <a:lnTo>
                    <a:pt x="0" y="14528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5" name="Shape 1466"/>
            <p:cNvSpPr/>
            <p:nvPr/>
          </p:nvSpPr>
          <p:spPr>
            <a:xfrm>
              <a:off x="1309359" y="606526"/>
              <a:ext cx="38458" cy="1040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5885"/>
                  </a:lnTo>
                  <a:lnTo>
                    <a:pt x="0" y="21600"/>
                  </a:lnTo>
                  <a:lnTo>
                    <a:pt x="0" y="5715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6" name="Shape 1467"/>
            <p:cNvSpPr/>
            <p:nvPr/>
          </p:nvSpPr>
          <p:spPr>
            <a:xfrm>
              <a:off x="1045028" y="629066"/>
              <a:ext cx="272065" cy="1675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3889"/>
                  </a:moveTo>
                  <a:lnTo>
                    <a:pt x="21600" y="13881"/>
                  </a:lnTo>
                  <a:cubicBezTo>
                    <a:pt x="21600" y="14181"/>
                    <a:pt x="21600" y="14360"/>
                    <a:pt x="21490" y="14719"/>
                  </a:cubicBezTo>
                  <a:cubicBezTo>
                    <a:pt x="21490" y="14899"/>
                    <a:pt x="21490" y="14899"/>
                    <a:pt x="21416" y="15018"/>
                  </a:cubicBezTo>
                  <a:lnTo>
                    <a:pt x="21416" y="15557"/>
                  </a:lnTo>
                  <a:cubicBezTo>
                    <a:pt x="21306" y="15856"/>
                    <a:pt x="21306" y="16035"/>
                    <a:pt x="21195" y="16215"/>
                  </a:cubicBezTo>
                  <a:cubicBezTo>
                    <a:pt x="21195" y="16394"/>
                    <a:pt x="21195" y="16394"/>
                    <a:pt x="21085" y="16394"/>
                  </a:cubicBezTo>
                  <a:cubicBezTo>
                    <a:pt x="21085" y="16394"/>
                    <a:pt x="21085" y="16574"/>
                    <a:pt x="20974" y="16574"/>
                  </a:cubicBezTo>
                  <a:cubicBezTo>
                    <a:pt x="20901" y="16753"/>
                    <a:pt x="20901" y="16753"/>
                    <a:pt x="20901" y="16873"/>
                  </a:cubicBezTo>
                  <a:cubicBezTo>
                    <a:pt x="20790" y="17232"/>
                    <a:pt x="20680" y="17412"/>
                    <a:pt x="20570" y="17591"/>
                  </a:cubicBezTo>
                  <a:lnTo>
                    <a:pt x="20459" y="17711"/>
                  </a:lnTo>
                  <a:cubicBezTo>
                    <a:pt x="20275" y="18070"/>
                    <a:pt x="20055" y="18429"/>
                    <a:pt x="19834" y="18608"/>
                  </a:cubicBezTo>
                  <a:cubicBezTo>
                    <a:pt x="19834" y="18608"/>
                    <a:pt x="19760" y="18608"/>
                    <a:pt x="19760" y="18728"/>
                  </a:cubicBezTo>
                  <a:cubicBezTo>
                    <a:pt x="19539" y="19087"/>
                    <a:pt x="19319" y="19266"/>
                    <a:pt x="19135" y="19446"/>
                  </a:cubicBezTo>
                  <a:cubicBezTo>
                    <a:pt x="19024" y="19446"/>
                    <a:pt x="19024" y="19625"/>
                    <a:pt x="18914" y="19625"/>
                  </a:cubicBezTo>
                  <a:cubicBezTo>
                    <a:pt x="18803" y="19745"/>
                    <a:pt x="18693" y="19745"/>
                    <a:pt x="18509" y="19925"/>
                  </a:cubicBezTo>
                  <a:cubicBezTo>
                    <a:pt x="18509" y="19925"/>
                    <a:pt x="18509" y="19925"/>
                    <a:pt x="18399" y="19925"/>
                  </a:cubicBezTo>
                  <a:cubicBezTo>
                    <a:pt x="18067" y="20284"/>
                    <a:pt x="17663" y="20463"/>
                    <a:pt x="17368" y="20583"/>
                  </a:cubicBezTo>
                  <a:lnTo>
                    <a:pt x="17258" y="20583"/>
                  </a:lnTo>
                  <a:cubicBezTo>
                    <a:pt x="17148" y="20583"/>
                    <a:pt x="17037" y="20762"/>
                    <a:pt x="16927" y="20762"/>
                  </a:cubicBezTo>
                  <a:cubicBezTo>
                    <a:pt x="16743" y="20942"/>
                    <a:pt x="16632" y="20942"/>
                    <a:pt x="16412" y="20942"/>
                  </a:cubicBezTo>
                  <a:cubicBezTo>
                    <a:pt x="16301" y="20942"/>
                    <a:pt x="16301" y="21121"/>
                    <a:pt x="16228" y="21121"/>
                  </a:cubicBezTo>
                  <a:cubicBezTo>
                    <a:pt x="16117" y="21121"/>
                    <a:pt x="16007" y="21121"/>
                    <a:pt x="15896" y="21301"/>
                  </a:cubicBezTo>
                  <a:cubicBezTo>
                    <a:pt x="15786" y="21301"/>
                    <a:pt x="15602" y="21480"/>
                    <a:pt x="15492" y="21480"/>
                  </a:cubicBezTo>
                  <a:lnTo>
                    <a:pt x="14976" y="21480"/>
                  </a:lnTo>
                  <a:cubicBezTo>
                    <a:pt x="14866" y="21480"/>
                    <a:pt x="14645" y="21480"/>
                    <a:pt x="14535" y="21600"/>
                  </a:cubicBezTo>
                  <a:lnTo>
                    <a:pt x="11959" y="21600"/>
                  </a:lnTo>
                  <a:cubicBezTo>
                    <a:pt x="11628" y="21600"/>
                    <a:pt x="11444" y="21600"/>
                    <a:pt x="11113" y="21480"/>
                  </a:cubicBezTo>
                  <a:lnTo>
                    <a:pt x="10818" y="21480"/>
                  </a:lnTo>
                  <a:cubicBezTo>
                    <a:pt x="10414" y="21301"/>
                    <a:pt x="9972" y="21301"/>
                    <a:pt x="9457" y="21121"/>
                  </a:cubicBezTo>
                  <a:lnTo>
                    <a:pt x="9236" y="21121"/>
                  </a:lnTo>
                  <a:cubicBezTo>
                    <a:pt x="8647" y="20942"/>
                    <a:pt x="8022" y="20762"/>
                    <a:pt x="7470" y="20463"/>
                  </a:cubicBezTo>
                  <a:lnTo>
                    <a:pt x="7396" y="20463"/>
                  </a:lnTo>
                  <a:cubicBezTo>
                    <a:pt x="7286" y="20463"/>
                    <a:pt x="7286" y="20284"/>
                    <a:pt x="7175" y="20284"/>
                  </a:cubicBezTo>
                  <a:cubicBezTo>
                    <a:pt x="6881" y="20104"/>
                    <a:pt x="6550" y="19925"/>
                    <a:pt x="6256" y="19745"/>
                  </a:cubicBezTo>
                  <a:cubicBezTo>
                    <a:pt x="6145" y="19625"/>
                    <a:pt x="6035" y="19625"/>
                    <a:pt x="5924" y="19625"/>
                  </a:cubicBezTo>
                  <a:cubicBezTo>
                    <a:pt x="5520" y="19266"/>
                    <a:pt x="5188" y="19087"/>
                    <a:pt x="4784" y="18728"/>
                  </a:cubicBezTo>
                  <a:cubicBezTo>
                    <a:pt x="1766" y="16215"/>
                    <a:pt x="0" y="12984"/>
                    <a:pt x="0" y="9813"/>
                  </a:cubicBezTo>
                  <a:lnTo>
                    <a:pt x="0" y="0"/>
                  </a:lnTo>
                  <a:cubicBezTo>
                    <a:pt x="0" y="3052"/>
                    <a:pt x="1619" y="6402"/>
                    <a:pt x="4784" y="8975"/>
                  </a:cubicBezTo>
                  <a:cubicBezTo>
                    <a:pt x="5152" y="9274"/>
                    <a:pt x="5520" y="9454"/>
                    <a:pt x="5924" y="9813"/>
                  </a:cubicBezTo>
                  <a:cubicBezTo>
                    <a:pt x="6035" y="9992"/>
                    <a:pt x="6145" y="9992"/>
                    <a:pt x="6256" y="9992"/>
                  </a:cubicBezTo>
                  <a:cubicBezTo>
                    <a:pt x="6550" y="10112"/>
                    <a:pt x="6881" y="10291"/>
                    <a:pt x="7175" y="10471"/>
                  </a:cubicBezTo>
                  <a:cubicBezTo>
                    <a:pt x="7286" y="10471"/>
                    <a:pt x="7396" y="10650"/>
                    <a:pt x="7470" y="10650"/>
                  </a:cubicBezTo>
                  <a:cubicBezTo>
                    <a:pt x="8095" y="11009"/>
                    <a:pt x="8721" y="11129"/>
                    <a:pt x="9236" y="11309"/>
                  </a:cubicBezTo>
                  <a:cubicBezTo>
                    <a:pt x="9347" y="11309"/>
                    <a:pt x="9347" y="11488"/>
                    <a:pt x="9457" y="11488"/>
                  </a:cubicBezTo>
                  <a:cubicBezTo>
                    <a:pt x="9862" y="11668"/>
                    <a:pt x="10303" y="11668"/>
                    <a:pt x="10818" y="11847"/>
                  </a:cubicBezTo>
                  <a:lnTo>
                    <a:pt x="11113" y="11847"/>
                  </a:lnTo>
                  <a:cubicBezTo>
                    <a:pt x="11444" y="11847"/>
                    <a:pt x="11628" y="12027"/>
                    <a:pt x="11959" y="12027"/>
                  </a:cubicBezTo>
                  <a:lnTo>
                    <a:pt x="14461" y="12027"/>
                  </a:lnTo>
                  <a:cubicBezTo>
                    <a:pt x="14535" y="12027"/>
                    <a:pt x="14756" y="12027"/>
                    <a:pt x="14866" y="11847"/>
                  </a:cubicBezTo>
                  <a:cubicBezTo>
                    <a:pt x="15087" y="11847"/>
                    <a:pt x="15160" y="11668"/>
                    <a:pt x="15381" y="11668"/>
                  </a:cubicBezTo>
                  <a:cubicBezTo>
                    <a:pt x="15602" y="11668"/>
                    <a:pt x="15676" y="11488"/>
                    <a:pt x="15786" y="11488"/>
                  </a:cubicBezTo>
                  <a:cubicBezTo>
                    <a:pt x="15896" y="11488"/>
                    <a:pt x="16117" y="11309"/>
                    <a:pt x="16228" y="11309"/>
                  </a:cubicBezTo>
                  <a:cubicBezTo>
                    <a:pt x="16412" y="11129"/>
                    <a:pt x="16522" y="11129"/>
                    <a:pt x="16743" y="11129"/>
                  </a:cubicBezTo>
                  <a:cubicBezTo>
                    <a:pt x="16816" y="11129"/>
                    <a:pt x="16927" y="11009"/>
                    <a:pt x="17037" y="11009"/>
                  </a:cubicBezTo>
                  <a:cubicBezTo>
                    <a:pt x="17442" y="10830"/>
                    <a:pt x="17773" y="10650"/>
                    <a:pt x="18067" y="10291"/>
                  </a:cubicBezTo>
                  <a:cubicBezTo>
                    <a:pt x="18178" y="10112"/>
                    <a:pt x="18399" y="10112"/>
                    <a:pt x="18509" y="9992"/>
                  </a:cubicBezTo>
                  <a:cubicBezTo>
                    <a:pt x="18583" y="9992"/>
                    <a:pt x="18583" y="9813"/>
                    <a:pt x="18693" y="9813"/>
                  </a:cubicBezTo>
                  <a:cubicBezTo>
                    <a:pt x="18914" y="9633"/>
                    <a:pt x="19135" y="9274"/>
                    <a:pt x="19319" y="9155"/>
                  </a:cubicBezTo>
                  <a:cubicBezTo>
                    <a:pt x="19650" y="8796"/>
                    <a:pt x="19834" y="8437"/>
                    <a:pt x="20055" y="8137"/>
                  </a:cubicBezTo>
                  <a:lnTo>
                    <a:pt x="20165" y="7958"/>
                  </a:lnTo>
                  <a:cubicBezTo>
                    <a:pt x="20349" y="7599"/>
                    <a:pt x="20459" y="7300"/>
                    <a:pt x="20680" y="6941"/>
                  </a:cubicBezTo>
                  <a:cubicBezTo>
                    <a:pt x="20680" y="6941"/>
                    <a:pt x="20680" y="6761"/>
                    <a:pt x="20790" y="6761"/>
                  </a:cubicBezTo>
                  <a:cubicBezTo>
                    <a:pt x="20901" y="6402"/>
                    <a:pt x="20974" y="6103"/>
                    <a:pt x="21085" y="5744"/>
                  </a:cubicBezTo>
                  <a:lnTo>
                    <a:pt x="21085" y="5565"/>
                  </a:lnTo>
                  <a:cubicBezTo>
                    <a:pt x="21490" y="4727"/>
                    <a:pt x="21490" y="4248"/>
                    <a:pt x="21600" y="3889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7" name="Shape 1468"/>
            <p:cNvSpPr/>
            <p:nvPr/>
          </p:nvSpPr>
          <p:spPr>
            <a:xfrm>
              <a:off x="1346243" y="606526"/>
              <a:ext cx="255671" cy="2023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3457"/>
                  </a:moveTo>
                  <a:lnTo>
                    <a:pt x="21600" y="21600"/>
                  </a:lnTo>
                  <a:lnTo>
                    <a:pt x="0" y="8143"/>
                  </a:lnTo>
                  <a:lnTo>
                    <a:pt x="0" y="0"/>
                  </a:lnTo>
                  <a:lnTo>
                    <a:pt x="21600" y="13457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8" name="Shape 1469"/>
            <p:cNvSpPr/>
            <p:nvPr/>
          </p:nvSpPr>
          <p:spPr>
            <a:xfrm>
              <a:off x="1602376" y="573740"/>
              <a:ext cx="218788" cy="2351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6972"/>
                  </a:lnTo>
                  <a:lnTo>
                    <a:pt x="0" y="21600"/>
                  </a:lnTo>
                  <a:lnTo>
                    <a:pt x="0" y="14585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9" name="Shape 1470"/>
            <p:cNvSpPr/>
            <p:nvPr/>
          </p:nvSpPr>
          <p:spPr>
            <a:xfrm>
              <a:off x="952820" y="0"/>
              <a:ext cx="1220785" cy="7331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9355"/>
                  </a:moveTo>
                  <a:lnTo>
                    <a:pt x="17730" y="14026"/>
                  </a:lnTo>
                  <a:lnTo>
                    <a:pt x="17057" y="13478"/>
                  </a:lnTo>
                  <a:cubicBezTo>
                    <a:pt x="17262" y="12752"/>
                    <a:pt x="17196" y="12094"/>
                    <a:pt x="16777" y="11738"/>
                  </a:cubicBezTo>
                  <a:cubicBezTo>
                    <a:pt x="16054" y="11163"/>
                    <a:pt x="14625" y="11738"/>
                    <a:pt x="13556" y="13026"/>
                  </a:cubicBezTo>
                  <a:cubicBezTo>
                    <a:pt x="12488" y="14341"/>
                    <a:pt x="12209" y="15847"/>
                    <a:pt x="12932" y="16423"/>
                  </a:cubicBezTo>
                  <a:cubicBezTo>
                    <a:pt x="13343" y="16765"/>
                    <a:pt x="14017" y="16697"/>
                    <a:pt x="14690" y="16340"/>
                  </a:cubicBezTo>
                  <a:lnTo>
                    <a:pt x="15364" y="16888"/>
                  </a:lnTo>
                  <a:lnTo>
                    <a:pt x="11494" y="21600"/>
                  </a:lnTo>
                  <a:lnTo>
                    <a:pt x="6943" y="17888"/>
                  </a:lnTo>
                  <a:lnTo>
                    <a:pt x="6285" y="18696"/>
                  </a:lnTo>
                  <a:cubicBezTo>
                    <a:pt x="6515" y="19354"/>
                    <a:pt x="6441" y="20052"/>
                    <a:pt x="6031" y="20559"/>
                  </a:cubicBezTo>
                  <a:cubicBezTo>
                    <a:pt x="5308" y="21408"/>
                    <a:pt x="3862" y="21408"/>
                    <a:pt x="2777" y="20518"/>
                  </a:cubicBezTo>
                  <a:cubicBezTo>
                    <a:pt x="1684" y="19628"/>
                    <a:pt x="1389" y="18244"/>
                    <a:pt x="2112" y="17354"/>
                  </a:cubicBezTo>
                  <a:cubicBezTo>
                    <a:pt x="2522" y="16847"/>
                    <a:pt x="3171" y="16655"/>
                    <a:pt x="3870" y="16738"/>
                  </a:cubicBezTo>
                  <a:lnTo>
                    <a:pt x="4543" y="15916"/>
                  </a:lnTo>
                  <a:lnTo>
                    <a:pt x="0" y="12204"/>
                  </a:lnTo>
                  <a:lnTo>
                    <a:pt x="3870" y="7533"/>
                  </a:lnTo>
                  <a:lnTo>
                    <a:pt x="4543" y="8067"/>
                  </a:lnTo>
                  <a:cubicBezTo>
                    <a:pt x="4330" y="8807"/>
                    <a:pt x="4404" y="9465"/>
                    <a:pt x="4823" y="9807"/>
                  </a:cubicBezTo>
                  <a:cubicBezTo>
                    <a:pt x="5538" y="10396"/>
                    <a:pt x="6967" y="9848"/>
                    <a:pt x="8035" y="8533"/>
                  </a:cubicBezTo>
                  <a:cubicBezTo>
                    <a:pt x="9103" y="7218"/>
                    <a:pt x="9383" y="5712"/>
                    <a:pt x="8660" y="5136"/>
                  </a:cubicBezTo>
                  <a:cubicBezTo>
                    <a:pt x="8241" y="4794"/>
                    <a:pt x="7575" y="4862"/>
                    <a:pt x="6901" y="5219"/>
                  </a:cubicBezTo>
                  <a:lnTo>
                    <a:pt x="6236" y="4671"/>
                  </a:lnTo>
                  <a:lnTo>
                    <a:pt x="10098" y="0"/>
                  </a:lnTo>
                  <a:lnTo>
                    <a:pt x="14641" y="3698"/>
                  </a:lnTo>
                  <a:lnTo>
                    <a:pt x="15315" y="2890"/>
                  </a:lnTo>
                  <a:cubicBezTo>
                    <a:pt x="15085" y="2233"/>
                    <a:pt x="15150" y="1534"/>
                    <a:pt x="15569" y="1041"/>
                  </a:cubicBezTo>
                  <a:cubicBezTo>
                    <a:pt x="16292" y="192"/>
                    <a:pt x="17730" y="192"/>
                    <a:pt x="18815" y="1082"/>
                  </a:cubicBezTo>
                  <a:cubicBezTo>
                    <a:pt x="19907" y="1972"/>
                    <a:pt x="20211" y="3356"/>
                    <a:pt x="19488" y="4246"/>
                  </a:cubicBezTo>
                  <a:cubicBezTo>
                    <a:pt x="19069" y="4753"/>
                    <a:pt x="18420" y="4945"/>
                    <a:pt x="17730" y="4862"/>
                  </a:cubicBezTo>
                  <a:lnTo>
                    <a:pt x="17057" y="5671"/>
                  </a:lnTo>
                  <a:lnTo>
                    <a:pt x="21600" y="9355"/>
                  </a:lnTo>
                </a:path>
              </a:pathLst>
            </a:custGeom>
            <a:solidFill>
              <a:srgbClr val="EAFFE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0" name="Shape 1471"/>
            <p:cNvSpPr/>
            <p:nvPr/>
          </p:nvSpPr>
          <p:spPr>
            <a:xfrm>
              <a:off x="1791232" y="778303"/>
              <a:ext cx="346850" cy="2008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81" h="19646" extrusionOk="0">
                  <a:moveTo>
                    <a:pt x="2849" y="16759"/>
                  </a:moveTo>
                  <a:cubicBezTo>
                    <a:pt x="-949" y="12885"/>
                    <a:pt x="-949" y="6688"/>
                    <a:pt x="2849" y="2905"/>
                  </a:cubicBezTo>
                  <a:cubicBezTo>
                    <a:pt x="6726" y="-968"/>
                    <a:pt x="12897" y="-968"/>
                    <a:pt x="16774" y="2905"/>
                  </a:cubicBezTo>
                  <a:cubicBezTo>
                    <a:pt x="20651" y="6733"/>
                    <a:pt x="20651" y="12931"/>
                    <a:pt x="16774" y="16759"/>
                  </a:cubicBezTo>
                  <a:cubicBezTo>
                    <a:pt x="12897" y="20632"/>
                    <a:pt x="6726" y="20586"/>
                    <a:pt x="2849" y="16759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1" name="Shape 1472"/>
            <p:cNvSpPr/>
            <p:nvPr/>
          </p:nvSpPr>
          <p:spPr>
            <a:xfrm>
              <a:off x="1844191" y="820483"/>
              <a:ext cx="99532" cy="446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882" h="17564" extrusionOk="0">
                  <a:moveTo>
                    <a:pt x="6902" y="1562"/>
                  </a:moveTo>
                  <a:cubicBezTo>
                    <a:pt x="9520" y="2661"/>
                    <a:pt x="14850" y="-3563"/>
                    <a:pt x="19058" y="3210"/>
                  </a:cubicBezTo>
                  <a:cubicBezTo>
                    <a:pt x="20367" y="6139"/>
                    <a:pt x="20367" y="16939"/>
                    <a:pt x="17188" y="17488"/>
                  </a:cubicBezTo>
                  <a:cubicBezTo>
                    <a:pt x="14009" y="18037"/>
                    <a:pt x="13728" y="15474"/>
                    <a:pt x="11390" y="13827"/>
                  </a:cubicBezTo>
                  <a:cubicBezTo>
                    <a:pt x="9053" y="12912"/>
                    <a:pt x="1853" y="11813"/>
                    <a:pt x="263" y="8701"/>
                  </a:cubicBezTo>
                  <a:cubicBezTo>
                    <a:pt x="-1233" y="5590"/>
                    <a:pt x="4003" y="647"/>
                    <a:pt x="6902" y="1562"/>
                  </a:cubicBezTo>
                </a:path>
              </a:pathLst>
            </a:custGeom>
            <a:solidFill>
              <a:srgbClr val="47716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2" name="Shape 1473"/>
            <p:cNvSpPr/>
            <p:nvPr/>
          </p:nvSpPr>
          <p:spPr>
            <a:xfrm>
              <a:off x="1836955" y="647507"/>
              <a:ext cx="136138" cy="1886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193" h="20545" extrusionOk="0">
                  <a:moveTo>
                    <a:pt x="16801" y="7368"/>
                  </a:moveTo>
                  <a:cubicBezTo>
                    <a:pt x="12718" y="7267"/>
                    <a:pt x="9557" y="7671"/>
                    <a:pt x="10282" y="9538"/>
                  </a:cubicBezTo>
                  <a:cubicBezTo>
                    <a:pt x="11006" y="11355"/>
                    <a:pt x="14167" y="19935"/>
                    <a:pt x="14167" y="19935"/>
                  </a:cubicBezTo>
                  <a:cubicBezTo>
                    <a:pt x="11928" y="21600"/>
                    <a:pt x="7121" y="19329"/>
                    <a:pt x="7121" y="19329"/>
                  </a:cubicBezTo>
                  <a:cubicBezTo>
                    <a:pt x="7121" y="19329"/>
                    <a:pt x="2313" y="10800"/>
                    <a:pt x="799" y="8226"/>
                  </a:cubicBezTo>
                  <a:cubicBezTo>
                    <a:pt x="-716" y="5703"/>
                    <a:pt x="74" y="3684"/>
                    <a:pt x="1918" y="2826"/>
                  </a:cubicBezTo>
                  <a:cubicBezTo>
                    <a:pt x="3762" y="1968"/>
                    <a:pt x="14167" y="0"/>
                    <a:pt x="14167" y="0"/>
                  </a:cubicBezTo>
                  <a:cubicBezTo>
                    <a:pt x="19567" y="0"/>
                    <a:pt x="20884" y="7520"/>
                    <a:pt x="16801" y="7368"/>
                  </a:cubicBezTo>
                </a:path>
              </a:pathLst>
            </a:custGeom>
            <a:solidFill>
              <a:srgbClr val="4773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3" name="Shape 1474"/>
            <p:cNvSpPr/>
            <p:nvPr/>
          </p:nvSpPr>
          <p:spPr>
            <a:xfrm>
              <a:off x="2020518" y="870856"/>
              <a:ext cx="78982" cy="949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595" h="20530" extrusionOk="0">
                  <a:moveTo>
                    <a:pt x="4004" y="6229"/>
                  </a:moveTo>
                  <a:cubicBezTo>
                    <a:pt x="5868" y="2813"/>
                    <a:pt x="13653" y="0"/>
                    <a:pt x="13653" y="0"/>
                  </a:cubicBezTo>
                  <a:cubicBezTo>
                    <a:pt x="13653" y="0"/>
                    <a:pt x="20122" y="2813"/>
                    <a:pt x="18258" y="6028"/>
                  </a:cubicBezTo>
                  <a:cubicBezTo>
                    <a:pt x="16394" y="9343"/>
                    <a:pt x="14311" y="8841"/>
                    <a:pt x="13653" y="11654"/>
                  </a:cubicBezTo>
                  <a:cubicBezTo>
                    <a:pt x="12995" y="14467"/>
                    <a:pt x="9048" y="21600"/>
                    <a:pt x="3785" y="20394"/>
                  </a:cubicBezTo>
                  <a:cubicBezTo>
                    <a:pt x="-1478" y="19289"/>
                    <a:pt x="-601" y="15572"/>
                    <a:pt x="2469" y="15371"/>
                  </a:cubicBezTo>
                  <a:cubicBezTo>
                    <a:pt x="5649" y="14768"/>
                    <a:pt x="2250" y="9946"/>
                    <a:pt x="4004" y="6229"/>
                  </a:cubicBezTo>
                </a:path>
              </a:pathLst>
            </a:custGeom>
            <a:solidFill>
              <a:srgbClr val="47716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4" name="Shape 1475"/>
            <p:cNvSpPr/>
            <p:nvPr/>
          </p:nvSpPr>
          <p:spPr>
            <a:xfrm>
              <a:off x="1887198" y="452025"/>
              <a:ext cx="48723" cy="433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005" extrusionOk="0">
                  <a:moveTo>
                    <a:pt x="7873" y="80"/>
                  </a:moveTo>
                  <a:cubicBezTo>
                    <a:pt x="8479" y="-595"/>
                    <a:pt x="19379" y="3230"/>
                    <a:pt x="19379" y="3230"/>
                  </a:cubicBezTo>
                  <a:lnTo>
                    <a:pt x="21600" y="16505"/>
                  </a:lnTo>
                  <a:lnTo>
                    <a:pt x="3432" y="21005"/>
                  </a:lnTo>
                  <a:lnTo>
                    <a:pt x="0" y="7730"/>
                  </a:lnTo>
                  <a:cubicBezTo>
                    <a:pt x="606" y="7055"/>
                    <a:pt x="7873" y="80"/>
                    <a:pt x="7873" y="80"/>
                  </a:cubicBezTo>
                </a:path>
              </a:pathLst>
            </a:custGeom>
            <a:solidFill>
              <a:srgbClr val="FFE98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5" name="Shape 1476"/>
            <p:cNvSpPr/>
            <p:nvPr/>
          </p:nvSpPr>
          <p:spPr>
            <a:xfrm>
              <a:off x="1872855" y="374965"/>
              <a:ext cx="82977" cy="1020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54" h="21178" extrusionOk="0">
                  <a:moveTo>
                    <a:pt x="4126" y="7128"/>
                  </a:moveTo>
                  <a:cubicBezTo>
                    <a:pt x="4490" y="6555"/>
                    <a:pt x="3762" y="6268"/>
                    <a:pt x="2427" y="6555"/>
                  </a:cubicBezTo>
                  <a:cubicBezTo>
                    <a:pt x="1335" y="6268"/>
                    <a:pt x="728" y="5790"/>
                    <a:pt x="0" y="4643"/>
                  </a:cubicBezTo>
                  <a:cubicBezTo>
                    <a:pt x="971" y="3114"/>
                    <a:pt x="2063" y="1967"/>
                    <a:pt x="3034" y="1490"/>
                  </a:cubicBezTo>
                  <a:cubicBezTo>
                    <a:pt x="6189" y="151"/>
                    <a:pt x="9222" y="-422"/>
                    <a:pt x="12620" y="343"/>
                  </a:cubicBezTo>
                  <a:cubicBezTo>
                    <a:pt x="16139" y="916"/>
                    <a:pt x="18445" y="2254"/>
                    <a:pt x="19901" y="4452"/>
                  </a:cubicBezTo>
                  <a:cubicBezTo>
                    <a:pt x="20144" y="4930"/>
                    <a:pt x="20144" y="5504"/>
                    <a:pt x="20508" y="6077"/>
                  </a:cubicBezTo>
                  <a:cubicBezTo>
                    <a:pt x="21600" y="7702"/>
                    <a:pt x="21600" y="9518"/>
                    <a:pt x="21236" y="11429"/>
                  </a:cubicBezTo>
                  <a:cubicBezTo>
                    <a:pt x="20872" y="13819"/>
                    <a:pt x="20265" y="15443"/>
                    <a:pt x="19537" y="16590"/>
                  </a:cubicBezTo>
                  <a:cubicBezTo>
                    <a:pt x="18930" y="17642"/>
                    <a:pt x="18445" y="18215"/>
                    <a:pt x="18081" y="18406"/>
                  </a:cubicBezTo>
                  <a:cubicBezTo>
                    <a:pt x="17474" y="19266"/>
                    <a:pt x="17110" y="19840"/>
                    <a:pt x="16746" y="20031"/>
                  </a:cubicBezTo>
                  <a:cubicBezTo>
                    <a:pt x="16382" y="20031"/>
                    <a:pt x="15411" y="20318"/>
                    <a:pt x="14076" y="20605"/>
                  </a:cubicBezTo>
                  <a:cubicBezTo>
                    <a:pt x="12620" y="20891"/>
                    <a:pt x="11649" y="21178"/>
                    <a:pt x="10921" y="21178"/>
                  </a:cubicBezTo>
                  <a:cubicBezTo>
                    <a:pt x="10921" y="21178"/>
                    <a:pt x="10557" y="20891"/>
                    <a:pt x="9222" y="20891"/>
                  </a:cubicBezTo>
                  <a:cubicBezTo>
                    <a:pt x="7888" y="20891"/>
                    <a:pt x="6796" y="20031"/>
                    <a:pt x="6553" y="18406"/>
                  </a:cubicBezTo>
                  <a:lnTo>
                    <a:pt x="5461" y="16017"/>
                  </a:lnTo>
                  <a:cubicBezTo>
                    <a:pt x="5825" y="15443"/>
                    <a:pt x="6310" y="14583"/>
                    <a:pt x="6553" y="13819"/>
                  </a:cubicBezTo>
                  <a:cubicBezTo>
                    <a:pt x="6917" y="12959"/>
                    <a:pt x="6796" y="12481"/>
                    <a:pt x="6796" y="12003"/>
                  </a:cubicBezTo>
                  <a:cubicBezTo>
                    <a:pt x="6796" y="11429"/>
                    <a:pt x="6553" y="10856"/>
                    <a:pt x="5461" y="10378"/>
                  </a:cubicBezTo>
                  <a:cubicBezTo>
                    <a:pt x="4733" y="9805"/>
                    <a:pt x="4126" y="10091"/>
                    <a:pt x="3398" y="11143"/>
                  </a:cubicBezTo>
                  <a:cubicBezTo>
                    <a:pt x="3398" y="12290"/>
                    <a:pt x="3034" y="13054"/>
                    <a:pt x="3034" y="13628"/>
                  </a:cubicBezTo>
                  <a:lnTo>
                    <a:pt x="1699" y="13628"/>
                  </a:lnTo>
                  <a:cubicBezTo>
                    <a:pt x="1699" y="11716"/>
                    <a:pt x="1335" y="10665"/>
                    <a:pt x="1335" y="10091"/>
                  </a:cubicBezTo>
                  <a:cubicBezTo>
                    <a:pt x="3034" y="8466"/>
                    <a:pt x="3762" y="7702"/>
                    <a:pt x="4126" y="7128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6" name="Shape 1477"/>
            <p:cNvSpPr/>
            <p:nvPr/>
          </p:nvSpPr>
          <p:spPr>
            <a:xfrm>
              <a:off x="1869340" y="397520"/>
              <a:ext cx="29702" cy="855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84" h="21600" extrusionOk="0">
                  <a:moveTo>
                    <a:pt x="3130" y="15580"/>
                  </a:moveTo>
                  <a:cubicBezTo>
                    <a:pt x="229" y="13928"/>
                    <a:pt x="229" y="12275"/>
                    <a:pt x="229" y="9679"/>
                  </a:cubicBezTo>
                  <a:cubicBezTo>
                    <a:pt x="1196" y="7318"/>
                    <a:pt x="1196" y="5902"/>
                    <a:pt x="229" y="5311"/>
                  </a:cubicBezTo>
                  <a:cubicBezTo>
                    <a:pt x="-416" y="4013"/>
                    <a:pt x="229" y="2007"/>
                    <a:pt x="3130" y="0"/>
                  </a:cubicBezTo>
                  <a:cubicBezTo>
                    <a:pt x="4097" y="1298"/>
                    <a:pt x="6677" y="2243"/>
                    <a:pt x="9578" y="2243"/>
                  </a:cubicBezTo>
                  <a:cubicBezTo>
                    <a:pt x="13124" y="2243"/>
                    <a:pt x="14091" y="2597"/>
                    <a:pt x="14091" y="3305"/>
                  </a:cubicBezTo>
                  <a:cubicBezTo>
                    <a:pt x="13124" y="4013"/>
                    <a:pt x="11190" y="5311"/>
                    <a:pt x="6677" y="6964"/>
                  </a:cubicBezTo>
                  <a:cubicBezTo>
                    <a:pt x="6677" y="7672"/>
                    <a:pt x="6677" y="8970"/>
                    <a:pt x="7644" y="11331"/>
                  </a:cubicBezTo>
                  <a:lnTo>
                    <a:pt x="11190" y="11331"/>
                  </a:lnTo>
                  <a:cubicBezTo>
                    <a:pt x="11190" y="10623"/>
                    <a:pt x="12157" y="9679"/>
                    <a:pt x="12157" y="8262"/>
                  </a:cubicBezTo>
                  <a:cubicBezTo>
                    <a:pt x="13124" y="6964"/>
                    <a:pt x="15703" y="6610"/>
                    <a:pt x="17638" y="7318"/>
                  </a:cubicBezTo>
                  <a:cubicBezTo>
                    <a:pt x="19572" y="7908"/>
                    <a:pt x="21184" y="8616"/>
                    <a:pt x="21184" y="9325"/>
                  </a:cubicBezTo>
                  <a:cubicBezTo>
                    <a:pt x="21184" y="9679"/>
                    <a:pt x="21184" y="10623"/>
                    <a:pt x="20539" y="11567"/>
                  </a:cubicBezTo>
                  <a:cubicBezTo>
                    <a:pt x="20539" y="12630"/>
                    <a:pt x="19572" y="13574"/>
                    <a:pt x="17638" y="14282"/>
                  </a:cubicBezTo>
                  <a:lnTo>
                    <a:pt x="20539" y="17233"/>
                  </a:lnTo>
                  <a:cubicBezTo>
                    <a:pt x="19572" y="17587"/>
                    <a:pt x="18605" y="18295"/>
                    <a:pt x="17638" y="19593"/>
                  </a:cubicBezTo>
                  <a:cubicBezTo>
                    <a:pt x="17638" y="19948"/>
                    <a:pt x="16671" y="20302"/>
                    <a:pt x="15703" y="20892"/>
                  </a:cubicBezTo>
                  <a:lnTo>
                    <a:pt x="15059" y="21600"/>
                  </a:lnTo>
                  <a:lnTo>
                    <a:pt x="13124" y="21600"/>
                  </a:lnTo>
                  <a:cubicBezTo>
                    <a:pt x="11190" y="21600"/>
                    <a:pt x="9578" y="21600"/>
                    <a:pt x="7644" y="20892"/>
                  </a:cubicBezTo>
                  <a:cubicBezTo>
                    <a:pt x="5709" y="20302"/>
                    <a:pt x="4097" y="18649"/>
                    <a:pt x="3130" y="1558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7" name="Shape 1478"/>
            <p:cNvSpPr/>
            <p:nvPr/>
          </p:nvSpPr>
          <p:spPr>
            <a:xfrm>
              <a:off x="1934327" y="651605"/>
              <a:ext cx="147069" cy="2495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2919" y="1252"/>
                  </a:lnTo>
                  <a:cubicBezTo>
                    <a:pt x="12919" y="1252"/>
                    <a:pt x="12714" y="9326"/>
                    <a:pt x="12919" y="11830"/>
                  </a:cubicBezTo>
                  <a:lnTo>
                    <a:pt x="21600" y="19460"/>
                  </a:lnTo>
                  <a:cubicBezTo>
                    <a:pt x="21600" y="19460"/>
                    <a:pt x="18114" y="21600"/>
                    <a:pt x="15380" y="21600"/>
                  </a:cubicBezTo>
                  <a:cubicBezTo>
                    <a:pt x="15380" y="21600"/>
                    <a:pt x="7109" y="16351"/>
                    <a:pt x="5947" y="14131"/>
                  </a:cubicBezTo>
                  <a:cubicBezTo>
                    <a:pt x="4580" y="11951"/>
                    <a:pt x="0" y="0"/>
                    <a:pt x="0" y="0"/>
                  </a:cubicBezTo>
                </a:path>
              </a:pathLst>
            </a:custGeom>
            <a:solidFill>
              <a:srgbClr val="52858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8" name="Shape 1479"/>
            <p:cNvSpPr/>
            <p:nvPr/>
          </p:nvSpPr>
          <p:spPr>
            <a:xfrm>
              <a:off x="1788767" y="400912"/>
              <a:ext cx="106166" cy="1334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32" h="21385" extrusionOk="0">
                  <a:moveTo>
                    <a:pt x="18921" y="21385"/>
                  </a:moveTo>
                  <a:cubicBezTo>
                    <a:pt x="18921" y="21385"/>
                    <a:pt x="13410" y="18861"/>
                    <a:pt x="10832" y="17228"/>
                  </a:cubicBezTo>
                  <a:cubicBezTo>
                    <a:pt x="8343" y="15521"/>
                    <a:pt x="3632" y="7133"/>
                    <a:pt x="3632" y="7133"/>
                  </a:cubicBezTo>
                  <a:cubicBezTo>
                    <a:pt x="-1168" y="4387"/>
                    <a:pt x="-812" y="230"/>
                    <a:pt x="2388" y="8"/>
                  </a:cubicBezTo>
                  <a:cubicBezTo>
                    <a:pt x="5676" y="-215"/>
                    <a:pt x="6832" y="4610"/>
                    <a:pt x="6832" y="4610"/>
                  </a:cubicBezTo>
                  <a:cubicBezTo>
                    <a:pt x="9410" y="7133"/>
                    <a:pt x="16432" y="14037"/>
                    <a:pt x="16432" y="14037"/>
                  </a:cubicBezTo>
                  <a:lnTo>
                    <a:pt x="20432" y="14705"/>
                  </a:lnTo>
                  <a:lnTo>
                    <a:pt x="18921" y="21385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9" name="Shape 1480"/>
            <p:cNvSpPr/>
            <p:nvPr/>
          </p:nvSpPr>
          <p:spPr>
            <a:xfrm>
              <a:off x="1872737" y="487679"/>
              <a:ext cx="90592" cy="656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809" h="16554" extrusionOk="0">
                  <a:moveTo>
                    <a:pt x="18643" y="12678"/>
                  </a:moveTo>
                  <a:cubicBezTo>
                    <a:pt x="16415" y="21600"/>
                    <a:pt x="1402" y="12326"/>
                    <a:pt x="1402" y="12326"/>
                  </a:cubicBezTo>
                  <a:cubicBezTo>
                    <a:pt x="1402" y="12326"/>
                    <a:pt x="-826" y="8687"/>
                    <a:pt x="336" y="4696"/>
                  </a:cubicBezTo>
                  <a:cubicBezTo>
                    <a:pt x="1111" y="1057"/>
                    <a:pt x="1692" y="0"/>
                    <a:pt x="1692" y="0"/>
                  </a:cubicBezTo>
                  <a:cubicBezTo>
                    <a:pt x="1692" y="0"/>
                    <a:pt x="20774" y="3639"/>
                    <a:pt x="18643" y="12678"/>
                  </a:cubicBezTo>
                </a:path>
              </a:pathLst>
            </a:custGeom>
            <a:solidFill>
              <a:srgbClr val="47686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0" name="Shape 1481"/>
            <p:cNvSpPr/>
            <p:nvPr/>
          </p:nvSpPr>
          <p:spPr>
            <a:xfrm>
              <a:off x="1874904" y="482162"/>
              <a:ext cx="151166" cy="1932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7909" extrusionOk="0">
                  <a:moveTo>
                    <a:pt x="15600" y="2804"/>
                  </a:moveTo>
                  <a:cubicBezTo>
                    <a:pt x="18800" y="5741"/>
                    <a:pt x="21600" y="17189"/>
                    <a:pt x="21600" y="17189"/>
                  </a:cubicBezTo>
                  <a:cubicBezTo>
                    <a:pt x="14467" y="19263"/>
                    <a:pt x="3933" y="16196"/>
                    <a:pt x="3933" y="16196"/>
                  </a:cubicBezTo>
                  <a:lnTo>
                    <a:pt x="0" y="3279"/>
                  </a:lnTo>
                  <a:cubicBezTo>
                    <a:pt x="3733" y="-2337"/>
                    <a:pt x="13133" y="471"/>
                    <a:pt x="15600" y="2804"/>
                  </a:cubicBezTo>
                </a:path>
              </a:pathLst>
            </a:custGeom>
            <a:solidFill>
              <a:srgbClr val="477A7D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1" name="Shape 1482"/>
            <p:cNvSpPr/>
            <p:nvPr/>
          </p:nvSpPr>
          <p:spPr>
            <a:xfrm>
              <a:off x="1711533" y="468366"/>
              <a:ext cx="154713" cy="926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44" h="20017" extrusionOk="0">
                  <a:moveTo>
                    <a:pt x="20444" y="20017"/>
                  </a:moveTo>
                  <a:cubicBezTo>
                    <a:pt x="20444" y="20017"/>
                    <a:pt x="15794" y="19815"/>
                    <a:pt x="13346" y="18907"/>
                  </a:cubicBezTo>
                  <a:cubicBezTo>
                    <a:pt x="11082" y="17796"/>
                    <a:pt x="4535" y="9217"/>
                    <a:pt x="4535" y="9217"/>
                  </a:cubicBezTo>
                  <a:cubicBezTo>
                    <a:pt x="374" y="8107"/>
                    <a:pt x="-1156" y="2353"/>
                    <a:pt x="924" y="436"/>
                  </a:cubicBezTo>
                  <a:cubicBezTo>
                    <a:pt x="3005" y="-1583"/>
                    <a:pt x="5758" y="4069"/>
                    <a:pt x="5758" y="4069"/>
                  </a:cubicBezTo>
                  <a:cubicBezTo>
                    <a:pt x="8328" y="6088"/>
                    <a:pt x="15794" y="11841"/>
                    <a:pt x="15794" y="11841"/>
                  </a:cubicBezTo>
                  <a:lnTo>
                    <a:pt x="18731" y="10327"/>
                  </a:lnTo>
                  <a:lnTo>
                    <a:pt x="20444" y="20017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2" name="Shape 1483"/>
            <p:cNvSpPr/>
            <p:nvPr/>
          </p:nvSpPr>
          <p:spPr>
            <a:xfrm>
              <a:off x="1847496" y="505717"/>
              <a:ext cx="92559" cy="600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004" h="16752" extrusionOk="0">
                  <a:moveTo>
                    <a:pt x="19930" y="6532"/>
                  </a:moveTo>
                  <a:cubicBezTo>
                    <a:pt x="21324" y="17138"/>
                    <a:pt x="2511" y="16750"/>
                    <a:pt x="2511" y="16750"/>
                  </a:cubicBezTo>
                  <a:cubicBezTo>
                    <a:pt x="2511" y="16750"/>
                    <a:pt x="819" y="12999"/>
                    <a:pt x="222" y="8343"/>
                  </a:cubicBezTo>
                  <a:cubicBezTo>
                    <a:pt x="-276" y="3945"/>
                    <a:pt x="222" y="1746"/>
                    <a:pt x="222" y="1746"/>
                  </a:cubicBezTo>
                  <a:cubicBezTo>
                    <a:pt x="222" y="1746"/>
                    <a:pt x="18537" y="-4462"/>
                    <a:pt x="19930" y="6532"/>
                  </a:cubicBezTo>
                </a:path>
              </a:pathLst>
            </a:custGeom>
            <a:solidFill>
              <a:srgbClr val="475F5A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sp>
        <p:nvSpPr>
          <p:cNvPr id="393" name="Shape 1488"/>
          <p:cNvSpPr/>
          <p:nvPr/>
        </p:nvSpPr>
        <p:spPr>
          <a:xfrm>
            <a:off x="5440796" y="2297783"/>
            <a:ext cx="2494766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400">
                <a:solidFill>
                  <a:srgbClr val="726658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1. Executive </a:t>
            </a:r>
            <a:r>
              <a:rPr lang="en-US" altLang="de-DE" dirty="0"/>
              <a:t>Summary</a:t>
            </a:r>
          </a:p>
        </p:txBody>
      </p:sp>
      <p:sp>
        <p:nvSpPr>
          <p:cNvPr id="394" name="Shape 1489"/>
          <p:cNvSpPr/>
          <p:nvPr/>
        </p:nvSpPr>
        <p:spPr>
          <a:xfrm>
            <a:off x="1351884" y="4779082"/>
            <a:ext cx="2043460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400">
                <a:solidFill>
                  <a:srgbClr val="726658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5. Marketing </a:t>
            </a:r>
            <a:r>
              <a:rPr lang="en-US" altLang="de-DE" dirty="0"/>
              <a:t>Plan</a:t>
            </a:r>
          </a:p>
        </p:txBody>
      </p:sp>
      <p:sp>
        <p:nvSpPr>
          <p:cNvPr id="395" name="Shape 1392"/>
          <p:cNvSpPr/>
          <p:nvPr/>
        </p:nvSpPr>
        <p:spPr>
          <a:xfrm>
            <a:off x="5877113" y="1779946"/>
            <a:ext cx="348337" cy="3497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19101"/>
                </a:lnTo>
                <a:cubicBezTo>
                  <a:pt x="21600" y="20532"/>
                  <a:pt x="20507" y="21600"/>
                  <a:pt x="19090" y="21600"/>
                </a:cubicBezTo>
                <a:lnTo>
                  <a:pt x="2510" y="21600"/>
                </a:lnTo>
                <a:cubicBezTo>
                  <a:pt x="1093" y="21600"/>
                  <a:pt x="0" y="20472"/>
                  <a:pt x="0" y="19101"/>
                </a:cubicBezTo>
                <a:lnTo>
                  <a:pt x="0" y="6146"/>
                </a:lnTo>
                <a:lnTo>
                  <a:pt x="3320" y="6146"/>
                </a:lnTo>
                <a:lnTo>
                  <a:pt x="3320" y="0"/>
                </a:lnTo>
                <a:lnTo>
                  <a:pt x="21600" y="0"/>
                </a:lnTo>
                <a:close/>
                <a:moveTo>
                  <a:pt x="4919" y="1592"/>
                </a:moveTo>
                <a:lnTo>
                  <a:pt x="4919" y="17691"/>
                </a:lnTo>
                <a:cubicBezTo>
                  <a:pt x="4919" y="18134"/>
                  <a:pt x="4555" y="18477"/>
                  <a:pt x="4109" y="18477"/>
                </a:cubicBezTo>
                <a:cubicBezTo>
                  <a:pt x="3644" y="18477"/>
                  <a:pt x="3320" y="18134"/>
                  <a:pt x="3320" y="17691"/>
                </a:cubicBezTo>
                <a:lnTo>
                  <a:pt x="3320" y="7737"/>
                </a:lnTo>
                <a:lnTo>
                  <a:pt x="1539" y="7737"/>
                </a:lnTo>
                <a:lnTo>
                  <a:pt x="1539" y="19101"/>
                </a:lnTo>
                <a:cubicBezTo>
                  <a:pt x="1539" y="19625"/>
                  <a:pt x="2004" y="20008"/>
                  <a:pt x="2510" y="20008"/>
                </a:cubicBezTo>
                <a:lnTo>
                  <a:pt x="19151" y="20008"/>
                </a:lnTo>
                <a:cubicBezTo>
                  <a:pt x="19657" y="20008"/>
                  <a:pt x="20061" y="19625"/>
                  <a:pt x="20061" y="19101"/>
                </a:cubicBezTo>
                <a:lnTo>
                  <a:pt x="20061" y="1592"/>
                </a:lnTo>
                <a:lnTo>
                  <a:pt x="4919" y="1592"/>
                </a:lnTo>
                <a:close/>
                <a:moveTo>
                  <a:pt x="18462" y="3123"/>
                </a:moveTo>
                <a:lnTo>
                  <a:pt x="6518" y="3123"/>
                </a:lnTo>
                <a:lnTo>
                  <a:pt x="6518" y="9269"/>
                </a:lnTo>
                <a:lnTo>
                  <a:pt x="18462" y="9269"/>
                </a:lnTo>
                <a:lnTo>
                  <a:pt x="18462" y="3123"/>
                </a:lnTo>
                <a:close/>
                <a:moveTo>
                  <a:pt x="11539" y="10981"/>
                </a:moveTo>
                <a:lnTo>
                  <a:pt x="6518" y="10981"/>
                </a:lnTo>
                <a:lnTo>
                  <a:pt x="6518" y="12513"/>
                </a:lnTo>
                <a:lnTo>
                  <a:pt x="11539" y="12513"/>
                </a:lnTo>
                <a:lnTo>
                  <a:pt x="11539" y="10981"/>
                </a:lnTo>
                <a:close/>
                <a:moveTo>
                  <a:pt x="13482" y="12513"/>
                </a:moveTo>
                <a:lnTo>
                  <a:pt x="18462" y="12513"/>
                </a:lnTo>
                <a:lnTo>
                  <a:pt x="18462" y="10981"/>
                </a:lnTo>
                <a:lnTo>
                  <a:pt x="13482" y="10981"/>
                </a:lnTo>
                <a:lnTo>
                  <a:pt x="13482" y="12513"/>
                </a:lnTo>
                <a:close/>
                <a:moveTo>
                  <a:pt x="11539" y="13923"/>
                </a:moveTo>
                <a:lnTo>
                  <a:pt x="6518" y="13923"/>
                </a:lnTo>
                <a:lnTo>
                  <a:pt x="6518" y="15475"/>
                </a:lnTo>
                <a:lnTo>
                  <a:pt x="11539" y="15475"/>
                </a:lnTo>
                <a:lnTo>
                  <a:pt x="11539" y="13923"/>
                </a:lnTo>
                <a:close/>
                <a:moveTo>
                  <a:pt x="13482" y="15475"/>
                </a:moveTo>
                <a:lnTo>
                  <a:pt x="18462" y="15475"/>
                </a:lnTo>
                <a:lnTo>
                  <a:pt x="18462" y="13923"/>
                </a:lnTo>
                <a:lnTo>
                  <a:pt x="13482" y="13923"/>
                </a:lnTo>
                <a:lnTo>
                  <a:pt x="13482" y="15475"/>
                </a:lnTo>
                <a:close/>
                <a:moveTo>
                  <a:pt x="13482" y="18537"/>
                </a:moveTo>
                <a:lnTo>
                  <a:pt x="18462" y="18537"/>
                </a:lnTo>
                <a:lnTo>
                  <a:pt x="18462" y="17006"/>
                </a:lnTo>
                <a:lnTo>
                  <a:pt x="13482" y="17006"/>
                </a:lnTo>
                <a:lnTo>
                  <a:pt x="13482" y="18537"/>
                </a:lnTo>
                <a:close/>
                <a:moveTo>
                  <a:pt x="11539" y="17006"/>
                </a:moveTo>
                <a:lnTo>
                  <a:pt x="6518" y="17006"/>
                </a:lnTo>
                <a:lnTo>
                  <a:pt x="6518" y="18537"/>
                </a:lnTo>
                <a:lnTo>
                  <a:pt x="11539" y="18537"/>
                </a:lnTo>
                <a:lnTo>
                  <a:pt x="11539" y="17006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96" name="Shape 2963"/>
          <p:cNvSpPr/>
          <p:nvPr/>
        </p:nvSpPr>
        <p:spPr>
          <a:xfrm>
            <a:off x="6298067" y="3151061"/>
            <a:ext cx="326048" cy="4102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881" y="14735"/>
                </a:moveTo>
                <a:cubicBezTo>
                  <a:pt x="13821" y="14394"/>
                  <a:pt x="13370" y="14214"/>
                  <a:pt x="13370" y="13819"/>
                </a:cubicBezTo>
                <a:cubicBezTo>
                  <a:pt x="13370" y="13478"/>
                  <a:pt x="13709" y="13190"/>
                  <a:pt x="14543" y="13190"/>
                </a:cubicBezTo>
                <a:cubicBezTo>
                  <a:pt x="15309" y="13190"/>
                  <a:pt x="15918" y="13370"/>
                  <a:pt x="16211" y="13478"/>
                </a:cubicBezTo>
                <a:lnTo>
                  <a:pt x="16617" y="12309"/>
                </a:lnTo>
                <a:cubicBezTo>
                  <a:pt x="16234" y="12184"/>
                  <a:pt x="15783" y="12076"/>
                  <a:pt x="15152" y="12040"/>
                </a:cubicBezTo>
                <a:lnTo>
                  <a:pt x="15152" y="11088"/>
                </a:lnTo>
                <a:lnTo>
                  <a:pt x="13077" y="11088"/>
                </a:lnTo>
                <a:lnTo>
                  <a:pt x="13077" y="12184"/>
                </a:lnTo>
                <a:cubicBezTo>
                  <a:pt x="12018" y="12471"/>
                  <a:pt x="11409" y="13136"/>
                  <a:pt x="11409" y="13963"/>
                </a:cubicBezTo>
                <a:cubicBezTo>
                  <a:pt x="11409" y="14879"/>
                  <a:pt x="12288" y="15490"/>
                  <a:pt x="13663" y="15886"/>
                </a:cubicBezTo>
                <a:cubicBezTo>
                  <a:pt x="14633" y="16155"/>
                  <a:pt x="15016" y="16389"/>
                  <a:pt x="15016" y="16784"/>
                </a:cubicBezTo>
                <a:cubicBezTo>
                  <a:pt x="15016" y="17215"/>
                  <a:pt x="14565" y="17485"/>
                  <a:pt x="13754" y="17485"/>
                </a:cubicBezTo>
                <a:cubicBezTo>
                  <a:pt x="12965" y="17485"/>
                  <a:pt x="12198" y="17269"/>
                  <a:pt x="11702" y="17090"/>
                </a:cubicBezTo>
                <a:lnTo>
                  <a:pt x="11364" y="18294"/>
                </a:lnTo>
                <a:cubicBezTo>
                  <a:pt x="11702" y="18473"/>
                  <a:pt x="12401" y="18599"/>
                  <a:pt x="13100" y="18671"/>
                </a:cubicBezTo>
                <a:lnTo>
                  <a:pt x="13100" y="19587"/>
                </a:lnTo>
                <a:lnTo>
                  <a:pt x="15174" y="19587"/>
                </a:lnTo>
                <a:lnTo>
                  <a:pt x="15174" y="18509"/>
                </a:lnTo>
                <a:cubicBezTo>
                  <a:pt x="16347" y="18168"/>
                  <a:pt x="16910" y="17503"/>
                  <a:pt x="16910" y="16676"/>
                </a:cubicBezTo>
                <a:cubicBezTo>
                  <a:pt x="16978" y="15706"/>
                  <a:pt x="16301" y="15149"/>
                  <a:pt x="14881" y="14735"/>
                </a:cubicBezTo>
                <a:close/>
                <a:moveTo>
                  <a:pt x="18646" y="5984"/>
                </a:moveTo>
                <a:lnTo>
                  <a:pt x="18646" y="7188"/>
                </a:lnTo>
                <a:lnTo>
                  <a:pt x="9605" y="7188"/>
                </a:lnTo>
                <a:lnTo>
                  <a:pt x="9605" y="5984"/>
                </a:lnTo>
                <a:lnTo>
                  <a:pt x="18646" y="5984"/>
                </a:lnTo>
                <a:close/>
                <a:moveTo>
                  <a:pt x="18646" y="3576"/>
                </a:moveTo>
                <a:lnTo>
                  <a:pt x="18646" y="4798"/>
                </a:lnTo>
                <a:lnTo>
                  <a:pt x="9605" y="4798"/>
                </a:lnTo>
                <a:lnTo>
                  <a:pt x="9605" y="3576"/>
                </a:lnTo>
                <a:lnTo>
                  <a:pt x="18646" y="3576"/>
                </a:lnTo>
                <a:close/>
                <a:moveTo>
                  <a:pt x="21600" y="3235"/>
                </a:moveTo>
                <a:cubicBezTo>
                  <a:pt x="21555" y="1509"/>
                  <a:pt x="19841" y="144"/>
                  <a:pt x="17767" y="36"/>
                </a:cubicBezTo>
                <a:cubicBezTo>
                  <a:pt x="17699" y="36"/>
                  <a:pt x="17587" y="18"/>
                  <a:pt x="17519" y="18"/>
                </a:cubicBezTo>
                <a:cubicBezTo>
                  <a:pt x="17519" y="18"/>
                  <a:pt x="4149" y="0"/>
                  <a:pt x="4104" y="0"/>
                </a:cubicBezTo>
                <a:cubicBezTo>
                  <a:pt x="3224" y="0"/>
                  <a:pt x="2435" y="180"/>
                  <a:pt x="1781" y="557"/>
                </a:cubicBezTo>
                <a:cubicBezTo>
                  <a:pt x="1240" y="863"/>
                  <a:pt x="767" y="1276"/>
                  <a:pt x="451" y="1761"/>
                </a:cubicBezTo>
                <a:cubicBezTo>
                  <a:pt x="158" y="2192"/>
                  <a:pt x="0" y="2713"/>
                  <a:pt x="0" y="3253"/>
                </a:cubicBezTo>
                <a:lnTo>
                  <a:pt x="0" y="3342"/>
                </a:lnTo>
                <a:cubicBezTo>
                  <a:pt x="0" y="5139"/>
                  <a:pt x="1804" y="6613"/>
                  <a:pt x="4104" y="6613"/>
                </a:cubicBezTo>
                <a:cubicBezTo>
                  <a:pt x="5073" y="6613"/>
                  <a:pt x="5975" y="6325"/>
                  <a:pt x="6674" y="5858"/>
                </a:cubicBezTo>
                <a:lnTo>
                  <a:pt x="6674" y="21600"/>
                </a:lnTo>
                <a:lnTo>
                  <a:pt x="21600" y="21600"/>
                </a:lnTo>
                <a:lnTo>
                  <a:pt x="21600" y="3235"/>
                </a:lnTo>
                <a:close/>
                <a:moveTo>
                  <a:pt x="20112" y="3576"/>
                </a:moveTo>
                <a:lnTo>
                  <a:pt x="20112" y="20378"/>
                </a:lnTo>
                <a:lnTo>
                  <a:pt x="8162" y="20378"/>
                </a:lnTo>
                <a:cubicBezTo>
                  <a:pt x="8162" y="20378"/>
                  <a:pt x="8185" y="3342"/>
                  <a:pt x="8185" y="3253"/>
                </a:cubicBezTo>
                <a:cubicBezTo>
                  <a:pt x="8185" y="2498"/>
                  <a:pt x="7824" y="1761"/>
                  <a:pt x="7238" y="1204"/>
                </a:cubicBezTo>
                <a:lnTo>
                  <a:pt x="17564" y="1204"/>
                </a:lnTo>
                <a:cubicBezTo>
                  <a:pt x="19007" y="1420"/>
                  <a:pt x="20089" y="2408"/>
                  <a:pt x="20112" y="3576"/>
                </a:cubicBezTo>
                <a:close/>
                <a:moveTo>
                  <a:pt x="18646" y="8374"/>
                </a:moveTo>
                <a:lnTo>
                  <a:pt x="18646" y="9596"/>
                </a:lnTo>
                <a:lnTo>
                  <a:pt x="9605" y="9596"/>
                </a:lnTo>
                <a:lnTo>
                  <a:pt x="9605" y="8374"/>
                </a:lnTo>
                <a:lnTo>
                  <a:pt x="18646" y="8374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pSp>
        <p:nvGrpSpPr>
          <p:cNvPr id="397" name="bcgIcons_BarChartAnalysis">
            <a:extLst>
              <a:ext uri="{FF2B5EF4-FFF2-40B4-BE49-F238E27FC236}">
                <a16:creationId xmlns:a16="http://schemas.microsoft.com/office/drawing/2014/main" id="{32B50B14-3FFD-46C4-A9BB-B1DAD5BF33D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99180" y="4252467"/>
            <a:ext cx="453154" cy="491372"/>
            <a:chOff x="1682" y="0"/>
            <a:chExt cx="4316" cy="4320"/>
          </a:xfrm>
        </p:grpSpPr>
        <p:sp>
          <p:nvSpPr>
            <p:cNvPr id="398" name="AutoShape 13">
              <a:extLst>
                <a:ext uri="{FF2B5EF4-FFF2-40B4-BE49-F238E27FC236}">
                  <a16:creationId xmlns:a16="http://schemas.microsoft.com/office/drawing/2014/main" id="{2EA7B8A2-9428-4CA9-8BF1-97C056515EC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9" name="Freeform 28">
              <a:extLst>
                <a:ext uri="{FF2B5EF4-FFF2-40B4-BE49-F238E27FC236}">
                  <a16:creationId xmlns:a16="http://schemas.microsoft.com/office/drawing/2014/main" id="{E4E9C908-2225-4935-BE9B-CED0E639FE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1" y="855"/>
              <a:ext cx="2739" cy="2209"/>
            </a:xfrm>
            <a:custGeom>
              <a:avLst/>
              <a:gdLst>
                <a:gd name="T0" fmla="*/ 312 w 1462"/>
                <a:gd name="T1" fmla="*/ 609 h 1178"/>
                <a:gd name="T2" fmla="*/ 312 w 1462"/>
                <a:gd name="T3" fmla="*/ 1020 h 1178"/>
                <a:gd name="T4" fmla="*/ 303 w 1462"/>
                <a:gd name="T5" fmla="*/ 1030 h 1178"/>
                <a:gd name="T6" fmla="*/ 9 w 1462"/>
                <a:gd name="T7" fmla="*/ 1030 h 1178"/>
                <a:gd name="T8" fmla="*/ 0 w 1462"/>
                <a:gd name="T9" fmla="*/ 1020 h 1178"/>
                <a:gd name="T10" fmla="*/ 0 w 1462"/>
                <a:gd name="T11" fmla="*/ 609 h 1178"/>
                <a:gd name="T12" fmla="*/ 9 w 1462"/>
                <a:gd name="T13" fmla="*/ 600 h 1178"/>
                <a:gd name="T14" fmla="*/ 303 w 1462"/>
                <a:gd name="T15" fmla="*/ 600 h 1178"/>
                <a:gd name="T16" fmla="*/ 312 w 1462"/>
                <a:gd name="T17" fmla="*/ 609 h 1178"/>
                <a:gd name="T18" fmla="*/ 1453 w 1462"/>
                <a:gd name="T19" fmla="*/ 0 h 1178"/>
                <a:gd name="T20" fmla="*/ 1160 w 1462"/>
                <a:gd name="T21" fmla="*/ 0 h 1178"/>
                <a:gd name="T22" fmla="*/ 1150 w 1462"/>
                <a:gd name="T23" fmla="*/ 10 h 1178"/>
                <a:gd name="T24" fmla="*/ 1150 w 1462"/>
                <a:gd name="T25" fmla="*/ 420 h 1178"/>
                <a:gd name="T26" fmla="*/ 1286 w 1462"/>
                <a:gd name="T27" fmla="*/ 519 h 1178"/>
                <a:gd name="T28" fmla="*/ 1382 w 1462"/>
                <a:gd name="T29" fmla="*/ 1030 h 1178"/>
                <a:gd name="T30" fmla="*/ 1453 w 1462"/>
                <a:gd name="T31" fmla="*/ 1030 h 1178"/>
                <a:gd name="T32" fmla="*/ 1462 w 1462"/>
                <a:gd name="T33" fmla="*/ 1020 h 1178"/>
                <a:gd name="T34" fmla="*/ 1462 w 1462"/>
                <a:gd name="T35" fmla="*/ 10 h 1178"/>
                <a:gd name="T36" fmla="*/ 1453 w 1462"/>
                <a:gd name="T37" fmla="*/ 0 h 1178"/>
                <a:gd name="T38" fmla="*/ 735 w 1462"/>
                <a:gd name="T39" fmla="*/ 593 h 1178"/>
                <a:gd name="T40" fmla="*/ 715 w 1462"/>
                <a:gd name="T41" fmla="*/ 611 h 1178"/>
                <a:gd name="T42" fmla="*/ 706 w 1462"/>
                <a:gd name="T43" fmla="*/ 1077 h 1178"/>
                <a:gd name="T44" fmla="*/ 735 w 1462"/>
                <a:gd name="T45" fmla="*/ 1104 h 1178"/>
                <a:gd name="T46" fmla="*/ 735 w 1462"/>
                <a:gd name="T47" fmla="*/ 593 h 1178"/>
                <a:gd name="T48" fmla="*/ 944 w 1462"/>
                <a:gd name="T49" fmla="*/ 519 h 1178"/>
                <a:gd name="T50" fmla="*/ 838 w 1462"/>
                <a:gd name="T51" fmla="*/ 536 h 1178"/>
                <a:gd name="T52" fmla="*/ 838 w 1462"/>
                <a:gd name="T53" fmla="*/ 1161 h 1178"/>
                <a:gd name="T54" fmla="*/ 944 w 1462"/>
                <a:gd name="T55" fmla="*/ 1178 h 1178"/>
                <a:gd name="T56" fmla="*/ 1144 w 1462"/>
                <a:gd name="T57" fmla="*/ 1110 h 1178"/>
                <a:gd name="T58" fmla="*/ 1146 w 1462"/>
                <a:gd name="T59" fmla="*/ 1109 h 1178"/>
                <a:gd name="T60" fmla="*/ 1172 w 1462"/>
                <a:gd name="T61" fmla="*/ 1086 h 1178"/>
                <a:gd name="T62" fmla="*/ 1200 w 1462"/>
                <a:gd name="T63" fmla="*/ 1056 h 1178"/>
                <a:gd name="T64" fmla="*/ 1181 w 1462"/>
                <a:gd name="T65" fmla="*/ 620 h 1178"/>
                <a:gd name="T66" fmla="*/ 944 w 1462"/>
                <a:gd name="T67" fmla="*/ 519 h 1178"/>
                <a:gd name="T68" fmla="*/ 944 w 1462"/>
                <a:gd name="T69" fmla="*/ 374 h 1178"/>
                <a:gd name="T70" fmla="*/ 1079 w 1462"/>
                <a:gd name="T71" fmla="*/ 393 h 1178"/>
                <a:gd name="T72" fmla="*/ 1079 w 1462"/>
                <a:gd name="T73" fmla="*/ 253 h 1178"/>
                <a:gd name="T74" fmla="*/ 1069 w 1462"/>
                <a:gd name="T75" fmla="*/ 243 h 1178"/>
                <a:gd name="T76" fmla="*/ 776 w 1462"/>
                <a:gd name="T77" fmla="*/ 243 h 1178"/>
                <a:gd name="T78" fmla="*/ 766 w 1462"/>
                <a:gd name="T79" fmla="*/ 253 h 1178"/>
                <a:gd name="T80" fmla="*/ 766 w 1462"/>
                <a:gd name="T81" fmla="*/ 408 h 1178"/>
                <a:gd name="T82" fmla="*/ 944 w 1462"/>
                <a:gd name="T83" fmla="*/ 374 h 1178"/>
                <a:gd name="T84" fmla="*/ 614 w 1462"/>
                <a:gd name="T85" fmla="*/ 506 h 1178"/>
                <a:gd name="T86" fmla="*/ 696 w 1462"/>
                <a:gd name="T87" fmla="*/ 443 h 1178"/>
                <a:gd name="T88" fmla="*/ 696 w 1462"/>
                <a:gd name="T89" fmla="*/ 89 h 1178"/>
                <a:gd name="T90" fmla="*/ 686 w 1462"/>
                <a:gd name="T91" fmla="*/ 73 h 1178"/>
                <a:gd name="T92" fmla="*/ 393 w 1462"/>
                <a:gd name="T93" fmla="*/ 73 h 1178"/>
                <a:gd name="T94" fmla="*/ 383 w 1462"/>
                <a:gd name="T95" fmla="*/ 89 h 1178"/>
                <a:gd name="T96" fmla="*/ 383 w 1462"/>
                <a:gd name="T97" fmla="*/ 1015 h 1178"/>
                <a:gd name="T98" fmla="*/ 393 w 1462"/>
                <a:gd name="T99" fmla="*/ 1030 h 1178"/>
                <a:gd name="T100" fmla="*/ 505 w 1462"/>
                <a:gd name="T101" fmla="*/ 1030 h 1178"/>
                <a:gd name="T102" fmla="*/ 614 w 1462"/>
                <a:gd name="T103" fmla="*/ 506 h 1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62" h="1178">
                  <a:moveTo>
                    <a:pt x="312" y="609"/>
                  </a:moveTo>
                  <a:cubicBezTo>
                    <a:pt x="312" y="1020"/>
                    <a:pt x="312" y="1020"/>
                    <a:pt x="312" y="1020"/>
                  </a:cubicBezTo>
                  <a:cubicBezTo>
                    <a:pt x="312" y="1026"/>
                    <a:pt x="308" y="1030"/>
                    <a:pt x="303" y="1030"/>
                  </a:cubicBezTo>
                  <a:cubicBezTo>
                    <a:pt x="9" y="1030"/>
                    <a:pt x="9" y="1030"/>
                    <a:pt x="9" y="1030"/>
                  </a:cubicBezTo>
                  <a:cubicBezTo>
                    <a:pt x="4" y="1030"/>
                    <a:pt x="0" y="1026"/>
                    <a:pt x="0" y="1020"/>
                  </a:cubicBezTo>
                  <a:cubicBezTo>
                    <a:pt x="0" y="609"/>
                    <a:pt x="0" y="609"/>
                    <a:pt x="0" y="609"/>
                  </a:cubicBezTo>
                  <a:cubicBezTo>
                    <a:pt x="0" y="604"/>
                    <a:pt x="4" y="600"/>
                    <a:pt x="9" y="600"/>
                  </a:cubicBezTo>
                  <a:cubicBezTo>
                    <a:pt x="303" y="600"/>
                    <a:pt x="303" y="600"/>
                    <a:pt x="303" y="600"/>
                  </a:cubicBezTo>
                  <a:cubicBezTo>
                    <a:pt x="308" y="600"/>
                    <a:pt x="312" y="604"/>
                    <a:pt x="312" y="609"/>
                  </a:cubicBezTo>
                  <a:close/>
                  <a:moveTo>
                    <a:pt x="1453" y="0"/>
                  </a:moveTo>
                  <a:cubicBezTo>
                    <a:pt x="1160" y="0"/>
                    <a:pt x="1160" y="0"/>
                    <a:pt x="1160" y="0"/>
                  </a:cubicBezTo>
                  <a:cubicBezTo>
                    <a:pt x="1154" y="0"/>
                    <a:pt x="1150" y="4"/>
                    <a:pt x="1150" y="10"/>
                  </a:cubicBezTo>
                  <a:cubicBezTo>
                    <a:pt x="1150" y="420"/>
                    <a:pt x="1150" y="420"/>
                    <a:pt x="1150" y="420"/>
                  </a:cubicBezTo>
                  <a:cubicBezTo>
                    <a:pt x="1200" y="444"/>
                    <a:pt x="1246" y="478"/>
                    <a:pt x="1286" y="519"/>
                  </a:cubicBezTo>
                  <a:cubicBezTo>
                    <a:pt x="1419" y="658"/>
                    <a:pt x="1453" y="859"/>
                    <a:pt x="1382" y="1030"/>
                  </a:cubicBezTo>
                  <a:cubicBezTo>
                    <a:pt x="1453" y="1030"/>
                    <a:pt x="1453" y="1030"/>
                    <a:pt x="1453" y="1030"/>
                  </a:cubicBezTo>
                  <a:cubicBezTo>
                    <a:pt x="1458" y="1030"/>
                    <a:pt x="1462" y="1026"/>
                    <a:pt x="1462" y="1020"/>
                  </a:cubicBezTo>
                  <a:cubicBezTo>
                    <a:pt x="1462" y="10"/>
                    <a:pt x="1462" y="10"/>
                    <a:pt x="1462" y="10"/>
                  </a:cubicBezTo>
                  <a:cubicBezTo>
                    <a:pt x="1462" y="4"/>
                    <a:pt x="1458" y="0"/>
                    <a:pt x="1453" y="0"/>
                  </a:cubicBezTo>
                  <a:close/>
                  <a:moveTo>
                    <a:pt x="735" y="593"/>
                  </a:moveTo>
                  <a:cubicBezTo>
                    <a:pt x="728" y="599"/>
                    <a:pt x="721" y="605"/>
                    <a:pt x="715" y="611"/>
                  </a:cubicBezTo>
                  <a:cubicBezTo>
                    <a:pt x="584" y="737"/>
                    <a:pt x="580" y="946"/>
                    <a:pt x="706" y="1077"/>
                  </a:cubicBezTo>
                  <a:cubicBezTo>
                    <a:pt x="715" y="1087"/>
                    <a:pt x="725" y="1095"/>
                    <a:pt x="735" y="1104"/>
                  </a:cubicBezTo>
                  <a:lnTo>
                    <a:pt x="735" y="593"/>
                  </a:lnTo>
                  <a:close/>
                  <a:moveTo>
                    <a:pt x="944" y="519"/>
                  </a:moveTo>
                  <a:cubicBezTo>
                    <a:pt x="907" y="519"/>
                    <a:pt x="872" y="525"/>
                    <a:pt x="838" y="536"/>
                  </a:cubicBezTo>
                  <a:cubicBezTo>
                    <a:pt x="838" y="1161"/>
                    <a:pt x="838" y="1161"/>
                    <a:pt x="838" y="1161"/>
                  </a:cubicBezTo>
                  <a:cubicBezTo>
                    <a:pt x="872" y="1172"/>
                    <a:pt x="907" y="1178"/>
                    <a:pt x="944" y="1178"/>
                  </a:cubicBezTo>
                  <a:cubicBezTo>
                    <a:pt x="1016" y="1178"/>
                    <a:pt x="1087" y="1154"/>
                    <a:pt x="1144" y="1110"/>
                  </a:cubicBezTo>
                  <a:cubicBezTo>
                    <a:pt x="1146" y="1109"/>
                    <a:pt x="1146" y="1109"/>
                    <a:pt x="1146" y="1109"/>
                  </a:cubicBezTo>
                  <a:cubicBezTo>
                    <a:pt x="1153" y="1103"/>
                    <a:pt x="1162" y="1096"/>
                    <a:pt x="1172" y="1086"/>
                  </a:cubicBezTo>
                  <a:cubicBezTo>
                    <a:pt x="1182" y="1077"/>
                    <a:pt x="1191" y="1067"/>
                    <a:pt x="1200" y="1056"/>
                  </a:cubicBezTo>
                  <a:cubicBezTo>
                    <a:pt x="1304" y="927"/>
                    <a:pt x="1296" y="740"/>
                    <a:pt x="1181" y="620"/>
                  </a:cubicBezTo>
                  <a:cubicBezTo>
                    <a:pt x="1119" y="555"/>
                    <a:pt x="1034" y="519"/>
                    <a:pt x="944" y="519"/>
                  </a:cubicBezTo>
                  <a:close/>
                  <a:moveTo>
                    <a:pt x="944" y="374"/>
                  </a:moveTo>
                  <a:cubicBezTo>
                    <a:pt x="990" y="374"/>
                    <a:pt x="1036" y="380"/>
                    <a:pt x="1079" y="393"/>
                  </a:cubicBezTo>
                  <a:cubicBezTo>
                    <a:pt x="1079" y="253"/>
                    <a:pt x="1079" y="253"/>
                    <a:pt x="1079" y="253"/>
                  </a:cubicBezTo>
                  <a:cubicBezTo>
                    <a:pt x="1079" y="247"/>
                    <a:pt x="1075" y="243"/>
                    <a:pt x="1069" y="243"/>
                  </a:cubicBezTo>
                  <a:cubicBezTo>
                    <a:pt x="776" y="243"/>
                    <a:pt x="776" y="243"/>
                    <a:pt x="776" y="243"/>
                  </a:cubicBezTo>
                  <a:cubicBezTo>
                    <a:pt x="771" y="243"/>
                    <a:pt x="766" y="247"/>
                    <a:pt x="766" y="253"/>
                  </a:cubicBezTo>
                  <a:cubicBezTo>
                    <a:pt x="766" y="408"/>
                    <a:pt x="766" y="408"/>
                    <a:pt x="766" y="408"/>
                  </a:cubicBezTo>
                  <a:cubicBezTo>
                    <a:pt x="822" y="385"/>
                    <a:pt x="882" y="374"/>
                    <a:pt x="944" y="374"/>
                  </a:cubicBezTo>
                  <a:close/>
                  <a:moveTo>
                    <a:pt x="614" y="506"/>
                  </a:moveTo>
                  <a:cubicBezTo>
                    <a:pt x="639" y="482"/>
                    <a:pt x="667" y="461"/>
                    <a:pt x="696" y="443"/>
                  </a:cubicBezTo>
                  <a:cubicBezTo>
                    <a:pt x="696" y="89"/>
                    <a:pt x="696" y="89"/>
                    <a:pt x="696" y="89"/>
                  </a:cubicBezTo>
                  <a:cubicBezTo>
                    <a:pt x="696" y="80"/>
                    <a:pt x="691" y="73"/>
                    <a:pt x="686" y="73"/>
                  </a:cubicBezTo>
                  <a:cubicBezTo>
                    <a:pt x="393" y="73"/>
                    <a:pt x="393" y="73"/>
                    <a:pt x="393" y="73"/>
                  </a:cubicBezTo>
                  <a:cubicBezTo>
                    <a:pt x="387" y="73"/>
                    <a:pt x="383" y="80"/>
                    <a:pt x="383" y="89"/>
                  </a:cubicBezTo>
                  <a:cubicBezTo>
                    <a:pt x="383" y="1015"/>
                    <a:pt x="383" y="1015"/>
                    <a:pt x="383" y="1015"/>
                  </a:cubicBezTo>
                  <a:cubicBezTo>
                    <a:pt x="383" y="1023"/>
                    <a:pt x="387" y="1030"/>
                    <a:pt x="393" y="1030"/>
                  </a:cubicBezTo>
                  <a:cubicBezTo>
                    <a:pt x="505" y="1030"/>
                    <a:pt x="505" y="1030"/>
                    <a:pt x="505" y="1030"/>
                  </a:cubicBezTo>
                  <a:cubicBezTo>
                    <a:pt x="433" y="855"/>
                    <a:pt x="470" y="645"/>
                    <a:pt x="614" y="50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0" name="Freeform 29">
              <a:extLst>
                <a:ext uri="{FF2B5EF4-FFF2-40B4-BE49-F238E27FC236}">
                  <a16:creationId xmlns:a16="http://schemas.microsoft.com/office/drawing/2014/main" id="{07385039-B208-433D-97C3-719751E80D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63" y="667"/>
              <a:ext cx="3560" cy="3417"/>
            </a:xfrm>
            <a:custGeom>
              <a:avLst/>
              <a:gdLst>
                <a:gd name="T0" fmla="*/ 734 w 1900"/>
                <a:gd name="T1" fmla="*/ 1246 h 1822"/>
                <a:gd name="T2" fmla="*/ 1284 w 1900"/>
                <a:gd name="T3" fmla="*/ 1303 h 1822"/>
                <a:gd name="T4" fmla="*/ 1385 w 1900"/>
                <a:gd name="T5" fmla="*/ 1407 h 1822"/>
                <a:gd name="T6" fmla="*/ 1401 w 1900"/>
                <a:gd name="T7" fmla="*/ 1407 h 1822"/>
                <a:gd name="T8" fmla="*/ 1493 w 1900"/>
                <a:gd name="T9" fmla="*/ 1320 h 1822"/>
                <a:gd name="T10" fmla="*/ 1493 w 1900"/>
                <a:gd name="T11" fmla="*/ 1303 h 1822"/>
                <a:gd name="T12" fmla="*/ 1392 w 1900"/>
                <a:gd name="T13" fmla="*/ 1198 h 1822"/>
                <a:gd name="T14" fmla="*/ 1353 w 1900"/>
                <a:gd name="T15" fmla="*/ 651 h 1822"/>
                <a:gd name="T16" fmla="*/ 746 w 1900"/>
                <a:gd name="T17" fmla="*/ 639 h 1822"/>
                <a:gd name="T18" fmla="*/ 734 w 1900"/>
                <a:gd name="T19" fmla="*/ 1246 h 1822"/>
                <a:gd name="T20" fmla="*/ 1272 w 1900"/>
                <a:gd name="T21" fmla="*/ 1246 h 1822"/>
                <a:gd name="T22" fmla="*/ 773 w 1900"/>
                <a:gd name="T23" fmla="*/ 1209 h 1822"/>
                <a:gd name="T24" fmla="*/ 783 w 1900"/>
                <a:gd name="T25" fmla="*/ 678 h 1822"/>
                <a:gd name="T26" fmla="*/ 1314 w 1900"/>
                <a:gd name="T27" fmla="*/ 688 h 1822"/>
                <a:gd name="T28" fmla="*/ 1336 w 1900"/>
                <a:gd name="T29" fmla="*/ 1185 h 1822"/>
                <a:gd name="T30" fmla="*/ 1304 w 1900"/>
                <a:gd name="T31" fmla="*/ 1219 h 1822"/>
                <a:gd name="T32" fmla="*/ 1272 w 1900"/>
                <a:gd name="T33" fmla="*/ 1246 h 1822"/>
                <a:gd name="T34" fmla="*/ 1765 w 1900"/>
                <a:gd name="T35" fmla="*/ 1822 h 1822"/>
                <a:gd name="T36" fmla="*/ 1727 w 1900"/>
                <a:gd name="T37" fmla="*/ 1807 h 1822"/>
                <a:gd name="T38" fmla="*/ 1417 w 1900"/>
                <a:gd name="T39" fmla="*/ 1484 h 1822"/>
                <a:gd name="T40" fmla="*/ 1418 w 1900"/>
                <a:gd name="T41" fmla="*/ 1453 h 1822"/>
                <a:gd name="T42" fmla="*/ 1541 w 1900"/>
                <a:gd name="T43" fmla="*/ 1334 h 1822"/>
                <a:gd name="T44" fmla="*/ 1557 w 1900"/>
                <a:gd name="T45" fmla="*/ 1327 h 1822"/>
                <a:gd name="T46" fmla="*/ 1572 w 1900"/>
                <a:gd name="T47" fmla="*/ 1334 h 1822"/>
                <a:gd name="T48" fmla="*/ 1882 w 1900"/>
                <a:gd name="T49" fmla="*/ 1659 h 1822"/>
                <a:gd name="T50" fmla="*/ 1891 w 1900"/>
                <a:gd name="T51" fmla="*/ 1721 h 1822"/>
                <a:gd name="T52" fmla="*/ 1851 w 1900"/>
                <a:gd name="T53" fmla="*/ 1781 h 1822"/>
                <a:gd name="T54" fmla="*/ 1789 w 1900"/>
                <a:gd name="T55" fmla="*/ 1819 h 1822"/>
                <a:gd name="T56" fmla="*/ 1765 w 1900"/>
                <a:gd name="T57" fmla="*/ 1822 h 1822"/>
                <a:gd name="T58" fmla="*/ 1464 w 1900"/>
                <a:gd name="T59" fmla="*/ 1469 h 1822"/>
                <a:gd name="T60" fmla="*/ 1759 w 1900"/>
                <a:gd name="T61" fmla="*/ 1777 h 1822"/>
                <a:gd name="T62" fmla="*/ 1777 w 1900"/>
                <a:gd name="T63" fmla="*/ 1777 h 1822"/>
                <a:gd name="T64" fmla="*/ 1820 w 1900"/>
                <a:gd name="T65" fmla="*/ 1749 h 1822"/>
                <a:gd name="T66" fmla="*/ 1849 w 1900"/>
                <a:gd name="T67" fmla="*/ 1707 h 1822"/>
                <a:gd name="T68" fmla="*/ 1851 w 1900"/>
                <a:gd name="T69" fmla="*/ 1689 h 1822"/>
                <a:gd name="T70" fmla="*/ 1556 w 1900"/>
                <a:gd name="T71" fmla="*/ 1381 h 1822"/>
                <a:gd name="T72" fmla="*/ 1464 w 1900"/>
                <a:gd name="T73" fmla="*/ 1469 h 1822"/>
                <a:gd name="T74" fmla="*/ 1640 w 1900"/>
                <a:gd name="T75" fmla="*/ 0 h 1822"/>
                <a:gd name="T76" fmla="*/ 22 w 1900"/>
                <a:gd name="T77" fmla="*/ 0 h 1822"/>
                <a:gd name="T78" fmla="*/ 0 w 1900"/>
                <a:gd name="T79" fmla="*/ 22 h 1822"/>
                <a:gd name="T80" fmla="*/ 0 w 1900"/>
                <a:gd name="T81" fmla="*/ 1208 h 1822"/>
                <a:gd name="T82" fmla="*/ 22 w 1900"/>
                <a:gd name="T83" fmla="*/ 1230 h 1822"/>
                <a:gd name="T84" fmla="*/ 661 w 1900"/>
                <a:gd name="T85" fmla="*/ 1230 h 1822"/>
                <a:gd name="T86" fmla="*/ 633 w 1900"/>
                <a:gd name="T87" fmla="*/ 1186 h 1822"/>
                <a:gd name="T88" fmla="*/ 44 w 1900"/>
                <a:gd name="T89" fmla="*/ 1186 h 1822"/>
                <a:gd name="T90" fmla="*/ 44 w 1900"/>
                <a:gd name="T91" fmla="*/ 44 h 1822"/>
                <a:gd name="T92" fmla="*/ 1618 w 1900"/>
                <a:gd name="T93" fmla="*/ 44 h 1822"/>
                <a:gd name="T94" fmla="*/ 1618 w 1900"/>
                <a:gd name="T95" fmla="*/ 1186 h 1822"/>
                <a:gd name="T96" fmla="*/ 1454 w 1900"/>
                <a:gd name="T97" fmla="*/ 1186 h 1822"/>
                <a:gd name="T98" fmla="*/ 1451 w 1900"/>
                <a:gd name="T99" fmla="*/ 1192 h 1822"/>
                <a:gd name="T100" fmla="*/ 1487 w 1900"/>
                <a:gd name="T101" fmla="*/ 1230 h 1822"/>
                <a:gd name="T102" fmla="*/ 1640 w 1900"/>
                <a:gd name="T103" fmla="*/ 1230 h 1822"/>
                <a:gd name="T104" fmla="*/ 1662 w 1900"/>
                <a:gd name="T105" fmla="*/ 1208 h 1822"/>
                <a:gd name="T106" fmla="*/ 1662 w 1900"/>
                <a:gd name="T107" fmla="*/ 22 h 1822"/>
                <a:gd name="T108" fmla="*/ 1640 w 1900"/>
                <a:gd name="T109" fmla="*/ 0 h 18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900" h="1822">
                  <a:moveTo>
                    <a:pt x="734" y="1246"/>
                  </a:moveTo>
                  <a:cubicBezTo>
                    <a:pt x="881" y="1399"/>
                    <a:pt x="1115" y="1418"/>
                    <a:pt x="1284" y="1303"/>
                  </a:cubicBezTo>
                  <a:cubicBezTo>
                    <a:pt x="1284" y="1303"/>
                    <a:pt x="1284" y="1303"/>
                    <a:pt x="1385" y="1407"/>
                  </a:cubicBezTo>
                  <a:cubicBezTo>
                    <a:pt x="1389" y="1412"/>
                    <a:pt x="1397" y="1412"/>
                    <a:pt x="1401" y="1407"/>
                  </a:cubicBezTo>
                  <a:cubicBezTo>
                    <a:pt x="1401" y="1407"/>
                    <a:pt x="1401" y="1407"/>
                    <a:pt x="1493" y="1320"/>
                  </a:cubicBezTo>
                  <a:cubicBezTo>
                    <a:pt x="1498" y="1315"/>
                    <a:pt x="1498" y="1308"/>
                    <a:pt x="1493" y="1303"/>
                  </a:cubicBezTo>
                  <a:cubicBezTo>
                    <a:pt x="1493" y="1303"/>
                    <a:pt x="1493" y="1303"/>
                    <a:pt x="1392" y="1198"/>
                  </a:cubicBezTo>
                  <a:cubicBezTo>
                    <a:pt x="1510" y="1033"/>
                    <a:pt x="1498" y="802"/>
                    <a:pt x="1353" y="651"/>
                  </a:cubicBezTo>
                  <a:cubicBezTo>
                    <a:pt x="1188" y="480"/>
                    <a:pt x="917" y="475"/>
                    <a:pt x="746" y="639"/>
                  </a:cubicBezTo>
                  <a:cubicBezTo>
                    <a:pt x="576" y="803"/>
                    <a:pt x="571" y="1075"/>
                    <a:pt x="734" y="1246"/>
                  </a:cubicBezTo>
                  <a:close/>
                  <a:moveTo>
                    <a:pt x="1272" y="1246"/>
                  </a:moveTo>
                  <a:cubicBezTo>
                    <a:pt x="1123" y="1361"/>
                    <a:pt x="907" y="1348"/>
                    <a:pt x="773" y="1209"/>
                  </a:cubicBezTo>
                  <a:cubicBezTo>
                    <a:pt x="630" y="1060"/>
                    <a:pt x="634" y="821"/>
                    <a:pt x="783" y="678"/>
                  </a:cubicBezTo>
                  <a:cubicBezTo>
                    <a:pt x="932" y="534"/>
                    <a:pt x="1171" y="539"/>
                    <a:pt x="1314" y="688"/>
                  </a:cubicBezTo>
                  <a:cubicBezTo>
                    <a:pt x="1447" y="826"/>
                    <a:pt x="1453" y="1040"/>
                    <a:pt x="1336" y="1185"/>
                  </a:cubicBezTo>
                  <a:cubicBezTo>
                    <a:pt x="1326" y="1197"/>
                    <a:pt x="1315" y="1208"/>
                    <a:pt x="1304" y="1219"/>
                  </a:cubicBezTo>
                  <a:cubicBezTo>
                    <a:pt x="1294" y="1229"/>
                    <a:pt x="1284" y="1238"/>
                    <a:pt x="1272" y="1246"/>
                  </a:cubicBezTo>
                  <a:close/>
                  <a:moveTo>
                    <a:pt x="1765" y="1822"/>
                  </a:moveTo>
                  <a:cubicBezTo>
                    <a:pt x="1750" y="1822"/>
                    <a:pt x="1736" y="1817"/>
                    <a:pt x="1727" y="1807"/>
                  </a:cubicBezTo>
                  <a:cubicBezTo>
                    <a:pt x="1417" y="1484"/>
                    <a:pt x="1417" y="1484"/>
                    <a:pt x="1417" y="1484"/>
                  </a:cubicBezTo>
                  <a:cubicBezTo>
                    <a:pt x="1409" y="1475"/>
                    <a:pt x="1409" y="1461"/>
                    <a:pt x="1418" y="1453"/>
                  </a:cubicBezTo>
                  <a:cubicBezTo>
                    <a:pt x="1541" y="1334"/>
                    <a:pt x="1541" y="1334"/>
                    <a:pt x="1541" y="1334"/>
                  </a:cubicBezTo>
                  <a:cubicBezTo>
                    <a:pt x="1545" y="1330"/>
                    <a:pt x="1551" y="1327"/>
                    <a:pt x="1557" y="1327"/>
                  </a:cubicBezTo>
                  <a:cubicBezTo>
                    <a:pt x="1563" y="1328"/>
                    <a:pt x="1568" y="1330"/>
                    <a:pt x="1572" y="1334"/>
                  </a:cubicBezTo>
                  <a:cubicBezTo>
                    <a:pt x="1882" y="1659"/>
                    <a:pt x="1882" y="1659"/>
                    <a:pt x="1882" y="1659"/>
                  </a:cubicBezTo>
                  <a:cubicBezTo>
                    <a:pt x="1896" y="1673"/>
                    <a:pt x="1900" y="1696"/>
                    <a:pt x="1891" y="1721"/>
                  </a:cubicBezTo>
                  <a:cubicBezTo>
                    <a:pt x="1884" y="1742"/>
                    <a:pt x="1870" y="1763"/>
                    <a:pt x="1851" y="1781"/>
                  </a:cubicBezTo>
                  <a:cubicBezTo>
                    <a:pt x="1832" y="1799"/>
                    <a:pt x="1810" y="1813"/>
                    <a:pt x="1789" y="1819"/>
                  </a:cubicBezTo>
                  <a:cubicBezTo>
                    <a:pt x="1781" y="1821"/>
                    <a:pt x="1773" y="1822"/>
                    <a:pt x="1765" y="1822"/>
                  </a:cubicBezTo>
                  <a:close/>
                  <a:moveTo>
                    <a:pt x="1464" y="1469"/>
                  </a:moveTo>
                  <a:cubicBezTo>
                    <a:pt x="1759" y="1777"/>
                    <a:pt x="1759" y="1777"/>
                    <a:pt x="1759" y="1777"/>
                  </a:cubicBezTo>
                  <a:cubicBezTo>
                    <a:pt x="1760" y="1778"/>
                    <a:pt x="1766" y="1780"/>
                    <a:pt x="1777" y="1777"/>
                  </a:cubicBezTo>
                  <a:cubicBezTo>
                    <a:pt x="1791" y="1773"/>
                    <a:pt x="1806" y="1763"/>
                    <a:pt x="1820" y="1749"/>
                  </a:cubicBezTo>
                  <a:cubicBezTo>
                    <a:pt x="1834" y="1736"/>
                    <a:pt x="1845" y="1721"/>
                    <a:pt x="1849" y="1707"/>
                  </a:cubicBezTo>
                  <a:cubicBezTo>
                    <a:pt x="1853" y="1696"/>
                    <a:pt x="1852" y="1690"/>
                    <a:pt x="1851" y="1689"/>
                  </a:cubicBezTo>
                  <a:cubicBezTo>
                    <a:pt x="1556" y="1381"/>
                    <a:pt x="1556" y="1381"/>
                    <a:pt x="1556" y="1381"/>
                  </a:cubicBezTo>
                  <a:lnTo>
                    <a:pt x="1464" y="1469"/>
                  </a:lnTo>
                  <a:close/>
                  <a:moveTo>
                    <a:pt x="1640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1208"/>
                    <a:pt x="0" y="1208"/>
                    <a:pt x="0" y="1208"/>
                  </a:cubicBezTo>
                  <a:cubicBezTo>
                    <a:pt x="0" y="1220"/>
                    <a:pt x="10" y="1230"/>
                    <a:pt x="22" y="1230"/>
                  </a:cubicBezTo>
                  <a:cubicBezTo>
                    <a:pt x="661" y="1230"/>
                    <a:pt x="661" y="1230"/>
                    <a:pt x="661" y="1230"/>
                  </a:cubicBezTo>
                  <a:cubicBezTo>
                    <a:pt x="651" y="1216"/>
                    <a:pt x="641" y="1201"/>
                    <a:pt x="633" y="1186"/>
                  </a:cubicBezTo>
                  <a:cubicBezTo>
                    <a:pt x="44" y="1186"/>
                    <a:pt x="44" y="1186"/>
                    <a:pt x="44" y="1186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1618" y="44"/>
                    <a:pt x="1618" y="44"/>
                    <a:pt x="1618" y="44"/>
                  </a:cubicBezTo>
                  <a:cubicBezTo>
                    <a:pt x="1618" y="1186"/>
                    <a:pt x="1618" y="1186"/>
                    <a:pt x="1618" y="1186"/>
                  </a:cubicBezTo>
                  <a:cubicBezTo>
                    <a:pt x="1454" y="1186"/>
                    <a:pt x="1454" y="1186"/>
                    <a:pt x="1454" y="1186"/>
                  </a:cubicBezTo>
                  <a:cubicBezTo>
                    <a:pt x="1453" y="1188"/>
                    <a:pt x="1452" y="1190"/>
                    <a:pt x="1451" y="1192"/>
                  </a:cubicBezTo>
                  <a:cubicBezTo>
                    <a:pt x="1487" y="1230"/>
                    <a:pt x="1487" y="1230"/>
                    <a:pt x="1487" y="1230"/>
                  </a:cubicBezTo>
                  <a:cubicBezTo>
                    <a:pt x="1640" y="1230"/>
                    <a:pt x="1640" y="1230"/>
                    <a:pt x="1640" y="1230"/>
                  </a:cubicBezTo>
                  <a:cubicBezTo>
                    <a:pt x="1652" y="1230"/>
                    <a:pt x="1662" y="1220"/>
                    <a:pt x="1662" y="1208"/>
                  </a:cubicBezTo>
                  <a:cubicBezTo>
                    <a:pt x="1662" y="22"/>
                    <a:pt x="1662" y="22"/>
                    <a:pt x="1662" y="22"/>
                  </a:cubicBezTo>
                  <a:cubicBezTo>
                    <a:pt x="1662" y="10"/>
                    <a:pt x="1652" y="0"/>
                    <a:pt x="164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401" name="Shape 2872"/>
          <p:cNvSpPr/>
          <p:nvPr/>
        </p:nvSpPr>
        <p:spPr>
          <a:xfrm>
            <a:off x="4579270" y="4909175"/>
            <a:ext cx="69757" cy="6975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744"/>
                  <a:pt x="21168" y="14472"/>
                  <a:pt x="20088" y="16200"/>
                </a:cubicBezTo>
                <a:cubicBezTo>
                  <a:pt x="19116" y="17928"/>
                  <a:pt x="17928" y="19008"/>
                  <a:pt x="16200" y="20088"/>
                </a:cubicBezTo>
                <a:cubicBezTo>
                  <a:pt x="14472" y="21060"/>
                  <a:pt x="12744" y="21600"/>
                  <a:pt x="10800" y="21600"/>
                </a:cubicBezTo>
                <a:cubicBezTo>
                  <a:pt x="8856" y="21600"/>
                  <a:pt x="7128" y="21060"/>
                  <a:pt x="5400" y="20088"/>
                </a:cubicBezTo>
                <a:cubicBezTo>
                  <a:pt x="3672" y="19008"/>
                  <a:pt x="2484" y="17928"/>
                  <a:pt x="1404" y="16200"/>
                </a:cubicBezTo>
                <a:cubicBezTo>
                  <a:pt x="432" y="14472"/>
                  <a:pt x="0" y="12744"/>
                  <a:pt x="0" y="10800"/>
                </a:cubicBezTo>
                <a:cubicBezTo>
                  <a:pt x="0" y="8856"/>
                  <a:pt x="432" y="7128"/>
                  <a:pt x="1404" y="5400"/>
                </a:cubicBezTo>
                <a:cubicBezTo>
                  <a:pt x="2484" y="3672"/>
                  <a:pt x="3672" y="2376"/>
                  <a:pt x="5400" y="1404"/>
                </a:cubicBezTo>
                <a:cubicBezTo>
                  <a:pt x="7128" y="324"/>
                  <a:pt x="8856" y="0"/>
                  <a:pt x="10800" y="0"/>
                </a:cubicBezTo>
                <a:cubicBezTo>
                  <a:pt x="12744" y="0"/>
                  <a:pt x="14472" y="324"/>
                  <a:pt x="16200" y="1404"/>
                </a:cubicBezTo>
                <a:cubicBezTo>
                  <a:pt x="17928" y="2376"/>
                  <a:pt x="19116" y="3672"/>
                  <a:pt x="20088" y="5400"/>
                </a:cubicBezTo>
                <a:cubicBezTo>
                  <a:pt x="21168" y="7128"/>
                  <a:pt x="21600" y="8856"/>
                  <a:pt x="21600" y="1080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2" name="Shape 2873"/>
          <p:cNvSpPr/>
          <p:nvPr/>
        </p:nvSpPr>
        <p:spPr>
          <a:xfrm>
            <a:off x="4528770" y="4986902"/>
            <a:ext cx="172076" cy="3379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36" h="21600" extrusionOk="0">
                <a:moveTo>
                  <a:pt x="5236" y="0"/>
                </a:moveTo>
                <a:lnTo>
                  <a:pt x="16036" y="0"/>
                </a:lnTo>
                <a:cubicBezTo>
                  <a:pt x="19060" y="0"/>
                  <a:pt x="21436" y="1236"/>
                  <a:pt x="21436" y="2758"/>
                </a:cubicBezTo>
                <a:lnTo>
                  <a:pt x="21436" y="9509"/>
                </a:lnTo>
                <a:cubicBezTo>
                  <a:pt x="21436" y="10039"/>
                  <a:pt x="20615" y="10480"/>
                  <a:pt x="19492" y="10480"/>
                </a:cubicBezTo>
                <a:cubicBezTo>
                  <a:pt x="18412" y="10480"/>
                  <a:pt x="17591" y="10061"/>
                  <a:pt x="17591" y="9509"/>
                </a:cubicBezTo>
                <a:lnTo>
                  <a:pt x="17591" y="3332"/>
                </a:lnTo>
                <a:cubicBezTo>
                  <a:pt x="17591" y="3199"/>
                  <a:pt x="17375" y="3067"/>
                  <a:pt x="17073" y="3067"/>
                </a:cubicBezTo>
                <a:cubicBezTo>
                  <a:pt x="16814" y="3067"/>
                  <a:pt x="16554" y="3155"/>
                  <a:pt x="16554" y="3332"/>
                </a:cubicBezTo>
                <a:lnTo>
                  <a:pt x="16554" y="20034"/>
                </a:lnTo>
                <a:cubicBezTo>
                  <a:pt x="16554" y="20872"/>
                  <a:pt x="15345" y="21556"/>
                  <a:pt x="13876" y="21556"/>
                </a:cubicBezTo>
                <a:cubicBezTo>
                  <a:pt x="12450" y="21556"/>
                  <a:pt x="11241" y="20894"/>
                  <a:pt x="11241" y="20034"/>
                </a:cubicBezTo>
                <a:lnTo>
                  <a:pt x="11241" y="10546"/>
                </a:lnTo>
                <a:cubicBezTo>
                  <a:pt x="11241" y="10414"/>
                  <a:pt x="11025" y="10282"/>
                  <a:pt x="10722" y="10282"/>
                </a:cubicBezTo>
                <a:cubicBezTo>
                  <a:pt x="10463" y="10282"/>
                  <a:pt x="10204" y="10370"/>
                  <a:pt x="10204" y="10546"/>
                </a:cubicBezTo>
                <a:lnTo>
                  <a:pt x="10204" y="20100"/>
                </a:lnTo>
                <a:cubicBezTo>
                  <a:pt x="10204" y="20916"/>
                  <a:pt x="9038" y="21600"/>
                  <a:pt x="7569" y="21600"/>
                </a:cubicBezTo>
                <a:cubicBezTo>
                  <a:pt x="6143" y="21600"/>
                  <a:pt x="4890" y="20938"/>
                  <a:pt x="4890" y="20100"/>
                </a:cubicBezTo>
                <a:lnTo>
                  <a:pt x="4890" y="3354"/>
                </a:lnTo>
                <a:cubicBezTo>
                  <a:pt x="4890" y="3221"/>
                  <a:pt x="4718" y="3089"/>
                  <a:pt x="4372" y="3089"/>
                </a:cubicBezTo>
                <a:cubicBezTo>
                  <a:pt x="4113" y="3089"/>
                  <a:pt x="3854" y="3199"/>
                  <a:pt x="3854" y="3354"/>
                </a:cubicBezTo>
                <a:lnTo>
                  <a:pt x="3854" y="9553"/>
                </a:lnTo>
                <a:cubicBezTo>
                  <a:pt x="3854" y="10083"/>
                  <a:pt x="3033" y="10546"/>
                  <a:pt x="1953" y="10546"/>
                </a:cubicBezTo>
                <a:cubicBezTo>
                  <a:pt x="873" y="10546"/>
                  <a:pt x="9" y="10105"/>
                  <a:pt x="9" y="9553"/>
                </a:cubicBezTo>
                <a:lnTo>
                  <a:pt x="9" y="2780"/>
                </a:lnTo>
                <a:cubicBezTo>
                  <a:pt x="-164" y="1236"/>
                  <a:pt x="2255" y="0"/>
                  <a:pt x="5236" y="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3" name="Shape 2874"/>
          <p:cNvSpPr/>
          <p:nvPr/>
        </p:nvSpPr>
        <p:spPr>
          <a:xfrm>
            <a:off x="4387241" y="4909175"/>
            <a:ext cx="69758" cy="6975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744"/>
                  <a:pt x="21168" y="14472"/>
                  <a:pt x="20088" y="16200"/>
                </a:cubicBezTo>
                <a:cubicBezTo>
                  <a:pt x="19116" y="17928"/>
                  <a:pt x="17928" y="19008"/>
                  <a:pt x="16200" y="20088"/>
                </a:cubicBezTo>
                <a:cubicBezTo>
                  <a:pt x="14472" y="21060"/>
                  <a:pt x="12744" y="21600"/>
                  <a:pt x="10800" y="21600"/>
                </a:cubicBezTo>
                <a:cubicBezTo>
                  <a:pt x="8856" y="21600"/>
                  <a:pt x="7128" y="21060"/>
                  <a:pt x="5400" y="20088"/>
                </a:cubicBezTo>
                <a:cubicBezTo>
                  <a:pt x="3672" y="19008"/>
                  <a:pt x="2592" y="17928"/>
                  <a:pt x="1512" y="16200"/>
                </a:cubicBezTo>
                <a:cubicBezTo>
                  <a:pt x="540" y="14472"/>
                  <a:pt x="0" y="12744"/>
                  <a:pt x="0" y="10800"/>
                </a:cubicBezTo>
                <a:cubicBezTo>
                  <a:pt x="0" y="8856"/>
                  <a:pt x="540" y="7128"/>
                  <a:pt x="1512" y="5400"/>
                </a:cubicBezTo>
                <a:cubicBezTo>
                  <a:pt x="2592" y="3672"/>
                  <a:pt x="3672" y="2376"/>
                  <a:pt x="5400" y="1404"/>
                </a:cubicBezTo>
                <a:cubicBezTo>
                  <a:pt x="7128" y="324"/>
                  <a:pt x="8856" y="0"/>
                  <a:pt x="10800" y="0"/>
                </a:cubicBezTo>
                <a:cubicBezTo>
                  <a:pt x="12744" y="0"/>
                  <a:pt x="14472" y="324"/>
                  <a:pt x="16200" y="1404"/>
                </a:cubicBezTo>
                <a:cubicBezTo>
                  <a:pt x="17928" y="2376"/>
                  <a:pt x="19116" y="3672"/>
                  <a:pt x="20088" y="5400"/>
                </a:cubicBezTo>
                <a:cubicBezTo>
                  <a:pt x="21168" y="7128"/>
                  <a:pt x="21600" y="8856"/>
                  <a:pt x="21600" y="1080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4" name="Shape 2875"/>
          <p:cNvSpPr/>
          <p:nvPr/>
        </p:nvSpPr>
        <p:spPr>
          <a:xfrm>
            <a:off x="4337051" y="4986902"/>
            <a:ext cx="171767" cy="3379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397" h="21600" extrusionOk="0">
                <a:moveTo>
                  <a:pt x="5197" y="0"/>
                </a:moveTo>
                <a:lnTo>
                  <a:pt x="15997" y="0"/>
                </a:lnTo>
                <a:cubicBezTo>
                  <a:pt x="19021" y="0"/>
                  <a:pt x="21397" y="1236"/>
                  <a:pt x="21397" y="2758"/>
                </a:cubicBezTo>
                <a:lnTo>
                  <a:pt x="21397" y="9509"/>
                </a:lnTo>
                <a:cubicBezTo>
                  <a:pt x="21397" y="10039"/>
                  <a:pt x="20619" y="10480"/>
                  <a:pt x="19496" y="10480"/>
                </a:cubicBezTo>
                <a:cubicBezTo>
                  <a:pt x="18416" y="10480"/>
                  <a:pt x="17552" y="10061"/>
                  <a:pt x="17552" y="9509"/>
                </a:cubicBezTo>
                <a:lnTo>
                  <a:pt x="17552" y="3332"/>
                </a:lnTo>
                <a:cubicBezTo>
                  <a:pt x="17552" y="3199"/>
                  <a:pt x="17336" y="3067"/>
                  <a:pt x="17034" y="3067"/>
                </a:cubicBezTo>
                <a:cubicBezTo>
                  <a:pt x="16775" y="3067"/>
                  <a:pt x="16515" y="3155"/>
                  <a:pt x="16515" y="3332"/>
                </a:cubicBezTo>
                <a:lnTo>
                  <a:pt x="16515" y="20034"/>
                </a:lnTo>
                <a:cubicBezTo>
                  <a:pt x="16515" y="20872"/>
                  <a:pt x="15349" y="21556"/>
                  <a:pt x="13880" y="21556"/>
                </a:cubicBezTo>
                <a:cubicBezTo>
                  <a:pt x="12455" y="21556"/>
                  <a:pt x="11202" y="20894"/>
                  <a:pt x="11202" y="20034"/>
                </a:cubicBezTo>
                <a:lnTo>
                  <a:pt x="11202" y="10546"/>
                </a:lnTo>
                <a:cubicBezTo>
                  <a:pt x="11202" y="10414"/>
                  <a:pt x="11029" y="10282"/>
                  <a:pt x="10683" y="10282"/>
                </a:cubicBezTo>
                <a:cubicBezTo>
                  <a:pt x="10424" y="10282"/>
                  <a:pt x="10165" y="10370"/>
                  <a:pt x="10165" y="10546"/>
                </a:cubicBezTo>
                <a:lnTo>
                  <a:pt x="10165" y="20100"/>
                </a:lnTo>
                <a:cubicBezTo>
                  <a:pt x="10165" y="20916"/>
                  <a:pt x="8999" y="21600"/>
                  <a:pt x="7530" y="21600"/>
                </a:cubicBezTo>
                <a:cubicBezTo>
                  <a:pt x="6061" y="21600"/>
                  <a:pt x="4895" y="20938"/>
                  <a:pt x="4895" y="20100"/>
                </a:cubicBezTo>
                <a:lnTo>
                  <a:pt x="4895" y="3354"/>
                </a:lnTo>
                <a:cubicBezTo>
                  <a:pt x="4895" y="3221"/>
                  <a:pt x="4679" y="3089"/>
                  <a:pt x="4376" y="3089"/>
                </a:cubicBezTo>
                <a:cubicBezTo>
                  <a:pt x="4117" y="3089"/>
                  <a:pt x="3858" y="3199"/>
                  <a:pt x="3858" y="3354"/>
                </a:cubicBezTo>
                <a:lnTo>
                  <a:pt x="3858" y="9553"/>
                </a:lnTo>
                <a:cubicBezTo>
                  <a:pt x="3858" y="10083"/>
                  <a:pt x="2994" y="10546"/>
                  <a:pt x="1914" y="10546"/>
                </a:cubicBezTo>
                <a:cubicBezTo>
                  <a:pt x="834" y="10546"/>
                  <a:pt x="13" y="10105"/>
                  <a:pt x="13" y="9553"/>
                </a:cubicBezTo>
                <a:lnTo>
                  <a:pt x="13" y="2780"/>
                </a:lnTo>
                <a:cubicBezTo>
                  <a:pt x="-203" y="1236"/>
                  <a:pt x="2216" y="0"/>
                  <a:pt x="5197" y="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5" name="Shape 2876"/>
          <p:cNvSpPr/>
          <p:nvPr/>
        </p:nvSpPr>
        <p:spPr>
          <a:xfrm>
            <a:off x="4771298" y="4909175"/>
            <a:ext cx="68239" cy="6975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744"/>
                  <a:pt x="21166" y="14472"/>
                  <a:pt x="20189" y="16200"/>
                </a:cubicBezTo>
                <a:cubicBezTo>
                  <a:pt x="19212" y="17928"/>
                  <a:pt x="17910" y="19008"/>
                  <a:pt x="16173" y="20088"/>
                </a:cubicBezTo>
                <a:cubicBezTo>
                  <a:pt x="14545" y="21060"/>
                  <a:pt x="12917" y="21600"/>
                  <a:pt x="10854" y="21600"/>
                </a:cubicBezTo>
                <a:cubicBezTo>
                  <a:pt x="8901" y="21600"/>
                  <a:pt x="7164" y="21060"/>
                  <a:pt x="5427" y="20088"/>
                </a:cubicBezTo>
                <a:cubicBezTo>
                  <a:pt x="3690" y="19008"/>
                  <a:pt x="2388" y="17928"/>
                  <a:pt x="1411" y="16200"/>
                </a:cubicBezTo>
                <a:cubicBezTo>
                  <a:pt x="434" y="14472"/>
                  <a:pt x="0" y="12744"/>
                  <a:pt x="0" y="10800"/>
                </a:cubicBezTo>
                <a:cubicBezTo>
                  <a:pt x="0" y="8856"/>
                  <a:pt x="434" y="7128"/>
                  <a:pt x="1411" y="5400"/>
                </a:cubicBezTo>
                <a:cubicBezTo>
                  <a:pt x="2388" y="3672"/>
                  <a:pt x="3690" y="2376"/>
                  <a:pt x="5427" y="1404"/>
                </a:cubicBezTo>
                <a:cubicBezTo>
                  <a:pt x="7164" y="324"/>
                  <a:pt x="8792" y="0"/>
                  <a:pt x="10854" y="0"/>
                </a:cubicBezTo>
                <a:cubicBezTo>
                  <a:pt x="12808" y="0"/>
                  <a:pt x="14545" y="324"/>
                  <a:pt x="16173" y="1404"/>
                </a:cubicBezTo>
                <a:cubicBezTo>
                  <a:pt x="17910" y="2376"/>
                  <a:pt x="19212" y="3672"/>
                  <a:pt x="20189" y="5400"/>
                </a:cubicBezTo>
                <a:cubicBezTo>
                  <a:pt x="21166" y="7128"/>
                  <a:pt x="21600" y="8856"/>
                  <a:pt x="21600" y="1080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6" name="Shape 2877"/>
          <p:cNvSpPr/>
          <p:nvPr/>
        </p:nvSpPr>
        <p:spPr>
          <a:xfrm>
            <a:off x="4721998" y="4986902"/>
            <a:ext cx="170878" cy="3379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75" h="21600" extrusionOk="0">
                <a:moveTo>
                  <a:pt x="5199" y="0"/>
                </a:moveTo>
                <a:lnTo>
                  <a:pt x="16064" y="0"/>
                </a:lnTo>
                <a:cubicBezTo>
                  <a:pt x="19051" y="0"/>
                  <a:pt x="21475" y="1236"/>
                  <a:pt x="21475" y="2758"/>
                </a:cubicBezTo>
                <a:lnTo>
                  <a:pt x="21475" y="9509"/>
                </a:lnTo>
                <a:cubicBezTo>
                  <a:pt x="21475" y="10039"/>
                  <a:pt x="20609" y="10480"/>
                  <a:pt x="19527" y="10480"/>
                </a:cubicBezTo>
                <a:cubicBezTo>
                  <a:pt x="18445" y="10480"/>
                  <a:pt x="17622" y="10061"/>
                  <a:pt x="17622" y="9509"/>
                </a:cubicBezTo>
                <a:lnTo>
                  <a:pt x="17622" y="3332"/>
                </a:lnTo>
                <a:cubicBezTo>
                  <a:pt x="17622" y="3199"/>
                  <a:pt x="17406" y="3067"/>
                  <a:pt x="17103" y="3067"/>
                </a:cubicBezTo>
                <a:cubicBezTo>
                  <a:pt x="16843" y="3067"/>
                  <a:pt x="16584" y="3155"/>
                  <a:pt x="16584" y="3332"/>
                </a:cubicBezTo>
                <a:lnTo>
                  <a:pt x="16584" y="20034"/>
                </a:lnTo>
                <a:cubicBezTo>
                  <a:pt x="16584" y="20872"/>
                  <a:pt x="15372" y="21556"/>
                  <a:pt x="13900" y="21556"/>
                </a:cubicBezTo>
                <a:cubicBezTo>
                  <a:pt x="12471" y="21556"/>
                  <a:pt x="11259" y="20894"/>
                  <a:pt x="11259" y="20034"/>
                </a:cubicBezTo>
                <a:lnTo>
                  <a:pt x="11259" y="10546"/>
                </a:lnTo>
                <a:cubicBezTo>
                  <a:pt x="11259" y="10414"/>
                  <a:pt x="11043" y="10282"/>
                  <a:pt x="10740" y="10282"/>
                </a:cubicBezTo>
                <a:cubicBezTo>
                  <a:pt x="10480" y="10282"/>
                  <a:pt x="10220" y="10370"/>
                  <a:pt x="10220" y="10546"/>
                </a:cubicBezTo>
                <a:lnTo>
                  <a:pt x="10220" y="20100"/>
                </a:lnTo>
                <a:cubicBezTo>
                  <a:pt x="10220" y="20916"/>
                  <a:pt x="9052" y="21600"/>
                  <a:pt x="7580" y="21600"/>
                </a:cubicBezTo>
                <a:cubicBezTo>
                  <a:pt x="6152" y="21600"/>
                  <a:pt x="4896" y="20938"/>
                  <a:pt x="4896" y="20100"/>
                </a:cubicBezTo>
                <a:lnTo>
                  <a:pt x="4896" y="3354"/>
                </a:lnTo>
                <a:cubicBezTo>
                  <a:pt x="4896" y="3221"/>
                  <a:pt x="4680" y="3089"/>
                  <a:pt x="4377" y="3089"/>
                </a:cubicBezTo>
                <a:cubicBezTo>
                  <a:pt x="4117" y="3089"/>
                  <a:pt x="3857" y="3199"/>
                  <a:pt x="3857" y="3354"/>
                </a:cubicBezTo>
                <a:lnTo>
                  <a:pt x="3857" y="9553"/>
                </a:lnTo>
                <a:cubicBezTo>
                  <a:pt x="3857" y="10083"/>
                  <a:pt x="3078" y="10546"/>
                  <a:pt x="1953" y="10546"/>
                </a:cubicBezTo>
                <a:cubicBezTo>
                  <a:pt x="871" y="10546"/>
                  <a:pt x="5" y="10105"/>
                  <a:pt x="5" y="9553"/>
                </a:cubicBezTo>
                <a:lnTo>
                  <a:pt x="5" y="2780"/>
                </a:lnTo>
                <a:cubicBezTo>
                  <a:pt x="-125" y="1236"/>
                  <a:pt x="2299" y="0"/>
                  <a:pt x="5199" y="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7" name="Shape 2959"/>
          <p:cNvSpPr/>
          <p:nvPr/>
        </p:nvSpPr>
        <p:spPr>
          <a:xfrm>
            <a:off x="2498223" y="3181017"/>
            <a:ext cx="345600" cy="41027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8205"/>
                </a:moveTo>
                <a:cubicBezTo>
                  <a:pt x="21600" y="10827"/>
                  <a:pt x="20149" y="13161"/>
                  <a:pt x="17886" y="14651"/>
                </a:cubicBezTo>
                <a:lnTo>
                  <a:pt x="17886" y="21600"/>
                </a:lnTo>
                <a:lnTo>
                  <a:pt x="7492" y="21600"/>
                </a:lnTo>
                <a:lnTo>
                  <a:pt x="7492" y="19266"/>
                </a:lnTo>
                <a:lnTo>
                  <a:pt x="5955" y="19266"/>
                </a:lnTo>
                <a:cubicBezTo>
                  <a:pt x="3821" y="19266"/>
                  <a:pt x="2092" y="17811"/>
                  <a:pt x="2092" y="16016"/>
                </a:cubicBezTo>
                <a:lnTo>
                  <a:pt x="2092" y="13736"/>
                </a:lnTo>
                <a:lnTo>
                  <a:pt x="790" y="13736"/>
                </a:lnTo>
                <a:cubicBezTo>
                  <a:pt x="342" y="13736"/>
                  <a:pt x="0" y="13430"/>
                  <a:pt x="0" y="13071"/>
                </a:cubicBezTo>
                <a:cubicBezTo>
                  <a:pt x="0" y="12964"/>
                  <a:pt x="21" y="12892"/>
                  <a:pt x="43" y="12802"/>
                </a:cubicBezTo>
                <a:lnTo>
                  <a:pt x="2070" y="8313"/>
                </a:lnTo>
                <a:cubicBezTo>
                  <a:pt x="2070" y="8313"/>
                  <a:pt x="2284" y="6518"/>
                  <a:pt x="2476" y="5853"/>
                </a:cubicBezTo>
                <a:cubicBezTo>
                  <a:pt x="3330" y="2783"/>
                  <a:pt x="7406" y="0"/>
                  <a:pt x="11825" y="0"/>
                </a:cubicBezTo>
                <a:cubicBezTo>
                  <a:pt x="17246" y="0"/>
                  <a:pt x="21600" y="3681"/>
                  <a:pt x="21600" y="8205"/>
                </a:cubicBezTo>
                <a:close/>
                <a:moveTo>
                  <a:pt x="5613" y="9049"/>
                </a:moveTo>
                <a:cubicBezTo>
                  <a:pt x="5613" y="8547"/>
                  <a:pt x="5123" y="8152"/>
                  <a:pt x="4504" y="8152"/>
                </a:cubicBezTo>
                <a:cubicBezTo>
                  <a:pt x="3927" y="8152"/>
                  <a:pt x="3436" y="8547"/>
                  <a:pt x="3436" y="9049"/>
                </a:cubicBezTo>
                <a:cubicBezTo>
                  <a:pt x="3436" y="9570"/>
                  <a:pt x="3927" y="9983"/>
                  <a:pt x="4504" y="9983"/>
                </a:cubicBezTo>
                <a:cubicBezTo>
                  <a:pt x="5123" y="9983"/>
                  <a:pt x="5613" y="9570"/>
                  <a:pt x="5613" y="9049"/>
                </a:cubicBezTo>
                <a:close/>
                <a:moveTo>
                  <a:pt x="20362" y="8098"/>
                </a:moveTo>
                <a:cubicBezTo>
                  <a:pt x="20362" y="4184"/>
                  <a:pt x="16606" y="1023"/>
                  <a:pt x="11953" y="1023"/>
                </a:cubicBezTo>
                <a:cubicBezTo>
                  <a:pt x="9519" y="1023"/>
                  <a:pt x="7364" y="1885"/>
                  <a:pt x="5827" y="3268"/>
                </a:cubicBezTo>
                <a:cubicBezTo>
                  <a:pt x="5827" y="3268"/>
                  <a:pt x="5720" y="8924"/>
                  <a:pt x="13340" y="9049"/>
                </a:cubicBezTo>
                <a:cubicBezTo>
                  <a:pt x="18633" y="9049"/>
                  <a:pt x="18249" y="12820"/>
                  <a:pt x="18249" y="12820"/>
                </a:cubicBezTo>
                <a:cubicBezTo>
                  <a:pt x="19551" y="11563"/>
                  <a:pt x="20362" y="9911"/>
                  <a:pt x="20362" y="8098"/>
                </a:cubicBezTo>
                <a:close/>
                <a:moveTo>
                  <a:pt x="8281" y="4812"/>
                </a:moveTo>
                <a:cubicBezTo>
                  <a:pt x="8281" y="2963"/>
                  <a:pt x="10053" y="1454"/>
                  <a:pt x="12251" y="1454"/>
                </a:cubicBezTo>
                <a:cubicBezTo>
                  <a:pt x="14471" y="1454"/>
                  <a:pt x="16243" y="2927"/>
                  <a:pt x="16243" y="4794"/>
                </a:cubicBezTo>
                <a:cubicBezTo>
                  <a:pt x="16243" y="6643"/>
                  <a:pt x="14450" y="8152"/>
                  <a:pt x="12251" y="8152"/>
                </a:cubicBezTo>
                <a:cubicBezTo>
                  <a:pt x="10074" y="8152"/>
                  <a:pt x="8281" y="6661"/>
                  <a:pt x="8281" y="4812"/>
                </a:cubicBezTo>
                <a:close/>
                <a:moveTo>
                  <a:pt x="12764" y="5602"/>
                </a:moveTo>
                <a:cubicBezTo>
                  <a:pt x="12764" y="5835"/>
                  <a:pt x="12550" y="5997"/>
                  <a:pt x="12102" y="5997"/>
                </a:cubicBezTo>
                <a:cubicBezTo>
                  <a:pt x="11675" y="5997"/>
                  <a:pt x="11291" y="5871"/>
                  <a:pt x="11035" y="5764"/>
                </a:cubicBezTo>
                <a:lnTo>
                  <a:pt x="10821" y="6428"/>
                </a:lnTo>
                <a:cubicBezTo>
                  <a:pt x="11056" y="6554"/>
                  <a:pt x="11547" y="6661"/>
                  <a:pt x="11995" y="6661"/>
                </a:cubicBezTo>
                <a:lnTo>
                  <a:pt x="11995" y="7164"/>
                </a:lnTo>
                <a:lnTo>
                  <a:pt x="12550" y="7164"/>
                </a:lnTo>
                <a:lnTo>
                  <a:pt x="12550" y="6661"/>
                </a:lnTo>
                <a:cubicBezTo>
                  <a:pt x="13340" y="6500"/>
                  <a:pt x="13724" y="6069"/>
                  <a:pt x="13724" y="5566"/>
                </a:cubicBezTo>
                <a:cubicBezTo>
                  <a:pt x="13724" y="5045"/>
                  <a:pt x="13361" y="4722"/>
                  <a:pt x="12614" y="4489"/>
                </a:cubicBezTo>
                <a:cubicBezTo>
                  <a:pt x="12081" y="4291"/>
                  <a:pt x="11825" y="4219"/>
                  <a:pt x="11825" y="3968"/>
                </a:cubicBezTo>
                <a:cubicBezTo>
                  <a:pt x="11825" y="3806"/>
                  <a:pt x="12059" y="3627"/>
                  <a:pt x="12443" y="3627"/>
                </a:cubicBezTo>
                <a:cubicBezTo>
                  <a:pt x="12849" y="3627"/>
                  <a:pt x="13126" y="3735"/>
                  <a:pt x="13319" y="3806"/>
                </a:cubicBezTo>
                <a:lnTo>
                  <a:pt x="13553" y="3124"/>
                </a:lnTo>
                <a:cubicBezTo>
                  <a:pt x="13297" y="3016"/>
                  <a:pt x="12977" y="2945"/>
                  <a:pt x="12508" y="2945"/>
                </a:cubicBezTo>
                <a:lnTo>
                  <a:pt x="12508" y="2424"/>
                </a:lnTo>
                <a:lnTo>
                  <a:pt x="11974" y="2424"/>
                </a:lnTo>
                <a:lnTo>
                  <a:pt x="11974" y="2981"/>
                </a:lnTo>
                <a:cubicBezTo>
                  <a:pt x="11227" y="3106"/>
                  <a:pt x="10843" y="3501"/>
                  <a:pt x="10843" y="4022"/>
                </a:cubicBezTo>
                <a:cubicBezTo>
                  <a:pt x="10843" y="4579"/>
                  <a:pt x="11312" y="4884"/>
                  <a:pt x="12038" y="5099"/>
                </a:cubicBezTo>
                <a:cubicBezTo>
                  <a:pt x="12572" y="5243"/>
                  <a:pt x="12764" y="5351"/>
                  <a:pt x="12764" y="5602"/>
                </a:cubicBez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pSp>
        <p:nvGrpSpPr>
          <p:cNvPr id="408" name="Group 4">
            <a:extLst>
              <a:ext uri="{FF2B5EF4-FFF2-40B4-BE49-F238E27FC236}">
                <a16:creationId xmlns:a16="http://schemas.microsoft.com/office/drawing/2014/main" id="{CA2C8B54-7372-4D2E-81B6-28B2F744AB7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775087" y="1744358"/>
            <a:ext cx="511109" cy="554214"/>
            <a:chOff x="1682" y="0"/>
            <a:chExt cx="4316" cy="4320"/>
          </a:xfrm>
        </p:grpSpPr>
        <p:sp>
          <p:nvSpPr>
            <p:cNvPr id="409" name="AutoShape 3">
              <a:extLst>
                <a:ext uri="{FF2B5EF4-FFF2-40B4-BE49-F238E27FC236}">
                  <a16:creationId xmlns:a16="http://schemas.microsoft.com/office/drawing/2014/main" id="{988BC0F0-65C3-4CC8-9377-5D67ECB5196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0" name="Freeform 5">
              <a:extLst>
                <a:ext uri="{FF2B5EF4-FFF2-40B4-BE49-F238E27FC236}">
                  <a16:creationId xmlns:a16="http://schemas.microsoft.com/office/drawing/2014/main" id="{64C5D4C8-33CF-4E85-9812-59BEFD59E5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42" y="189"/>
              <a:ext cx="2200" cy="3880"/>
            </a:xfrm>
            <a:custGeom>
              <a:avLst/>
              <a:gdLst>
                <a:gd name="T0" fmla="*/ 3 w 1174"/>
                <a:gd name="T1" fmla="*/ 2050 h 2069"/>
                <a:gd name="T2" fmla="*/ 397 w 1174"/>
                <a:gd name="T3" fmla="*/ 1801 h 2069"/>
                <a:gd name="T4" fmla="*/ 590 w 1174"/>
                <a:gd name="T5" fmla="*/ 1892 h 2069"/>
                <a:gd name="T6" fmla="*/ 777 w 1174"/>
                <a:gd name="T7" fmla="*/ 1801 h 2069"/>
                <a:gd name="T8" fmla="*/ 1029 w 1174"/>
                <a:gd name="T9" fmla="*/ 1844 h 2069"/>
                <a:gd name="T10" fmla="*/ 1157 w 1174"/>
                <a:gd name="T11" fmla="*/ 2069 h 2069"/>
                <a:gd name="T12" fmla="*/ 323 w 1174"/>
                <a:gd name="T13" fmla="*/ 1430 h 2069"/>
                <a:gd name="T14" fmla="*/ 269 w 1174"/>
                <a:gd name="T15" fmla="*/ 1410 h 2069"/>
                <a:gd name="T16" fmla="*/ 416 w 1174"/>
                <a:gd name="T17" fmla="*/ 1686 h 2069"/>
                <a:gd name="T18" fmla="*/ 426 w 1174"/>
                <a:gd name="T19" fmla="*/ 1765 h 2069"/>
                <a:gd name="T20" fmla="*/ 470 w 1174"/>
                <a:gd name="T21" fmla="*/ 1810 h 2069"/>
                <a:gd name="T22" fmla="*/ 587 w 1174"/>
                <a:gd name="T23" fmla="*/ 1769 h 2069"/>
                <a:gd name="T24" fmla="*/ 704 w 1174"/>
                <a:gd name="T25" fmla="*/ 1810 h 2069"/>
                <a:gd name="T26" fmla="*/ 748 w 1174"/>
                <a:gd name="T27" fmla="*/ 1765 h 2069"/>
                <a:gd name="T28" fmla="*/ 758 w 1174"/>
                <a:gd name="T29" fmla="*/ 1686 h 2069"/>
                <a:gd name="T30" fmla="*/ 905 w 1174"/>
                <a:gd name="T31" fmla="*/ 1408 h 2069"/>
                <a:gd name="T32" fmla="*/ 850 w 1174"/>
                <a:gd name="T33" fmla="*/ 1432 h 2069"/>
                <a:gd name="T34" fmla="*/ 820 w 1174"/>
                <a:gd name="T35" fmla="*/ 1460 h 2069"/>
                <a:gd name="T36" fmla="*/ 587 w 1174"/>
                <a:gd name="T37" fmla="*/ 1725 h 2069"/>
                <a:gd name="T38" fmla="*/ 354 w 1174"/>
                <a:gd name="T39" fmla="*/ 1460 h 2069"/>
                <a:gd name="T40" fmla="*/ 323 w 1174"/>
                <a:gd name="T41" fmla="*/ 1430 h 2069"/>
                <a:gd name="T42" fmla="*/ 609 w 1174"/>
                <a:gd name="T43" fmla="*/ 619 h 2069"/>
                <a:gd name="T44" fmla="*/ 587 w 1174"/>
                <a:gd name="T45" fmla="*/ 893 h 2069"/>
                <a:gd name="T46" fmla="*/ 565 w 1174"/>
                <a:gd name="T47" fmla="*/ 619 h 2069"/>
                <a:gd name="T48" fmla="*/ 378 w 1174"/>
                <a:gd name="T49" fmla="*/ 116 h 2069"/>
                <a:gd name="T50" fmla="*/ 796 w 1174"/>
                <a:gd name="T51" fmla="*/ 533 h 2069"/>
                <a:gd name="T52" fmla="*/ 554 w 1174"/>
                <a:gd name="T53" fmla="*/ 188 h 2069"/>
                <a:gd name="T54" fmla="*/ 620 w 1174"/>
                <a:gd name="T55" fmla="*/ 188 h 2069"/>
                <a:gd name="T56" fmla="*/ 587 w 1174"/>
                <a:gd name="T57" fmla="*/ 108 h 2069"/>
                <a:gd name="T58" fmla="*/ 712 w 1174"/>
                <a:gd name="T59" fmla="*/ 494 h 2069"/>
                <a:gd name="T60" fmla="*/ 698 w 1174"/>
                <a:gd name="T61" fmla="*/ 215 h 2069"/>
                <a:gd name="T62" fmla="*/ 471 w 1174"/>
                <a:gd name="T63" fmla="*/ 219 h 2069"/>
                <a:gd name="T64" fmla="*/ 467 w 1174"/>
                <a:gd name="T65" fmla="*/ 499 h 2069"/>
                <a:gd name="T66" fmla="*/ 712 w 1174"/>
                <a:gd name="T67" fmla="*/ 494 h 20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74" h="2069">
                  <a:moveTo>
                    <a:pt x="17" y="2069"/>
                  </a:moveTo>
                  <a:cubicBezTo>
                    <a:pt x="7" y="2069"/>
                    <a:pt x="0" y="2060"/>
                    <a:pt x="3" y="2050"/>
                  </a:cubicBezTo>
                  <a:cubicBezTo>
                    <a:pt x="21" y="2002"/>
                    <a:pt x="73" y="1877"/>
                    <a:pt x="145" y="1844"/>
                  </a:cubicBezTo>
                  <a:cubicBezTo>
                    <a:pt x="233" y="1803"/>
                    <a:pt x="397" y="1801"/>
                    <a:pt x="397" y="1801"/>
                  </a:cubicBezTo>
                  <a:cubicBezTo>
                    <a:pt x="397" y="1801"/>
                    <a:pt x="397" y="1801"/>
                    <a:pt x="397" y="1801"/>
                  </a:cubicBezTo>
                  <a:cubicBezTo>
                    <a:pt x="397" y="1801"/>
                    <a:pt x="462" y="1892"/>
                    <a:pt x="590" y="1892"/>
                  </a:cubicBezTo>
                  <a:cubicBezTo>
                    <a:pt x="584" y="1892"/>
                    <a:pt x="584" y="1892"/>
                    <a:pt x="584" y="1892"/>
                  </a:cubicBezTo>
                  <a:cubicBezTo>
                    <a:pt x="712" y="1892"/>
                    <a:pt x="777" y="1801"/>
                    <a:pt x="777" y="1801"/>
                  </a:cubicBezTo>
                  <a:cubicBezTo>
                    <a:pt x="777" y="1801"/>
                    <a:pt x="777" y="1801"/>
                    <a:pt x="777" y="1801"/>
                  </a:cubicBezTo>
                  <a:cubicBezTo>
                    <a:pt x="777" y="1801"/>
                    <a:pt x="941" y="1803"/>
                    <a:pt x="1029" y="1844"/>
                  </a:cubicBezTo>
                  <a:cubicBezTo>
                    <a:pt x="1101" y="1877"/>
                    <a:pt x="1153" y="2002"/>
                    <a:pt x="1171" y="2050"/>
                  </a:cubicBezTo>
                  <a:cubicBezTo>
                    <a:pt x="1174" y="2060"/>
                    <a:pt x="1167" y="2069"/>
                    <a:pt x="1157" y="2069"/>
                  </a:cubicBezTo>
                  <a:lnTo>
                    <a:pt x="17" y="2069"/>
                  </a:lnTo>
                  <a:close/>
                  <a:moveTo>
                    <a:pt x="323" y="1430"/>
                  </a:moveTo>
                  <a:cubicBezTo>
                    <a:pt x="269" y="1404"/>
                    <a:pt x="269" y="1404"/>
                    <a:pt x="269" y="1404"/>
                  </a:cubicBezTo>
                  <a:cubicBezTo>
                    <a:pt x="269" y="1406"/>
                    <a:pt x="269" y="1408"/>
                    <a:pt x="269" y="1410"/>
                  </a:cubicBezTo>
                  <a:cubicBezTo>
                    <a:pt x="273" y="1429"/>
                    <a:pt x="283" y="1463"/>
                    <a:pt x="316" y="1483"/>
                  </a:cubicBezTo>
                  <a:cubicBezTo>
                    <a:pt x="335" y="1533"/>
                    <a:pt x="388" y="1661"/>
                    <a:pt x="416" y="1686"/>
                  </a:cubicBezTo>
                  <a:cubicBezTo>
                    <a:pt x="419" y="1688"/>
                    <a:pt x="422" y="1691"/>
                    <a:pt x="426" y="1694"/>
                  </a:cubicBezTo>
                  <a:cubicBezTo>
                    <a:pt x="426" y="1765"/>
                    <a:pt x="426" y="1765"/>
                    <a:pt x="426" y="1765"/>
                  </a:cubicBezTo>
                  <a:cubicBezTo>
                    <a:pt x="433" y="1775"/>
                    <a:pt x="433" y="1775"/>
                    <a:pt x="433" y="1775"/>
                  </a:cubicBezTo>
                  <a:cubicBezTo>
                    <a:pt x="434" y="1777"/>
                    <a:pt x="446" y="1793"/>
                    <a:pt x="470" y="1810"/>
                  </a:cubicBezTo>
                  <a:cubicBezTo>
                    <a:pt x="470" y="1725"/>
                    <a:pt x="470" y="1725"/>
                    <a:pt x="470" y="1725"/>
                  </a:cubicBezTo>
                  <a:cubicBezTo>
                    <a:pt x="506" y="1747"/>
                    <a:pt x="551" y="1769"/>
                    <a:pt x="587" y="1769"/>
                  </a:cubicBezTo>
                  <a:cubicBezTo>
                    <a:pt x="623" y="1769"/>
                    <a:pt x="668" y="1747"/>
                    <a:pt x="704" y="1725"/>
                  </a:cubicBezTo>
                  <a:cubicBezTo>
                    <a:pt x="704" y="1810"/>
                    <a:pt x="704" y="1810"/>
                    <a:pt x="704" y="1810"/>
                  </a:cubicBezTo>
                  <a:cubicBezTo>
                    <a:pt x="728" y="1793"/>
                    <a:pt x="740" y="1776"/>
                    <a:pt x="741" y="1775"/>
                  </a:cubicBezTo>
                  <a:cubicBezTo>
                    <a:pt x="748" y="1765"/>
                    <a:pt x="748" y="1765"/>
                    <a:pt x="748" y="1765"/>
                  </a:cubicBezTo>
                  <a:cubicBezTo>
                    <a:pt x="748" y="1694"/>
                    <a:pt x="748" y="1694"/>
                    <a:pt x="748" y="1694"/>
                  </a:cubicBezTo>
                  <a:cubicBezTo>
                    <a:pt x="752" y="1691"/>
                    <a:pt x="755" y="1688"/>
                    <a:pt x="758" y="1686"/>
                  </a:cubicBezTo>
                  <a:cubicBezTo>
                    <a:pt x="786" y="1661"/>
                    <a:pt x="839" y="1533"/>
                    <a:pt x="858" y="1483"/>
                  </a:cubicBezTo>
                  <a:cubicBezTo>
                    <a:pt x="893" y="1461"/>
                    <a:pt x="902" y="1424"/>
                    <a:pt x="905" y="1408"/>
                  </a:cubicBezTo>
                  <a:cubicBezTo>
                    <a:pt x="905" y="1407"/>
                    <a:pt x="905" y="1406"/>
                    <a:pt x="905" y="1405"/>
                  </a:cubicBezTo>
                  <a:cubicBezTo>
                    <a:pt x="850" y="1432"/>
                    <a:pt x="850" y="1432"/>
                    <a:pt x="850" y="1432"/>
                  </a:cubicBezTo>
                  <a:cubicBezTo>
                    <a:pt x="845" y="1438"/>
                    <a:pt x="839" y="1444"/>
                    <a:pt x="830" y="1448"/>
                  </a:cubicBezTo>
                  <a:cubicBezTo>
                    <a:pt x="826" y="1451"/>
                    <a:pt x="822" y="1455"/>
                    <a:pt x="820" y="1460"/>
                  </a:cubicBezTo>
                  <a:cubicBezTo>
                    <a:pt x="788" y="1543"/>
                    <a:pt x="744" y="1640"/>
                    <a:pt x="729" y="1653"/>
                  </a:cubicBezTo>
                  <a:cubicBezTo>
                    <a:pt x="701" y="1678"/>
                    <a:pt x="626" y="1725"/>
                    <a:pt x="587" y="1725"/>
                  </a:cubicBezTo>
                  <a:cubicBezTo>
                    <a:pt x="547" y="1725"/>
                    <a:pt x="473" y="1678"/>
                    <a:pt x="445" y="1653"/>
                  </a:cubicBezTo>
                  <a:cubicBezTo>
                    <a:pt x="430" y="1640"/>
                    <a:pt x="386" y="1543"/>
                    <a:pt x="354" y="1460"/>
                  </a:cubicBezTo>
                  <a:cubicBezTo>
                    <a:pt x="352" y="1455"/>
                    <a:pt x="348" y="1451"/>
                    <a:pt x="343" y="1448"/>
                  </a:cubicBezTo>
                  <a:cubicBezTo>
                    <a:pt x="334" y="1444"/>
                    <a:pt x="327" y="1437"/>
                    <a:pt x="323" y="1430"/>
                  </a:cubicBezTo>
                  <a:close/>
                  <a:moveTo>
                    <a:pt x="796" y="533"/>
                  </a:moveTo>
                  <a:cubicBezTo>
                    <a:pt x="744" y="585"/>
                    <a:pt x="677" y="614"/>
                    <a:pt x="609" y="619"/>
                  </a:cubicBezTo>
                  <a:cubicBezTo>
                    <a:pt x="609" y="894"/>
                    <a:pt x="609" y="894"/>
                    <a:pt x="609" y="894"/>
                  </a:cubicBezTo>
                  <a:cubicBezTo>
                    <a:pt x="602" y="893"/>
                    <a:pt x="594" y="893"/>
                    <a:pt x="587" y="893"/>
                  </a:cubicBezTo>
                  <a:cubicBezTo>
                    <a:pt x="580" y="893"/>
                    <a:pt x="572" y="893"/>
                    <a:pt x="565" y="894"/>
                  </a:cubicBezTo>
                  <a:cubicBezTo>
                    <a:pt x="565" y="619"/>
                    <a:pt x="565" y="619"/>
                    <a:pt x="565" y="619"/>
                  </a:cubicBezTo>
                  <a:cubicBezTo>
                    <a:pt x="497" y="614"/>
                    <a:pt x="430" y="585"/>
                    <a:pt x="378" y="533"/>
                  </a:cubicBezTo>
                  <a:cubicBezTo>
                    <a:pt x="263" y="418"/>
                    <a:pt x="263" y="231"/>
                    <a:pt x="378" y="116"/>
                  </a:cubicBezTo>
                  <a:cubicBezTo>
                    <a:pt x="493" y="0"/>
                    <a:pt x="681" y="0"/>
                    <a:pt x="796" y="116"/>
                  </a:cubicBezTo>
                  <a:cubicBezTo>
                    <a:pt x="911" y="231"/>
                    <a:pt x="911" y="418"/>
                    <a:pt x="796" y="533"/>
                  </a:cubicBezTo>
                  <a:close/>
                  <a:moveTo>
                    <a:pt x="522" y="188"/>
                  </a:moveTo>
                  <a:cubicBezTo>
                    <a:pt x="554" y="188"/>
                    <a:pt x="554" y="188"/>
                    <a:pt x="554" y="188"/>
                  </a:cubicBezTo>
                  <a:cubicBezTo>
                    <a:pt x="554" y="159"/>
                    <a:pt x="567" y="140"/>
                    <a:pt x="587" y="140"/>
                  </a:cubicBezTo>
                  <a:cubicBezTo>
                    <a:pt x="607" y="140"/>
                    <a:pt x="620" y="159"/>
                    <a:pt x="620" y="188"/>
                  </a:cubicBezTo>
                  <a:cubicBezTo>
                    <a:pt x="652" y="188"/>
                    <a:pt x="652" y="188"/>
                    <a:pt x="652" y="188"/>
                  </a:cubicBezTo>
                  <a:cubicBezTo>
                    <a:pt x="652" y="133"/>
                    <a:pt x="618" y="108"/>
                    <a:pt x="587" y="108"/>
                  </a:cubicBezTo>
                  <a:cubicBezTo>
                    <a:pt x="556" y="108"/>
                    <a:pt x="522" y="133"/>
                    <a:pt x="522" y="188"/>
                  </a:cubicBezTo>
                  <a:close/>
                  <a:moveTo>
                    <a:pt x="712" y="494"/>
                  </a:moveTo>
                  <a:cubicBezTo>
                    <a:pt x="703" y="219"/>
                    <a:pt x="703" y="219"/>
                    <a:pt x="703" y="219"/>
                  </a:cubicBezTo>
                  <a:cubicBezTo>
                    <a:pt x="703" y="217"/>
                    <a:pt x="701" y="215"/>
                    <a:pt x="698" y="215"/>
                  </a:cubicBezTo>
                  <a:cubicBezTo>
                    <a:pt x="476" y="215"/>
                    <a:pt x="476" y="215"/>
                    <a:pt x="476" y="215"/>
                  </a:cubicBezTo>
                  <a:cubicBezTo>
                    <a:pt x="473" y="215"/>
                    <a:pt x="471" y="217"/>
                    <a:pt x="471" y="219"/>
                  </a:cubicBezTo>
                  <a:cubicBezTo>
                    <a:pt x="462" y="494"/>
                    <a:pt x="462" y="494"/>
                    <a:pt x="462" y="494"/>
                  </a:cubicBezTo>
                  <a:cubicBezTo>
                    <a:pt x="462" y="497"/>
                    <a:pt x="464" y="499"/>
                    <a:pt x="467" y="499"/>
                  </a:cubicBezTo>
                  <a:cubicBezTo>
                    <a:pt x="707" y="499"/>
                    <a:pt x="707" y="499"/>
                    <a:pt x="707" y="499"/>
                  </a:cubicBezTo>
                  <a:cubicBezTo>
                    <a:pt x="710" y="499"/>
                    <a:pt x="712" y="497"/>
                    <a:pt x="712" y="49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1" name="Freeform 6">
              <a:extLst>
                <a:ext uri="{FF2B5EF4-FFF2-40B4-BE49-F238E27FC236}">
                  <a16:creationId xmlns:a16="http://schemas.microsoft.com/office/drawing/2014/main" id="{3E428315-3878-45A5-B15D-DF1552FBD1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08" y="739"/>
              <a:ext cx="4068" cy="2087"/>
            </a:xfrm>
            <a:custGeom>
              <a:avLst/>
              <a:gdLst>
                <a:gd name="T0" fmla="*/ 1382 w 2172"/>
                <a:gd name="T1" fmla="*/ 1064 h 1113"/>
                <a:gd name="T2" fmla="*/ 1324 w 2172"/>
                <a:gd name="T3" fmla="*/ 1113 h 1113"/>
                <a:gd name="T4" fmla="*/ 918 w 2172"/>
                <a:gd name="T5" fmla="*/ 896 h 1113"/>
                <a:gd name="T6" fmla="*/ 822 w 2172"/>
                <a:gd name="T7" fmla="*/ 1107 h 1113"/>
                <a:gd name="T8" fmla="*/ 791 w 2172"/>
                <a:gd name="T9" fmla="*/ 1068 h 1113"/>
                <a:gd name="T10" fmla="*/ 1086 w 2172"/>
                <a:gd name="T11" fmla="*/ 644 h 1113"/>
                <a:gd name="T12" fmla="*/ 1382 w 2172"/>
                <a:gd name="T13" fmla="*/ 1065 h 1113"/>
                <a:gd name="T14" fmla="*/ 244 w 2172"/>
                <a:gd name="T15" fmla="*/ 144 h 1113"/>
                <a:gd name="T16" fmla="*/ 237 w 2172"/>
                <a:gd name="T17" fmla="*/ 423 h 1113"/>
                <a:gd name="T18" fmla="*/ 404 w 2172"/>
                <a:gd name="T19" fmla="*/ 430 h 1113"/>
                <a:gd name="T20" fmla="*/ 411 w 2172"/>
                <a:gd name="T21" fmla="*/ 151 h 1113"/>
                <a:gd name="T22" fmla="*/ 323 w 2172"/>
                <a:gd name="T23" fmla="*/ 459 h 1113"/>
                <a:gd name="T24" fmla="*/ 323 w 2172"/>
                <a:gd name="T25" fmla="*/ 502 h 1113"/>
                <a:gd name="T26" fmla="*/ 323 w 2172"/>
                <a:gd name="T27" fmla="*/ 459 h 1113"/>
                <a:gd name="T28" fmla="*/ 531 w 2172"/>
                <a:gd name="T29" fmla="*/ 535 h 1113"/>
                <a:gd name="T30" fmla="*/ 115 w 2172"/>
                <a:gd name="T31" fmla="*/ 115 h 1113"/>
                <a:gd name="T32" fmla="*/ 560 w 2172"/>
                <a:gd name="T33" fmla="*/ 502 h 1113"/>
                <a:gd name="T34" fmla="*/ 805 w 2172"/>
                <a:gd name="T35" fmla="*/ 742 h 1113"/>
                <a:gd name="T36" fmla="*/ 424 w 2172"/>
                <a:gd name="T37" fmla="*/ 115 h 1113"/>
                <a:gd name="T38" fmla="*/ 208 w 2172"/>
                <a:gd name="T39" fmla="*/ 130 h 1113"/>
                <a:gd name="T40" fmla="*/ 223 w 2172"/>
                <a:gd name="T41" fmla="*/ 532 h 1113"/>
                <a:gd name="T42" fmla="*/ 439 w 2172"/>
                <a:gd name="T43" fmla="*/ 517 h 1113"/>
                <a:gd name="T44" fmla="*/ 1938 w 2172"/>
                <a:gd name="T45" fmla="*/ 278 h 1113"/>
                <a:gd name="T46" fmla="*/ 1871 w 2172"/>
                <a:gd name="T47" fmla="*/ 263 h 1113"/>
                <a:gd name="T48" fmla="*/ 1859 w 2172"/>
                <a:gd name="T49" fmla="*/ 201 h 1113"/>
                <a:gd name="T50" fmla="*/ 1849 w 2172"/>
                <a:gd name="T51" fmla="*/ 224 h 1113"/>
                <a:gd name="T52" fmla="*/ 1818 w 2172"/>
                <a:gd name="T53" fmla="*/ 260 h 1113"/>
                <a:gd name="T54" fmla="*/ 1820 w 2172"/>
                <a:gd name="T55" fmla="*/ 367 h 1113"/>
                <a:gd name="T56" fmla="*/ 1854 w 2172"/>
                <a:gd name="T57" fmla="*/ 378 h 1113"/>
                <a:gd name="T58" fmla="*/ 1907 w 2172"/>
                <a:gd name="T59" fmla="*/ 378 h 1113"/>
                <a:gd name="T60" fmla="*/ 1922 w 2172"/>
                <a:gd name="T61" fmla="*/ 364 h 1113"/>
                <a:gd name="T62" fmla="*/ 1914 w 2172"/>
                <a:gd name="T63" fmla="*/ 350 h 1113"/>
                <a:gd name="T64" fmla="*/ 1914 w 2172"/>
                <a:gd name="T65" fmla="*/ 321 h 1113"/>
                <a:gd name="T66" fmla="*/ 1933 w 2172"/>
                <a:gd name="T67" fmla="*/ 306 h 1113"/>
                <a:gd name="T68" fmla="*/ 1924 w 2172"/>
                <a:gd name="T69" fmla="*/ 292 h 1113"/>
                <a:gd name="T70" fmla="*/ 1807 w 2172"/>
                <a:gd name="T71" fmla="*/ 263 h 1113"/>
                <a:gd name="T72" fmla="*/ 1758 w 2172"/>
                <a:gd name="T73" fmla="*/ 268 h 1113"/>
                <a:gd name="T74" fmla="*/ 1762 w 2172"/>
                <a:gd name="T75" fmla="*/ 371 h 1113"/>
                <a:gd name="T76" fmla="*/ 1811 w 2172"/>
                <a:gd name="T77" fmla="*/ 367 h 1113"/>
                <a:gd name="T78" fmla="*/ 1807 w 2172"/>
                <a:gd name="T79" fmla="*/ 263 h 1113"/>
                <a:gd name="T80" fmla="*/ 1641 w 2172"/>
                <a:gd name="T81" fmla="*/ 535 h 1113"/>
                <a:gd name="T82" fmla="*/ 1339 w 2172"/>
                <a:gd name="T83" fmla="*/ 708 h 1113"/>
                <a:gd name="T84" fmla="*/ 1639 w 2172"/>
                <a:gd name="T85" fmla="*/ 115 h 1113"/>
                <a:gd name="T86" fmla="*/ 2057 w 2172"/>
                <a:gd name="T87" fmla="*/ 533 h 1113"/>
                <a:gd name="T88" fmla="*/ 1998 w 2172"/>
                <a:gd name="T89" fmla="*/ 171 h 1113"/>
                <a:gd name="T90" fmla="*/ 1681 w 2172"/>
                <a:gd name="T91" fmla="*/ 188 h 1113"/>
                <a:gd name="T92" fmla="*/ 1698 w 2172"/>
                <a:gd name="T93" fmla="*/ 421 h 1113"/>
                <a:gd name="T94" fmla="*/ 1776 w 2172"/>
                <a:gd name="T95" fmla="*/ 495 h 1113"/>
                <a:gd name="T96" fmla="*/ 1791 w 2172"/>
                <a:gd name="T97" fmla="*/ 511 h 1113"/>
                <a:gd name="T98" fmla="*/ 1813 w 2172"/>
                <a:gd name="T99" fmla="*/ 502 h 1113"/>
                <a:gd name="T100" fmla="*/ 1888 w 2172"/>
                <a:gd name="T101" fmla="*/ 421 h 1113"/>
                <a:gd name="T102" fmla="*/ 2015 w 2172"/>
                <a:gd name="T103" fmla="*/ 405 h 1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72" h="1113">
                  <a:moveTo>
                    <a:pt x="1382" y="1065"/>
                  </a:moveTo>
                  <a:cubicBezTo>
                    <a:pt x="1382" y="1064"/>
                    <a:pt x="1382" y="1064"/>
                    <a:pt x="1382" y="1064"/>
                  </a:cubicBezTo>
                  <a:cubicBezTo>
                    <a:pt x="1381" y="1065"/>
                    <a:pt x="1376" y="1080"/>
                    <a:pt x="1347" y="1113"/>
                  </a:cubicBezTo>
                  <a:cubicBezTo>
                    <a:pt x="1347" y="1113"/>
                    <a:pt x="1347" y="1113"/>
                    <a:pt x="1324" y="1113"/>
                  </a:cubicBezTo>
                  <a:cubicBezTo>
                    <a:pt x="1324" y="1113"/>
                    <a:pt x="1324" y="1102"/>
                    <a:pt x="1321" y="882"/>
                  </a:cubicBezTo>
                  <a:cubicBezTo>
                    <a:pt x="1287" y="1058"/>
                    <a:pt x="918" y="896"/>
                    <a:pt x="918" y="896"/>
                  </a:cubicBezTo>
                  <a:cubicBezTo>
                    <a:pt x="826" y="924"/>
                    <a:pt x="842" y="1109"/>
                    <a:pt x="842" y="1109"/>
                  </a:cubicBezTo>
                  <a:cubicBezTo>
                    <a:pt x="842" y="1109"/>
                    <a:pt x="842" y="1109"/>
                    <a:pt x="822" y="1107"/>
                  </a:cubicBezTo>
                  <a:cubicBezTo>
                    <a:pt x="822" y="1107"/>
                    <a:pt x="822" y="1096"/>
                    <a:pt x="791" y="1068"/>
                  </a:cubicBezTo>
                  <a:cubicBezTo>
                    <a:pt x="791" y="1068"/>
                    <a:pt x="791" y="1068"/>
                    <a:pt x="791" y="1068"/>
                  </a:cubicBezTo>
                  <a:cubicBezTo>
                    <a:pt x="779" y="1034"/>
                    <a:pt x="779" y="997"/>
                    <a:pt x="779" y="958"/>
                  </a:cubicBezTo>
                  <a:cubicBezTo>
                    <a:pt x="779" y="785"/>
                    <a:pt x="912" y="644"/>
                    <a:pt x="1086" y="644"/>
                  </a:cubicBezTo>
                  <a:cubicBezTo>
                    <a:pt x="1260" y="644"/>
                    <a:pt x="1393" y="785"/>
                    <a:pt x="1393" y="958"/>
                  </a:cubicBezTo>
                  <a:cubicBezTo>
                    <a:pt x="1393" y="996"/>
                    <a:pt x="1394" y="1031"/>
                    <a:pt x="1382" y="1065"/>
                  </a:cubicBezTo>
                  <a:close/>
                  <a:moveTo>
                    <a:pt x="404" y="144"/>
                  </a:moveTo>
                  <a:cubicBezTo>
                    <a:pt x="244" y="144"/>
                    <a:pt x="244" y="144"/>
                    <a:pt x="244" y="144"/>
                  </a:cubicBezTo>
                  <a:cubicBezTo>
                    <a:pt x="240" y="144"/>
                    <a:pt x="237" y="147"/>
                    <a:pt x="237" y="151"/>
                  </a:cubicBezTo>
                  <a:cubicBezTo>
                    <a:pt x="237" y="423"/>
                    <a:pt x="237" y="423"/>
                    <a:pt x="237" y="423"/>
                  </a:cubicBezTo>
                  <a:cubicBezTo>
                    <a:pt x="237" y="427"/>
                    <a:pt x="240" y="430"/>
                    <a:pt x="244" y="430"/>
                  </a:cubicBezTo>
                  <a:cubicBezTo>
                    <a:pt x="404" y="430"/>
                    <a:pt x="404" y="430"/>
                    <a:pt x="404" y="430"/>
                  </a:cubicBezTo>
                  <a:cubicBezTo>
                    <a:pt x="408" y="430"/>
                    <a:pt x="411" y="427"/>
                    <a:pt x="411" y="423"/>
                  </a:cubicBezTo>
                  <a:cubicBezTo>
                    <a:pt x="411" y="151"/>
                    <a:pt x="411" y="151"/>
                    <a:pt x="411" y="151"/>
                  </a:cubicBezTo>
                  <a:cubicBezTo>
                    <a:pt x="411" y="147"/>
                    <a:pt x="408" y="144"/>
                    <a:pt x="404" y="144"/>
                  </a:cubicBezTo>
                  <a:close/>
                  <a:moveTo>
                    <a:pt x="323" y="459"/>
                  </a:moveTo>
                  <a:cubicBezTo>
                    <a:pt x="311" y="459"/>
                    <a:pt x="302" y="469"/>
                    <a:pt x="302" y="481"/>
                  </a:cubicBezTo>
                  <a:cubicBezTo>
                    <a:pt x="302" y="493"/>
                    <a:pt x="311" y="502"/>
                    <a:pt x="323" y="502"/>
                  </a:cubicBezTo>
                  <a:cubicBezTo>
                    <a:pt x="335" y="502"/>
                    <a:pt x="345" y="493"/>
                    <a:pt x="345" y="481"/>
                  </a:cubicBezTo>
                  <a:cubicBezTo>
                    <a:pt x="345" y="469"/>
                    <a:pt x="335" y="459"/>
                    <a:pt x="323" y="459"/>
                  </a:cubicBezTo>
                  <a:close/>
                  <a:moveTo>
                    <a:pt x="805" y="742"/>
                  </a:moveTo>
                  <a:cubicBezTo>
                    <a:pt x="531" y="535"/>
                    <a:pt x="531" y="535"/>
                    <a:pt x="531" y="535"/>
                  </a:cubicBezTo>
                  <a:cubicBezTo>
                    <a:pt x="415" y="648"/>
                    <a:pt x="230" y="648"/>
                    <a:pt x="115" y="533"/>
                  </a:cubicBezTo>
                  <a:cubicBezTo>
                    <a:pt x="0" y="418"/>
                    <a:pt x="0" y="231"/>
                    <a:pt x="115" y="115"/>
                  </a:cubicBezTo>
                  <a:cubicBezTo>
                    <a:pt x="230" y="0"/>
                    <a:pt x="417" y="0"/>
                    <a:pt x="533" y="115"/>
                  </a:cubicBezTo>
                  <a:cubicBezTo>
                    <a:pt x="638" y="221"/>
                    <a:pt x="647" y="386"/>
                    <a:pt x="560" y="502"/>
                  </a:cubicBezTo>
                  <a:cubicBezTo>
                    <a:pt x="833" y="709"/>
                    <a:pt x="833" y="709"/>
                    <a:pt x="833" y="709"/>
                  </a:cubicBezTo>
                  <a:cubicBezTo>
                    <a:pt x="823" y="719"/>
                    <a:pt x="814" y="731"/>
                    <a:pt x="805" y="742"/>
                  </a:cubicBezTo>
                  <a:close/>
                  <a:moveTo>
                    <a:pt x="439" y="130"/>
                  </a:moveTo>
                  <a:cubicBezTo>
                    <a:pt x="439" y="121"/>
                    <a:pt x="432" y="115"/>
                    <a:pt x="424" y="115"/>
                  </a:cubicBezTo>
                  <a:cubicBezTo>
                    <a:pt x="223" y="115"/>
                    <a:pt x="223" y="115"/>
                    <a:pt x="223" y="115"/>
                  </a:cubicBezTo>
                  <a:cubicBezTo>
                    <a:pt x="214" y="115"/>
                    <a:pt x="208" y="121"/>
                    <a:pt x="208" y="130"/>
                  </a:cubicBezTo>
                  <a:cubicBezTo>
                    <a:pt x="208" y="517"/>
                    <a:pt x="208" y="517"/>
                    <a:pt x="208" y="517"/>
                  </a:cubicBezTo>
                  <a:cubicBezTo>
                    <a:pt x="208" y="525"/>
                    <a:pt x="214" y="532"/>
                    <a:pt x="223" y="532"/>
                  </a:cubicBezTo>
                  <a:cubicBezTo>
                    <a:pt x="424" y="532"/>
                    <a:pt x="424" y="532"/>
                    <a:pt x="424" y="532"/>
                  </a:cubicBezTo>
                  <a:cubicBezTo>
                    <a:pt x="432" y="532"/>
                    <a:pt x="439" y="525"/>
                    <a:pt x="439" y="517"/>
                  </a:cubicBezTo>
                  <a:lnTo>
                    <a:pt x="439" y="130"/>
                  </a:lnTo>
                  <a:close/>
                  <a:moveTo>
                    <a:pt x="1938" y="278"/>
                  </a:moveTo>
                  <a:cubicBezTo>
                    <a:pt x="1938" y="270"/>
                    <a:pt x="1932" y="263"/>
                    <a:pt x="1924" y="263"/>
                  </a:cubicBezTo>
                  <a:cubicBezTo>
                    <a:pt x="1871" y="263"/>
                    <a:pt x="1871" y="263"/>
                    <a:pt x="1871" y="263"/>
                  </a:cubicBezTo>
                  <a:cubicBezTo>
                    <a:pt x="1871" y="263"/>
                    <a:pt x="1880" y="247"/>
                    <a:pt x="1880" y="228"/>
                  </a:cubicBezTo>
                  <a:cubicBezTo>
                    <a:pt x="1880" y="228"/>
                    <a:pt x="1877" y="201"/>
                    <a:pt x="1859" y="201"/>
                  </a:cubicBezTo>
                  <a:cubicBezTo>
                    <a:pt x="1859" y="201"/>
                    <a:pt x="1849" y="199"/>
                    <a:pt x="1849" y="211"/>
                  </a:cubicBezTo>
                  <a:cubicBezTo>
                    <a:pt x="1849" y="224"/>
                    <a:pt x="1849" y="224"/>
                    <a:pt x="1849" y="224"/>
                  </a:cubicBezTo>
                  <a:cubicBezTo>
                    <a:pt x="1849" y="224"/>
                    <a:pt x="1849" y="242"/>
                    <a:pt x="1836" y="249"/>
                  </a:cubicBezTo>
                  <a:cubicBezTo>
                    <a:pt x="1831" y="252"/>
                    <a:pt x="1824" y="256"/>
                    <a:pt x="1818" y="260"/>
                  </a:cubicBezTo>
                  <a:cubicBezTo>
                    <a:pt x="1819" y="262"/>
                    <a:pt x="1820" y="265"/>
                    <a:pt x="1820" y="268"/>
                  </a:cubicBezTo>
                  <a:cubicBezTo>
                    <a:pt x="1820" y="367"/>
                    <a:pt x="1820" y="367"/>
                    <a:pt x="1820" y="367"/>
                  </a:cubicBezTo>
                  <a:cubicBezTo>
                    <a:pt x="1820" y="367"/>
                    <a:pt x="1820" y="368"/>
                    <a:pt x="1820" y="368"/>
                  </a:cubicBezTo>
                  <a:cubicBezTo>
                    <a:pt x="1835" y="378"/>
                    <a:pt x="1847" y="378"/>
                    <a:pt x="1854" y="378"/>
                  </a:cubicBezTo>
                  <a:cubicBezTo>
                    <a:pt x="1861" y="378"/>
                    <a:pt x="1880" y="378"/>
                    <a:pt x="1880" y="378"/>
                  </a:cubicBezTo>
                  <a:cubicBezTo>
                    <a:pt x="1907" y="378"/>
                    <a:pt x="1907" y="378"/>
                    <a:pt x="1907" y="378"/>
                  </a:cubicBezTo>
                  <a:cubicBezTo>
                    <a:pt x="1915" y="378"/>
                    <a:pt x="1922" y="372"/>
                    <a:pt x="1922" y="364"/>
                  </a:cubicBezTo>
                  <a:cubicBezTo>
                    <a:pt x="1922" y="364"/>
                    <a:pt x="1922" y="364"/>
                    <a:pt x="1922" y="364"/>
                  </a:cubicBezTo>
                  <a:cubicBezTo>
                    <a:pt x="1922" y="356"/>
                    <a:pt x="1915" y="350"/>
                    <a:pt x="1907" y="350"/>
                  </a:cubicBezTo>
                  <a:cubicBezTo>
                    <a:pt x="1914" y="350"/>
                    <a:pt x="1914" y="350"/>
                    <a:pt x="1914" y="350"/>
                  </a:cubicBezTo>
                  <a:cubicBezTo>
                    <a:pt x="1921" y="350"/>
                    <a:pt x="1928" y="343"/>
                    <a:pt x="1928" y="335"/>
                  </a:cubicBezTo>
                  <a:cubicBezTo>
                    <a:pt x="1928" y="327"/>
                    <a:pt x="1921" y="321"/>
                    <a:pt x="1914" y="321"/>
                  </a:cubicBezTo>
                  <a:cubicBezTo>
                    <a:pt x="1918" y="321"/>
                    <a:pt x="1918" y="321"/>
                    <a:pt x="1918" y="321"/>
                  </a:cubicBezTo>
                  <a:cubicBezTo>
                    <a:pt x="1926" y="321"/>
                    <a:pt x="1933" y="314"/>
                    <a:pt x="1933" y="306"/>
                  </a:cubicBezTo>
                  <a:cubicBezTo>
                    <a:pt x="1933" y="299"/>
                    <a:pt x="1927" y="293"/>
                    <a:pt x="1919" y="292"/>
                  </a:cubicBezTo>
                  <a:cubicBezTo>
                    <a:pt x="1924" y="292"/>
                    <a:pt x="1924" y="292"/>
                    <a:pt x="1924" y="292"/>
                  </a:cubicBezTo>
                  <a:cubicBezTo>
                    <a:pt x="1932" y="292"/>
                    <a:pt x="1938" y="286"/>
                    <a:pt x="1938" y="278"/>
                  </a:cubicBezTo>
                  <a:close/>
                  <a:moveTo>
                    <a:pt x="1807" y="263"/>
                  </a:moveTo>
                  <a:cubicBezTo>
                    <a:pt x="1762" y="263"/>
                    <a:pt x="1762" y="263"/>
                    <a:pt x="1762" y="263"/>
                  </a:cubicBezTo>
                  <a:cubicBezTo>
                    <a:pt x="1760" y="263"/>
                    <a:pt x="1758" y="265"/>
                    <a:pt x="1758" y="268"/>
                  </a:cubicBezTo>
                  <a:cubicBezTo>
                    <a:pt x="1758" y="367"/>
                    <a:pt x="1758" y="367"/>
                    <a:pt x="1758" y="367"/>
                  </a:cubicBezTo>
                  <a:cubicBezTo>
                    <a:pt x="1758" y="369"/>
                    <a:pt x="1760" y="371"/>
                    <a:pt x="1762" y="371"/>
                  </a:cubicBezTo>
                  <a:cubicBezTo>
                    <a:pt x="1807" y="371"/>
                    <a:pt x="1807" y="371"/>
                    <a:pt x="1807" y="371"/>
                  </a:cubicBezTo>
                  <a:cubicBezTo>
                    <a:pt x="1809" y="371"/>
                    <a:pt x="1811" y="369"/>
                    <a:pt x="1811" y="367"/>
                  </a:cubicBezTo>
                  <a:cubicBezTo>
                    <a:pt x="1811" y="268"/>
                    <a:pt x="1811" y="268"/>
                    <a:pt x="1811" y="268"/>
                  </a:cubicBezTo>
                  <a:cubicBezTo>
                    <a:pt x="1811" y="265"/>
                    <a:pt x="1809" y="263"/>
                    <a:pt x="1807" y="263"/>
                  </a:cubicBezTo>
                  <a:close/>
                  <a:moveTo>
                    <a:pt x="2057" y="533"/>
                  </a:moveTo>
                  <a:cubicBezTo>
                    <a:pt x="1942" y="648"/>
                    <a:pt x="1757" y="648"/>
                    <a:pt x="1641" y="535"/>
                  </a:cubicBezTo>
                  <a:cubicBezTo>
                    <a:pt x="1367" y="742"/>
                    <a:pt x="1367" y="742"/>
                    <a:pt x="1367" y="742"/>
                  </a:cubicBezTo>
                  <a:cubicBezTo>
                    <a:pt x="1359" y="730"/>
                    <a:pt x="1349" y="719"/>
                    <a:pt x="1339" y="708"/>
                  </a:cubicBezTo>
                  <a:cubicBezTo>
                    <a:pt x="1612" y="502"/>
                    <a:pt x="1612" y="502"/>
                    <a:pt x="1612" y="502"/>
                  </a:cubicBezTo>
                  <a:cubicBezTo>
                    <a:pt x="1525" y="386"/>
                    <a:pt x="1534" y="221"/>
                    <a:pt x="1639" y="115"/>
                  </a:cubicBezTo>
                  <a:cubicBezTo>
                    <a:pt x="1755" y="0"/>
                    <a:pt x="1942" y="0"/>
                    <a:pt x="2057" y="115"/>
                  </a:cubicBezTo>
                  <a:cubicBezTo>
                    <a:pt x="2172" y="231"/>
                    <a:pt x="2172" y="418"/>
                    <a:pt x="2057" y="533"/>
                  </a:cubicBezTo>
                  <a:close/>
                  <a:moveTo>
                    <a:pt x="2015" y="188"/>
                  </a:moveTo>
                  <a:cubicBezTo>
                    <a:pt x="2015" y="179"/>
                    <a:pt x="2007" y="171"/>
                    <a:pt x="1998" y="171"/>
                  </a:cubicBezTo>
                  <a:cubicBezTo>
                    <a:pt x="1698" y="171"/>
                    <a:pt x="1698" y="171"/>
                    <a:pt x="1698" y="171"/>
                  </a:cubicBezTo>
                  <a:cubicBezTo>
                    <a:pt x="1689" y="171"/>
                    <a:pt x="1681" y="179"/>
                    <a:pt x="1681" y="188"/>
                  </a:cubicBezTo>
                  <a:cubicBezTo>
                    <a:pt x="1681" y="405"/>
                    <a:pt x="1681" y="405"/>
                    <a:pt x="1681" y="405"/>
                  </a:cubicBezTo>
                  <a:cubicBezTo>
                    <a:pt x="1681" y="414"/>
                    <a:pt x="1689" y="421"/>
                    <a:pt x="1698" y="421"/>
                  </a:cubicBezTo>
                  <a:cubicBezTo>
                    <a:pt x="1776" y="421"/>
                    <a:pt x="1776" y="421"/>
                    <a:pt x="1776" y="421"/>
                  </a:cubicBezTo>
                  <a:cubicBezTo>
                    <a:pt x="1776" y="495"/>
                    <a:pt x="1776" y="495"/>
                    <a:pt x="1776" y="495"/>
                  </a:cubicBezTo>
                  <a:cubicBezTo>
                    <a:pt x="1776" y="496"/>
                    <a:pt x="1776" y="497"/>
                    <a:pt x="1777" y="498"/>
                  </a:cubicBezTo>
                  <a:cubicBezTo>
                    <a:pt x="1778" y="503"/>
                    <a:pt x="1783" y="510"/>
                    <a:pt x="1791" y="511"/>
                  </a:cubicBezTo>
                  <a:cubicBezTo>
                    <a:pt x="1792" y="512"/>
                    <a:pt x="1793" y="512"/>
                    <a:pt x="1794" y="512"/>
                  </a:cubicBezTo>
                  <a:cubicBezTo>
                    <a:pt x="1801" y="512"/>
                    <a:pt x="1807" y="508"/>
                    <a:pt x="1813" y="502"/>
                  </a:cubicBezTo>
                  <a:cubicBezTo>
                    <a:pt x="1817" y="498"/>
                    <a:pt x="1825" y="489"/>
                    <a:pt x="1835" y="478"/>
                  </a:cubicBezTo>
                  <a:cubicBezTo>
                    <a:pt x="1850" y="462"/>
                    <a:pt x="1869" y="440"/>
                    <a:pt x="1888" y="421"/>
                  </a:cubicBezTo>
                  <a:cubicBezTo>
                    <a:pt x="1998" y="421"/>
                    <a:pt x="1998" y="421"/>
                    <a:pt x="1998" y="421"/>
                  </a:cubicBezTo>
                  <a:cubicBezTo>
                    <a:pt x="2007" y="421"/>
                    <a:pt x="2015" y="414"/>
                    <a:pt x="2015" y="405"/>
                  </a:cubicBezTo>
                  <a:lnTo>
                    <a:pt x="2015" y="18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</p:grpSp>
      <p:sp>
        <p:nvSpPr>
          <p:cNvPr id="413" name="Shape 1393"/>
          <p:cNvSpPr/>
          <p:nvPr/>
        </p:nvSpPr>
        <p:spPr>
          <a:xfrm>
            <a:off x="2188637" y="462870"/>
            <a:ext cx="4482800" cy="38779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endParaRPr lang="en-US" altLang="de-DE" sz="2800" b="1" dirty="0">
              <a:solidFill>
                <a:srgbClr val="B52227"/>
              </a:solidFill>
              <a:latin typeface="Calibri" pitchFamily="34" charset="0"/>
              <a:ea typeface="+mj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35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Business Plan Development </a:t>
            </a:r>
          </a:p>
        </p:txBody>
      </p:sp>
    </p:spTree>
    <p:extLst>
      <p:ext uri="{BB962C8B-B14F-4D97-AF65-F5344CB8AC3E}">
        <p14:creationId xmlns:p14="http://schemas.microsoft.com/office/powerpoint/2010/main" val="4159920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1015"/>
          <p:cNvGrpSpPr/>
          <p:nvPr/>
        </p:nvGrpSpPr>
        <p:grpSpPr>
          <a:xfrm>
            <a:off x="657390" y="1975443"/>
            <a:ext cx="7810136" cy="3206004"/>
            <a:chOff x="0" y="1304942"/>
            <a:chExt cx="10674912" cy="4559651"/>
          </a:xfrm>
        </p:grpSpPr>
        <p:sp>
          <p:nvSpPr>
            <p:cNvPr id="6" name="Shape 947"/>
            <p:cNvSpPr/>
            <p:nvPr/>
          </p:nvSpPr>
          <p:spPr>
            <a:xfrm>
              <a:off x="2686152" y="1552873"/>
              <a:ext cx="2501303" cy="20382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cubicBezTo>
                    <a:pt x="10801" y="21600"/>
                    <a:pt x="10801" y="0"/>
                    <a:pt x="21600" y="0"/>
                  </a:cubicBezTo>
                </a:path>
              </a:pathLst>
            </a:custGeom>
            <a:noFill/>
            <a:ln w="38100" cap="flat">
              <a:solidFill>
                <a:schemeClr val="tx2"/>
              </a:solidFill>
              <a:prstDash val="solid"/>
              <a:miter lim="800000"/>
            </a:ln>
            <a:effectLst/>
          </p:spPr>
          <p:txBody>
            <a:bodyPr wrap="square" lIns="59013" tIns="59013" rIns="59013" bIns="59013" numCol="1" anchor="t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" name="Shape 957"/>
            <p:cNvSpPr/>
            <p:nvPr/>
          </p:nvSpPr>
          <p:spPr>
            <a:xfrm>
              <a:off x="2686152" y="3591707"/>
              <a:ext cx="2501303" cy="19369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cubicBezTo>
                    <a:pt x="10801" y="0"/>
                    <a:pt x="10801" y="21600"/>
                    <a:pt x="21600" y="21600"/>
                  </a:cubicBezTo>
                </a:path>
              </a:pathLst>
            </a:custGeom>
            <a:noFill/>
            <a:ln w="38100" cap="flat">
              <a:solidFill>
                <a:schemeClr val="tx2"/>
              </a:solidFill>
              <a:prstDash val="solid"/>
              <a:miter lim="800000"/>
            </a:ln>
            <a:effectLst/>
          </p:spPr>
          <p:txBody>
            <a:bodyPr wrap="square" lIns="59013" tIns="59013" rIns="59013" bIns="59013" numCol="1" anchor="t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8" name="Shape 959"/>
            <p:cNvSpPr/>
            <p:nvPr/>
          </p:nvSpPr>
          <p:spPr>
            <a:xfrm>
              <a:off x="5938904" y="5620703"/>
              <a:ext cx="1208760" cy="243890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noAutofit/>
            </a:bodyPr>
            <a:lstStyle>
              <a:lvl1pPr algn="l" defTabSz="590133">
                <a:lnSpc>
                  <a:spcPct val="93000"/>
                </a:lnSpc>
                <a:tabLst>
                  <a:tab pos="584200" algn="l"/>
                  <a:tab pos="1168400" algn="l"/>
                  <a:tab pos="1765300" algn="l"/>
                  <a:tab pos="2349500" algn="l"/>
                  <a:tab pos="2946400" algn="l"/>
                  <a:tab pos="3530600" algn="l"/>
                  <a:tab pos="4127500" algn="l"/>
                  <a:tab pos="4711700" algn="l"/>
                  <a:tab pos="5308600" algn="l"/>
                  <a:tab pos="5892800" algn="l"/>
                  <a:tab pos="6489700" algn="l"/>
                  <a:tab pos="7073900" algn="l"/>
                  <a:tab pos="7670800" algn="l"/>
                  <a:tab pos="8255000" algn="l"/>
                  <a:tab pos="8851900" algn="l"/>
                  <a:tab pos="9436100" algn="l"/>
                  <a:tab pos="10020300" algn="l"/>
                  <a:tab pos="10617200" algn="l"/>
                  <a:tab pos="11201400" algn="l"/>
                  <a:tab pos="11798300" algn="l"/>
                </a:tabLst>
                <a:defRPr sz="1400">
                  <a:solidFill>
                    <a:srgbClr val="726658"/>
                  </a:solidFill>
                  <a:latin typeface="Roboto Regular"/>
                  <a:ea typeface="Roboto Regular"/>
                  <a:cs typeface="Roboto Regular"/>
                  <a:sym typeface="Roboto Regular"/>
                </a:defRPr>
              </a:lvl1pPr>
            </a:lstStyle>
            <a:p>
              <a:endParaRPr dirty="0"/>
            </a:p>
          </p:txBody>
        </p:sp>
        <p:pic>
          <p:nvPicPr>
            <p:cNvPr id="9" name="image.png"/>
            <p:cNvPicPr>
              <a:picLocks noChangeAspect="1"/>
            </p:cNvPicPr>
            <p:nvPr/>
          </p:nvPicPr>
          <p:blipFill>
            <a:blip r:embed="rId2">
              <a:extLst/>
            </a:blip>
            <a:stretch>
              <a:fillRect/>
            </a:stretch>
          </p:blipFill>
          <p:spPr>
            <a:xfrm>
              <a:off x="287748" y="4927155"/>
              <a:ext cx="1908487" cy="693548"/>
            </a:xfrm>
            <a:prstGeom prst="rect">
              <a:avLst/>
            </a:prstGeom>
            <a:ln w="3175" cap="flat">
              <a:noFill/>
              <a:miter lim="400000"/>
            </a:ln>
            <a:effectLst/>
          </p:spPr>
        </p:pic>
        <p:sp>
          <p:nvSpPr>
            <p:cNvPr id="10" name="Shape 966"/>
            <p:cNvSpPr/>
            <p:nvPr/>
          </p:nvSpPr>
          <p:spPr>
            <a:xfrm>
              <a:off x="457933" y="4698432"/>
              <a:ext cx="262039" cy="5023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376" h="20932" extrusionOk="0">
                  <a:moveTo>
                    <a:pt x="1459" y="1972"/>
                  </a:moveTo>
                  <a:cubicBezTo>
                    <a:pt x="-763" y="3016"/>
                    <a:pt x="-187" y="4315"/>
                    <a:pt x="1459" y="6798"/>
                  </a:cubicBezTo>
                  <a:cubicBezTo>
                    <a:pt x="3063" y="9304"/>
                    <a:pt x="4215" y="9489"/>
                    <a:pt x="4215" y="9489"/>
                  </a:cubicBezTo>
                  <a:cubicBezTo>
                    <a:pt x="4215" y="9489"/>
                    <a:pt x="5984" y="11972"/>
                    <a:pt x="6108" y="13294"/>
                  </a:cubicBezTo>
                  <a:cubicBezTo>
                    <a:pt x="6190" y="14524"/>
                    <a:pt x="12608" y="19767"/>
                    <a:pt x="15159" y="20695"/>
                  </a:cubicBezTo>
                  <a:cubicBezTo>
                    <a:pt x="17710" y="21600"/>
                    <a:pt x="19891" y="19767"/>
                    <a:pt x="18986" y="17609"/>
                  </a:cubicBezTo>
                  <a:cubicBezTo>
                    <a:pt x="18039" y="15452"/>
                    <a:pt x="17587" y="9420"/>
                    <a:pt x="19232" y="6798"/>
                  </a:cubicBezTo>
                  <a:cubicBezTo>
                    <a:pt x="20837" y="4176"/>
                    <a:pt x="8535" y="0"/>
                    <a:pt x="8535" y="0"/>
                  </a:cubicBezTo>
                  <a:cubicBezTo>
                    <a:pt x="8535" y="0"/>
                    <a:pt x="3763" y="905"/>
                    <a:pt x="1459" y="1972"/>
                  </a:cubicBezTo>
                </a:path>
              </a:pathLst>
            </a:custGeom>
            <a:solidFill>
              <a:srgbClr val="0E504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1" name="Shape 967"/>
            <p:cNvSpPr/>
            <p:nvPr/>
          </p:nvSpPr>
          <p:spPr>
            <a:xfrm>
              <a:off x="1350500" y="5266878"/>
              <a:ext cx="498843" cy="26180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79" h="18282" extrusionOk="0">
                  <a:moveTo>
                    <a:pt x="870" y="1698"/>
                  </a:moveTo>
                  <a:cubicBezTo>
                    <a:pt x="870" y="1698"/>
                    <a:pt x="-687" y="12048"/>
                    <a:pt x="366" y="13806"/>
                  </a:cubicBezTo>
                  <a:cubicBezTo>
                    <a:pt x="1352" y="15603"/>
                    <a:pt x="4554" y="17478"/>
                    <a:pt x="6111" y="15017"/>
                  </a:cubicBezTo>
                  <a:cubicBezTo>
                    <a:pt x="7646" y="12595"/>
                    <a:pt x="7843" y="16228"/>
                    <a:pt x="7843" y="16228"/>
                  </a:cubicBezTo>
                  <a:cubicBezTo>
                    <a:pt x="7843" y="16228"/>
                    <a:pt x="13786" y="19001"/>
                    <a:pt x="17317" y="18103"/>
                  </a:cubicBezTo>
                  <a:cubicBezTo>
                    <a:pt x="20913" y="17243"/>
                    <a:pt x="19619" y="12283"/>
                    <a:pt x="17580" y="10056"/>
                  </a:cubicBezTo>
                  <a:cubicBezTo>
                    <a:pt x="15518" y="7869"/>
                    <a:pt x="10760" y="7322"/>
                    <a:pt x="9335" y="2479"/>
                  </a:cubicBezTo>
                  <a:cubicBezTo>
                    <a:pt x="7843" y="-2599"/>
                    <a:pt x="870" y="1698"/>
                    <a:pt x="870" y="1698"/>
                  </a:cubicBezTo>
                </a:path>
              </a:pathLst>
            </a:custGeom>
            <a:solidFill>
              <a:srgbClr val="0E504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2" name="Shape 968"/>
            <p:cNvSpPr/>
            <p:nvPr/>
          </p:nvSpPr>
          <p:spPr>
            <a:xfrm>
              <a:off x="541102" y="3906508"/>
              <a:ext cx="776573" cy="10225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65" h="21600" extrusionOk="0">
                  <a:moveTo>
                    <a:pt x="15423" y="1002"/>
                  </a:moveTo>
                  <a:cubicBezTo>
                    <a:pt x="15423" y="1002"/>
                    <a:pt x="13623" y="5565"/>
                    <a:pt x="11278" y="7593"/>
                  </a:cubicBezTo>
                  <a:cubicBezTo>
                    <a:pt x="8919" y="9621"/>
                    <a:pt x="872" y="15280"/>
                    <a:pt x="146" y="16011"/>
                  </a:cubicBezTo>
                  <a:cubicBezTo>
                    <a:pt x="-535" y="16742"/>
                    <a:pt x="1341" y="18947"/>
                    <a:pt x="2157" y="19772"/>
                  </a:cubicBezTo>
                  <a:cubicBezTo>
                    <a:pt x="2959" y="20610"/>
                    <a:pt x="5909" y="21600"/>
                    <a:pt x="5909" y="21600"/>
                  </a:cubicBezTo>
                  <a:lnTo>
                    <a:pt x="10734" y="17379"/>
                  </a:lnTo>
                  <a:lnTo>
                    <a:pt x="17480" y="12345"/>
                  </a:lnTo>
                  <a:lnTo>
                    <a:pt x="21065" y="8324"/>
                  </a:lnTo>
                  <a:lnTo>
                    <a:pt x="19522" y="0"/>
                  </a:lnTo>
                  <a:lnTo>
                    <a:pt x="15423" y="1002"/>
                  </a:lnTo>
                </a:path>
              </a:pathLst>
            </a:custGeom>
            <a:solidFill>
              <a:srgbClr val="1456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3" name="Shape 969"/>
            <p:cNvSpPr/>
            <p:nvPr/>
          </p:nvSpPr>
          <p:spPr>
            <a:xfrm>
              <a:off x="1000971" y="3667948"/>
              <a:ext cx="587238" cy="16988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cubicBezTo>
                    <a:pt x="0" y="0"/>
                    <a:pt x="4259" y="3384"/>
                    <a:pt x="5016" y="4526"/>
                  </a:cubicBezTo>
                  <a:cubicBezTo>
                    <a:pt x="5876" y="5788"/>
                    <a:pt x="6224" y="9534"/>
                    <a:pt x="7493" y="10094"/>
                  </a:cubicBezTo>
                  <a:cubicBezTo>
                    <a:pt x="8722" y="10655"/>
                    <a:pt x="8599" y="13939"/>
                    <a:pt x="9234" y="14875"/>
                  </a:cubicBezTo>
                  <a:cubicBezTo>
                    <a:pt x="9868" y="15819"/>
                    <a:pt x="12407" y="19401"/>
                    <a:pt x="12407" y="19401"/>
                  </a:cubicBezTo>
                  <a:lnTo>
                    <a:pt x="12469" y="21600"/>
                  </a:lnTo>
                  <a:cubicBezTo>
                    <a:pt x="12469" y="21600"/>
                    <a:pt x="15581" y="21543"/>
                    <a:pt x="18590" y="21444"/>
                  </a:cubicBezTo>
                  <a:cubicBezTo>
                    <a:pt x="21600" y="21323"/>
                    <a:pt x="21600" y="21323"/>
                    <a:pt x="21600" y="21323"/>
                  </a:cubicBezTo>
                  <a:cubicBezTo>
                    <a:pt x="21600" y="21323"/>
                    <a:pt x="20842" y="14875"/>
                    <a:pt x="20146" y="13393"/>
                  </a:cubicBezTo>
                  <a:cubicBezTo>
                    <a:pt x="19512" y="11917"/>
                    <a:pt x="17894" y="5909"/>
                    <a:pt x="17792" y="5306"/>
                  </a:cubicBezTo>
                  <a:cubicBezTo>
                    <a:pt x="17669" y="4710"/>
                    <a:pt x="16236" y="305"/>
                    <a:pt x="16236" y="305"/>
                  </a:cubicBezTo>
                  <a:lnTo>
                    <a:pt x="0" y="0"/>
                  </a:lnTo>
                </a:path>
              </a:pathLst>
            </a:custGeom>
            <a:solidFill>
              <a:srgbClr val="2D6CA3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4" name="Shape 970"/>
            <p:cNvSpPr/>
            <p:nvPr/>
          </p:nvSpPr>
          <p:spPr>
            <a:xfrm>
              <a:off x="1584696" y="2194773"/>
              <a:ext cx="507853" cy="132131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497" h="21539" extrusionOk="0">
                  <a:moveTo>
                    <a:pt x="1018" y="0"/>
                  </a:moveTo>
                  <a:cubicBezTo>
                    <a:pt x="1018" y="0"/>
                    <a:pt x="5654" y="1536"/>
                    <a:pt x="5654" y="4773"/>
                  </a:cubicBezTo>
                  <a:cubicBezTo>
                    <a:pt x="5654" y="7982"/>
                    <a:pt x="7705" y="9927"/>
                    <a:pt x="8367" y="10827"/>
                  </a:cubicBezTo>
                  <a:cubicBezTo>
                    <a:pt x="9029" y="11727"/>
                    <a:pt x="19455" y="17545"/>
                    <a:pt x="19455" y="17545"/>
                  </a:cubicBezTo>
                  <a:cubicBezTo>
                    <a:pt x="19455" y="17545"/>
                    <a:pt x="20246" y="20400"/>
                    <a:pt x="14926" y="21500"/>
                  </a:cubicBezTo>
                  <a:cubicBezTo>
                    <a:pt x="14456" y="21600"/>
                    <a:pt x="13238" y="21500"/>
                    <a:pt x="12533" y="21291"/>
                  </a:cubicBezTo>
                  <a:cubicBezTo>
                    <a:pt x="7213" y="18827"/>
                    <a:pt x="3175" y="15191"/>
                    <a:pt x="2449" y="13927"/>
                  </a:cubicBezTo>
                  <a:cubicBezTo>
                    <a:pt x="2449" y="13927"/>
                    <a:pt x="825" y="9536"/>
                    <a:pt x="1018" y="7900"/>
                  </a:cubicBezTo>
                  <a:cubicBezTo>
                    <a:pt x="1188" y="6255"/>
                    <a:pt x="-1354" y="1127"/>
                    <a:pt x="1018" y="0"/>
                  </a:cubicBezTo>
                </a:path>
              </a:pathLst>
            </a:custGeom>
            <a:solidFill>
              <a:srgbClr val="084A6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5" name="Shape 971"/>
            <p:cNvSpPr/>
            <p:nvPr/>
          </p:nvSpPr>
          <p:spPr>
            <a:xfrm>
              <a:off x="910549" y="2142967"/>
              <a:ext cx="790918" cy="16420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031" h="21184" extrusionOk="0">
                  <a:moveTo>
                    <a:pt x="229" y="3409"/>
                  </a:moveTo>
                  <a:cubicBezTo>
                    <a:pt x="229" y="3409"/>
                    <a:pt x="1698" y="2028"/>
                    <a:pt x="5004" y="1136"/>
                  </a:cubicBezTo>
                  <a:cubicBezTo>
                    <a:pt x="6402" y="769"/>
                    <a:pt x="9595" y="-252"/>
                    <a:pt x="11347" y="57"/>
                  </a:cubicBezTo>
                  <a:cubicBezTo>
                    <a:pt x="13099" y="359"/>
                    <a:pt x="16885" y="144"/>
                    <a:pt x="18085" y="949"/>
                  </a:cubicBezTo>
                  <a:cubicBezTo>
                    <a:pt x="19244" y="1762"/>
                    <a:pt x="20713" y="3855"/>
                    <a:pt x="19682" y="6315"/>
                  </a:cubicBezTo>
                  <a:cubicBezTo>
                    <a:pt x="18650" y="8768"/>
                    <a:pt x="17647" y="9739"/>
                    <a:pt x="17775" y="10695"/>
                  </a:cubicBezTo>
                  <a:cubicBezTo>
                    <a:pt x="17930" y="11674"/>
                    <a:pt x="16885" y="16781"/>
                    <a:pt x="17167" y="17536"/>
                  </a:cubicBezTo>
                  <a:cubicBezTo>
                    <a:pt x="17450" y="18284"/>
                    <a:pt x="16291" y="20737"/>
                    <a:pt x="14822" y="21039"/>
                  </a:cubicBezTo>
                  <a:cubicBezTo>
                    <a:pt x="13339" y="21348"/>
                    <a:pt x="8677" y="21132"/>
                    <a:pt x="6332" y="20679"/>
                  </a:cubicBezTo>
                  <a:cubicBezTo>
                    <a:pt x="3973" y="20233"/>
                    <a:pt x="780" y="20312"/>
                    <a:pt x="1500" y="18003"/>
                  </a:cubicBezTo>
                  <a:cubicBezTo>
                    <a:pt x="2221" y="15687"/>
                    <a:pt x="2970" y="9379"/>
                    <a:pt x="2659" y="7876"/>
                  </a:cubicBezTo>
                  <a:cubicBezTo>
                    <a:pt x="2419" y="6394"/>
                    <a:pt x="-887" y="3956"/>
                    <a:pt x="229" y="3409"/>
                  </a:cubicBezTo>
                </a:path>
              </a:pathLst>
            </a:custGeom>
            <a:solidFill>
              <a:srgbClr val="2D6CA3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6" name="Shape 972"/>
            <p:cNvSpPr/>
            <p:nvPr/>
          </p:nvSpPr>
          <p:spPr>
            <a:xfrm>
              <a:off x="978566" y="2181185"/>
              <a:ext cx="724726" cy="16155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843" h="21121" extrusionOk="0">
                  <a:moveTo>
                    <a:pt x="10580" y="4262"/>
                  </a:moveTo>
                  <a:cubicBezTo>
                    <a:pt x="10580" y="4262"/>
                    <a:pt x="12352" y="8338"/>
                    <a:pt x="13085" y="9694"/>
                  </a:cubicBezTo>
                  <a:cubicBezTo>
                    <a:pt x="13772" y="11051"/>
                    <a:pt x="14292" y="13253"/>
                    <a:pt x="14032" y="14347"/>
                  </a:cubicBezTo>
                  <a:cubicBezTo>
                    <a:pt x="13772" y="15412"/>
                    <a:pt x="13482" y="19401"/>
                    <a:pt x="12489" y="19773"/>
                  </a:cubicBezTo>
                  <a:cubicBezTo>
                    <a:pt x="10366" y="20553"/>
                    <a:pt x="2392" y="19707"/>
                    <a:pt x="635" y="19481"/>
                  </a:cubicBezTo>
                  <a:cubicBezTo>
                    <a:pt x="-1137" y="19255"/>
                    <a:pt x="1109" y="19999"/>
                    <a:pt x="3599" y="20494"/>
                  </a:cubicBezTo>
                  <a:cubicBezTo>
                    <a:pt x="6104" y="21005"/>
                    <a:pt x="9342" y="21027"/>
                    <a:pt x="10931" y="21107"/>
                  </a:cubicBezTo>
                  <a:cubicBezTo>
                    <a:pt x="13176" y="21231"/>
                    <a:pt x="16018" y="20494"/>
                    <a:pt x="16751" y="19875"/>
                  </a:cubicBezTo>
                  <a:cubicBezTo>
                    <a:pt x="17438" y="19255"/>
                    <a:pt x="17836" y="19196"/>
                    <a:pt x="17836" y="16484"/>
                  </a:cubicBezTo>
                  <a:cubicBezTo>
                    <a:pt x="17836" y="15908"/>
                    <a:pt x="17744" y="9694"/>
                    <a:pt x="18431" y="9016"/>
                  </a:cubicBezTo>
                  <a:cubicBezTo>
                    <a:pt x="19119" y="8338"/>
                    <a:pt x="20112" y="4772"/>
                    <a:pt x="19776" y="3481"/>
                  </a:cubicBezTo>
                  <a:cubicBezTo>
                    <a:pt x="19424" y="2183"/>
                    <a:pt x="20463" y="535"/>
                    <a:pt x="16109" y="39"/>
                  </a:cubicBezTo>
                  <a:cubicBezTo>
                    <a:pt x="12749" y="-369"/>
                    <a:pt x="9816" y="2490"/>
                    <a:pt x="10580" y="4262"/>
                  </a:cubicBezTo>
                </a:path>
              </a:pathLst>
            </a:custGeom>
            <a:solidFill>
              <a:srgbClr val="1456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7" name="Shape 973"/>
            <p:cNvSpPr/>
            <p:nvPr/>
          </p:nvSpPr>
          <p:spPr>
            <a:xfrm>
              <a:off x="958933" y="2296467"/>
              <a:ext cx="236231" cy="96266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038" h="20433" extrusionOk="0">
                  <a:moveTo>
                    <a:pt x="5276" y="20433"/>
                  </a:moveTo>
                  <a:cubicBezTo>
                    <a:pt x="5276" y="20433"/>
                    <a:pt x="8466" y="13549"/>
                    <a:pt x="10646" y="12175"/>
                  </a:cubicBezTo>
                  <a:cubicBezTo>
                    <a:pt x="12786" y="10800"/>
                    <a:pt x="19488" y="3513"/>
                    <a:pt x="16097" y="1606"/>
                  </a:cubicBezTo>
                  <a:cubicBezTo>
                    <a:pt x="12665" y="-302"/>
                    <a:pt x="4711" y="-1167"/>
                    <a:pt x="1279" y="2814"/>
                  </a:cubicBezTo>
                  <a:cubicBezTo>
                    <a:pt x="-2112" y="6760"/>
                    <a:pt x="2208" y="8419"/>
                    <a:pt x="3137" y="9627"/>
                  </a:cubicBezTo>
                  <a:cubicBezTo>
                    <a:pt x="4025" y="10824"/>
                    <a:pt x="4388" y="14580"/>
                    <a:pt x="4025" y="15990"/>
                  </a:cubicBezTo>
                  <a:cubicBezTo>
                    <a:pt x="3702" y="17293"/>
                    <a:pt x="5276" y="20433"/>
                    <a:pt x="5276" y="20433"/>
                  </a:cubicBezTo>
                </a:path>
              </a:pathLst>
            </a:custGeom>
            <a:solidFill>
              <a:srgbClr val="1456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8" name="Shape 974"/>
            <p:cNvSpPr/>
            <p:nvPr/>
          </p:nvSpPr>
          <p:spPr>
            <a:xfrm>
              <a:off x="424674" y="2341739"/>
              <a:ext cx="712440" cy="118872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873" h="20848" extrusionOk="0">
                  <a:moveTo>
                    <a:pt x="18729" y="164"/>
                  </a:moveTo>
                  <a:cubicBezTo>
                    <a:pt x="18729" y="164"/>
                    <a:pt x="21551" y="1515"/>
                    <a:pt x="20719" y="3697"/>
                  </a:cubicBezTo>
                  <a:cubicBezTo>
                    <a:pt x="20115" y="5293"/>
                    <a:pt x="17864" y="7974"/>
                    <a:pt x="15058" y="9550"/>
                  </a:cubicBezTo>
                  <a:cubicBezTo>
                    <a:pt x="13117" y="10626"/>
                    <a:pt x="10082" y="13612"/>
                    <a:pt x="9903" y="14766"/>
                  </a:cubicBezTo>
                  <a:cubicBezTo>
                    <a:pt x="9707" y="15872"/>
                    <a:pt x="7178" y="19435"/>
                    <a:pt x="6852" y="20345"/>
                  </a:cubicBezTo>
                  <a:cubicBezTo>
                    <a:pt x="6542" y="21265"/>
                    <a:pt x="49" y="20903"/>
                    <a:pt x="0" y="19415"/>
                  </a:cubicBezTo>
                  <a:cubicBezTo>
                    <a:pt x="-49" y="18143"/>
                    <a:pt x="5482" y="10460"/>
                    <a:pt x="5987" y="9550"/>
                  </a:cubicBezTo>
                  <a:cubicBezTo>
                    <a:pt x="6493" y="8640"/>
                    <a:pt x="13443" y="2180"/>
                    <a:pt x="14454" y="1260"/>
                  </a:cubicBezTo>
                  <a:cubicBezTo>
                    <a:pt x="15515" y="379"/>
                    <a:pt x="17946" y="-335"/>
                    <a:pt x="18729" y="164"/>
                  </a:cubicBezTo>
                </a:path>
              </a:pathLst>
            </a:custGeom>
            <a:solidFill>
              <a:srgbClr val="3A7CBA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9" name="Shape 975"/>
            <p:cNvSpPr/>
            <p:nvPr/>
          </p:nvSpPr>
          <p:spPr>
            <a:xfrm>
              <a:off x="1205100" y="2007027"/>
              <a:ext cx="306740" cy="40361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920" h="19940" extrusionOk="0">
                  <a:moveTo>
                    <a:pt x="2781" y="761"/>
                  </a:moveTo>
                  <a:cubicBezTo>
                    <a:pt x="3010" y="-1660"/>
                    <a:pt x="18895" y="2467"/>
                    <a:pt x="18895" y="2467"/>
                  </a:cubicBezTo>
                  <a:cubicBezTo>
                    <a:pt x="18895" y="2467"/>
                    <a:pt x="19429" y="9429"/>
                    <a:pt x="20533" y="11685"/>
                  </a:cubicBezTo>
                  <a:cubicBezTo>
                    <a:pt x="21600" y="13914"/>
                    <a:pt x="20419" y="19940"/>
                    <a:pt x="17524" y="19940"/>
                  </a:cubicBezTo>
                  <a:cubicBezTo>
                    <a:pt x="14590" y="19940"/>
                    <a:pt x="533" y="12236"/>
                    <a:pt x="0" y="10695"/>
                  </a:cubicBezTo>
                  <a:cubicBezTo>
                    <a:pt x="0" y="10695"/>
                    <a:pt x="2552" y="3155"/>
                    <a:pt x="2781" y="761"/>
                  </a:cubicBezTo>
                </a:path>
              </a:pathLst>
            </a:custGeom>
            <a:solidFill>
              <a:srgbClr val="CCDFAC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0" name="Shape 976"/>
            <p:cNvSpPr/>
            <p:nvPr/>
          </p:nvSpPr>
          <p:spPr>
            <a:xfrm>
              <a:off x="1214095" y="2022617"/>
              <a:ext cx="172762" cy="2324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33" h="18940" extrusionOk="0">
                  <a:moveTo>
                    <a:pt x="3115" y="0"/>
                  </a:moveTo>
                  <a:cubicBezTo>
                    <a:pt x="3115" y="0"/>
                    <a:pt x="15305" y="5854"/>
                    <a:pt x="16375" y="10982"/>
                  </a:cubicBezTo>
                  <a:cubicBezTo>
                    <a:pt x="17444" y="16109"/>
                    <a:pt x="13060" y="21600"/>
                    <a:pt x="4452" y="17516"/>
                  </a:cubicBezTo>
                  <a:cubicBezTo>
                    <a:pt x="-4156" y="13568"/>
                    <a:pt x="2206" y="11118"/>
                    <a:pt x="3115" y="0"/>
                  </a:cubicBezTo>
                </a:path>
              </a:pathLst>
            </a:custGeom>
            <a:solidFill>
              <a:srgbClr val="E1FFDC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1" name="Shape 977"/>
            <p:cNvSpPr/>
            <p:nvPr/>
          </p:nvSpPr>
          <p:spPr>
            <a:xfrm>
              <a:off x="1247290" y="1978551"/>
              <a:ext cx="258803" cy="3209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072" h="17645" extrusionOk="0">
                  <a:moveTo>
                    <a:pt x="70" y="2508"/>
                  </a:moveTo>
                  <a:cubicBezTo>
                    <a:pt x="70" y="2508"/>
                    <a:pt x="7490" y="16212"/>
                    <a:pt x="13744" y="17594"/>
                  </a:cubicBezTo>
                  <a:cubicBezTo>
                    <a:pt x="16386" y="18209"/>
                    <a:pt x="20543" y="13170"/>
                    <a:pt x="16153" y="4874"/>
                  </a:cubicBezTo>
                  <a:cubicBezTo>
                    <a:pt x="11802" y="-3391"/>
                    <a:pt x="-1057" y="1033"/>
                    <a:pt x="70" y="2508"/>
                  </a:cubicBezTo>
                </a:path>
              </a:pathLst>
            </a:custGeom>
            <a:solidFill>
              <a:srgbClr val="8BAC8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2" name="Shape 978"/>
            <p:cNvSpPr/>
            <p:nvPr/>
          </p:nvSpPr>
          <p:spPr>
            <a:xfrm>
              <a:off x="1204319" y="2140667"/>
              <a:ext cx="236327" cy="3265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439" h="21600" extrusionOk="0">
                  <a:moveTo>
                    <a:pt x="1729" y="0"/>
                  </a:moveTo>
                  <a:cubicBezTo>
                    <a:pt x="1729" y="0"/>
                    <a:pt x="-2161" y="6362"/>
                    <a:pt x="1729" y="10985"/>
                  </a:cubicBezTo>
                  <a:cubicBezTo>
                    <a:pt x="5619" y="15571"/>
                    <a:pt x="10881" y="21600"/>
                    <a:pt x="10881" y="21600"/>
                  </a:cubicBezTo>
                  <a:cubicBezTo>
                    <a:pt x="10881" y="21600"/>
                    <a:pt x="18386" y="15756"/>
                    <a:pt x="19439" y="12945"/>
                  </a:cubicBezTo>
                  <a:cubicBezTo>
                    <a:pt x="11293" y="9727"/>
                    <a:pt x="5207" y="6879"/>
                    <a:pt x="1729" y="0"/>
                  </a:cubicBezTo>
                </a:path>
              </a:pathLst>
            </a:custGeom>
            <a:solidFill>
              <a:srgbClr val="E3FFF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3" name="Shape 979"/>
            <p:cNvSpPr/>
            <p:nvPr/>
          </p:nvSpPr>
          <p:spPr>
            <a:xfrm>
              <a:off x="1318232" y="2300527"/>
              <a:ext cx="233922" cy="5405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13" h="21600" extrusionOk="0">
                  <a:moveTo>
                    <a:pt x="0" y="2647"/>
                  </a:moveTo>
                  <a:cubicBezTo>
                    <a:pt x="0" y="2647"/>
                    <a:pt x="1712" y="3960"/>
                    <a:pt x="3524" y="5717"/>
                  </a:cubicBezTo>
                  <a:cubicBezTo>
                    <a:pt x="5085" y="7163"/>
                    <a:pt x="6394" y="10433"/>
                    <a:pt x="7250" y="11879"/>
                  </a:cubicBezTo>
                  <a:cubicBezTo>
                    <a:pt x="10372" y="17018"/>
                    <a:pt x="14350" y="20288"/>
                    <a:pt x="15910" y="21600"/>
                  </a:cubicBezTo>
                  <a:cubicBezTo>
                    <a:pt x="19032" y="18152"/>
                    <a:pt x="21600" y="13814"/>
                    <a:pt x="20895" y="7408"/>
                  </a:cubicBezTo>
                  <a:cubicBezTo>
                    <a:pt x="20039" y="1001"/>
                    <a:pt x="17471" y="0"/>
                    <a:pt x="17471" y="0"/>
                  </a:cubicBezTo>
                  <a:cubicBezTo>
                    <a:pt x="17471" y="0"/>
                    <a:pt x="16313" y="2959"/>
                    <a:pt x="4985" y="133"/>
                  </a:cubicBezTo>
                  <a:lnTo>
                    <a:pt x="0" y="2647"/>
                  </a:lnTo>
                </a:path>
              </a:pathLst>
            </a:custGeom>
            <a:solidFill>
              <a:srgbClr val="E3FFF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4" name="Shape 980"/>
            <p:cNvSpPr/>
            <p:nvPr/>
          </p:nvSpPr>
          <p:spPr>
            <a:xfrm>
              <a:off x="1441201" y="2177140"/>
              <a:ext cx="113377" cy="2817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11" h="18640" extrusionOk="0">
                  <a:moveTo>
                    <a:pt x="0" y="10525"/>
                  </a:moveTo>
                  <a:cubicBezTo>
                    <a:pt x="0" y="10525"/>
                    <a:pt x="15648" y="16479"/>
                    <a:pt x="18624" y="18477"/>
                  </a:cubicBezTo>
                  <a:cubicBezTo>
                    <a:pt x="21600" y="20326"/>
                    <a:pt x="17568" y="5938"/>
                    <a:pt x="10272" y="1352"/>
                  </a:cubicBezTo>
                  <a:cubicBezTo>
                    <a:pt x="5952" y="-1274"/>
                    <a:pt x="4608" y="316"/>
                    <a:pt x="5952" y="2794"/>
                  </a:cubicBezTo>
                  <a:cubicBezTo>
                    <a:pt x="7584" y="6345"/>
                    <a:pt x="4032" y="9378"/>
                    <a:pt x="0" y="10525"/>
                  </a:cubicBezTo>
                </a:path>
              </a:pathLst>
            </a:custGeom>
            <a:solidFill>
              <a:srgbClr val="E3FFF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5" name="Shape 981"/>
            <p:cNvSpPr/>
            <p:nvPr/>
          </p:nvSpPr>
          <p:spPr>
            <a:xfrm>
              <a:off x="1337907" y="2334959"/>
              <a:ext cx="213408" cy="1519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64" y="21600"/>
                  </a:moveTo>
                  <a:lnTo>
                    <a:pt x="10602" y="5834"/>
                  </a:lnTo>
                  <a:lnTo>
                    <a:pt x="21487" y="21600"/>
                  </a:lnTo>
                  <a:lnTo>
                    <a:pt x="21600" y="16949"/>
                  </a:lnTo>
                  <a:lnTo>
                    <a:pt x="10602" y="0"/>
                  </a:lnTo>
                  <a:lnTo>
                    <a:pt x="0" y="18447"/>
                  </a:lnTo>
                  <a:lnTo>
                    <a:pt x="964" y="21600"/>
                  </a:lnTo>
                </a:path>
              </a:pathLst>
            </a:custGeom>
            <a:solidFill>
              <a:srgbClr val="75CBD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6" name="Shape 982"/>
            <p:cNvSpPr/>
            <p:nvPr/>
          </p:nvSpPr>
          <p:spPr>
            <a:xfrm>
              <a:off x="1396932" y="2357093"/>
              <a:ext cx="130169" cy="486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5709" h="21600" extrusionOk="0">
                  <a:moveTo>
                    <a:pt x="3970" y="544"/>
                  </a:moveTo>
                  <a:lnTo>
                    <a:pt x="0" y="3188"/>
                  </a:lnTo>
                  <a:lnTo>
                    <a:pt x="5316" y="4869"/>
                  </a:lnTo>
                  <a:cubicBezTo>
                    <a:pt x="5316" y="4869"/>
                    <a:pt x="7738" y="14359"/>
                    <a:pt x="6258" y="17769"/>
                  </a:cubicBezTo>
                  <a:lnTo>
                    <a:pt x="11574" y="21600"/>
                  </a:lnTo>
                  <a:cubicBezTo>
                    <a:pt x="11574" y="21600"/>
                    <a:pt x="21600" y="16237"/>
                    <a:pt x="10430" y="4869"/>
                  </a:cubicBezTo>
                  <a:lnTo>
                    <a:pt x="11574" y="2496"/>
                  </a:lnTo>
                  <a:lnTo>
                    <a:pt x="7940" y="0"/>
                  </a:lnTo>
                  <a:lnTo>
                    <a:pt x="3970" y="544"/>
                  </a:lnTo>
                </a:path>
              </a:pathLst>
            </a:custGeom>
            <a:solidFill>
              <a:srgbClr val="3F735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7" name="Shape 983"/>
            <p:cNvSpPr/>
            <p:nvPr/>
          </p:nvSpPr>
          <p:spPr>
            <a:xfrm>
              <a:off x="0" y="3572031"/>
              <a:ext cx="820879" cy="9782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000" y="0"/>
                  </a:moveTo>
                  <a:lnTo>
                    <a:pt x="2684" y="247"/>
                  </a:lnTo>
                  <a:lnTo>
                    <a:pt x="0" y="14499"/>
                  </a:lnTo>
                  <a:lnTo>
                    <a:pt x="16966" y="21600"/>
                  </a:lnTo>
                  <a:lnTo>
                    <a:pt x="19034" y="20725"/>
                  </a:lnTo>
                  <a:lnTo>
                    <a:pt x="21600" y="7015"/>
                  </a:lnTo>
                  <a:lnTo>
                    <a:pt x="5000" y="0"/>
                  </a:lnTo>
                </a:path>
              </a:pathLst>
            </a:custGeom>
            <a:solidFill>
              <a:srgbClr val="397B7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8" name="Shape 984"/>
            <p:cNvSpPr/>
            <p:nvPr/>
          </p:nvSpPr>
          <p:spPr>
            <a:xfrm>
              <a:off x="7378" y="3599085"/>
              <a:ext cx="727423" cy="9364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894" y="0"/>
                  </a:moveTo>
                  <a:lnTo>
                    <a:pt x="0" y="14276"/>
                  </a:lnTo>
                  <a:lnTo>
                    <a:pt x="18706" y="21600"/>
                  </a:lnTo>
                  <a:lnTo>
                    <a:pt x="21600" y="7311"/>
                  </a:lnTo>
                  <a:lnTo>
                    <a:pt x="2894" y="0"/>
                  </a:lnTo>
                </a:path>
              </a:pathLst>
            </a:custGeom>
            <a:solidFill>
              <a:srgbClr val="5D917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9" name="Shape 985"/>
            <p:cNvSpPr/>
            <p:nvPr/>
          </p:nvSpPr>
          <p:spPr>
            <a:xfrm>
              <a:off x="356267" y="3456136"/>
              <a:ext cx="254013" cy="3229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700" h="17862" extrusionOk="0">
                  <a:moveTo>
                    <a:pt x="18903" y="5378"/>
                  </a:moveTo>
                  <a:cubicBezTo>
                    <a:pt x="19040" y="3471"/>
                    <a:pt x="8240" y="-2160"/>
                    <a:pt x="6827" y="886"/>
                  </a:cubicBezTo>
                  <a:cubicBezTo>
                    <a:pt x="5414" y="3840"/>
                    <a:pt x="766" y="9963"/>
                    <a:pt x="128" y="11348"/>
                  </a:cubicBezTo>
                  <a:cubicBezTo>
                    <a:pt x="-373" y="12732"/>
                    <a:pt x="402" y="12486"/>
                    <a:pt x="5916" y="15440"/>
                  </a:cubicBezTo>
                  <a:cubicBezTo>
                    <a:pt x="11566" y="18394"/>
                    <a:pt x="13754" y="16548"/>
                    <a:pt x="15440" y="16640"/>
                  </a:cubicBezTo>
                  <a:cubicBezTo>
                    <a:pt x="16989" y="16732"/>
                    <a:pt x="20224" y="19440"/>
                    <a:pt x="20589" y="16486"/>
                  </a:cubicBezTo>
                  <a:cubicBezTo>
                    <a:pt x="21227" y="13625"/>
                    <a:pt x="18903" y="5378"/>
                    <a:pt x="18903" y="5378"/>
                  </a:cubicBezTo>
                </a:path>
              </a:pathLst>
            </a:custGeom>
            <a:solidFill>
              <a:srgbClr val="CBDEAC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" name="Shape 986"/>
            <p:cNvSpPr/>
            <p:nvPr/>
          </p:nvSpPr>
          <p:spPr>
            <a:xfrm>
              <a:off x="385028" y="3504465"/>
              <a:ext cx="163461" cy="22116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773" h="18718" extrusionOk="0">
                  <a:moveTo>
                    <a:pt x="17632" y="3046"/>
                  </a:moveTo>
                  <a:cubicBezTo>
                    <a:pt x="17451" y="-310"/>
                    <a:pt x="7254" y="-1775"/>
                    <a:pt x="4358" y="3330"/>
                  </a:cubicBezTo>
                  <a:cubicBezTo>
                    <a:pt x="1462" y="8387"/>
                    <a:pt x="-2822" y="12074"/>
                    <a:pt x="2608" y="15949"/>
                  </a:cubicBezTo>
                  <a:cubicBezTo>
                    <a:pt x="8280" y="19825"/>
                    <a:pt x="10452" y="19541"/>
                    <a:pt x="14555" y="15666"/>
                  </a:cubicBezTo>
                  <a:cubicBezTo>
                    <a:pt x="18778" y="11932"/>
                    <a:pt x="17632" y="3046"/>
                    <a:pt x="17632" y="3046"/>
                  </a:cubicBezTo>
                </a:path>
              </a:pathLst>
            </a:custGeom>
            <a:solidFill>
              <a:srgbClr val="E1FFDC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" name="Shape 987"/>
            <p:cNvSpPr/>
            <p:nvPr/>
          </p:nvSpPr>
          <p:spPr>
            <a:xfrm>
              <a:off x="412239" y="3408812"/>
              <a:ext cx="199591" cy="1727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37" h="16715" extrusionOk="0">
                  <a:moveTo>
                    <a:pt x="4151" y="733"/>
                  </a:moveTo>
                  <a:cubicBezTo>
                    <a:pt x="2894" y="4234"/>
                    <a:pt x="-1163" y="11237"/>
                    <a:pt x="323" y="13499"/>
                  </a:cubicBezTo>
                  <a:cubicBezTo>
                    <a:pt x="9637" y="18832"/>
                    <a:pt x="19351" y="15923"/>
                    <a:pt x="19351" y="15923"/>
                  </a:cubicBezTo>
                  <a:lnTo>
                    <a:pt x="20437" y="7413"/>
                  </a:lnTo>
                  <a:cubicBezTo>
                    <a:pt x="20437" y="7413"/>
                    <a:pt x="5466" y="-2768"/>
                    <a:pt x="4151" y="733"/>
                  </a:cubicBezTo>
                </a:path>
              </a:pathLst>
            </a:custGeom>
            <a:solidFill>
              <a:srgbClr val="E3FFF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" name="Shape 988"/>
            <p:cNvSpPr/>
            <p:nvPr/>
          </p:nvSpPr>
          <p:spPr>
            <a:xfrm>
              <a:off x="518930" y="3682916"/>
              <a:ext cx="53550" cy="1049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7147" extrusionOk="0">
                  <a:moveTo>
                    <a:pt x="4500" y="3020"/>
                  </a:moveTo>
                  <a:cubicBezTo>
                    <a:pt x="0" y="12225"/>
                    <a:pt x="0" y="15871"/>
                    <a:pt x="0" y="15871"/>
                  </a:cubicBezTo>
                  <a:lnTo>
                    <a:pt x="16425" y="17147"/>
                  </a:lnTo>
                  <a:lnTo>
                    <a:pt x="21600" y="4296"/>
                  </a:lnTo>
                  <a:cubicBezTo>
                    <a:pt x="21600" y="4296"/>
                    <a:pt x="15750" y="-4453"/>
                    <a:pt x="4500" y="3020"/>
                  </a:cubicBezTo>
                </a:path>
              </a:pathLst>
            </a:custGeom>
            <a:solidFill>
              <a:srgbClr val="397B7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" name="Shape 989"/>
            <p:cNvSpPr/>
            <p:nvPr/>
          </p:nvSpPr>
          <p:spPr>
            <a:xfrm>
              <a:off x="427933" y="2300692"/>
              <a:ext cx="715529" cy="12363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87" h="20732" extrusionOk="0">
                  <a:moveTo>
                    <a:pt x="20002" y="838"/>
                  </a:moveTo>
                  <a:cubicBezTo>
                    <a:pt x="18726" y="-828"/>
                    <a:pt x="15449" y="332"/>
                    <a:pt x="14723" y="1362"/>
                  </a:cubicBezTo>
                  <a:cubicBezTo>
                    <a:pt x="14126" y="2176"/>
                    <a:pt x="12350" y="3973"/>
                    <a:pt x="11252" y="5349"/>
                  </a:cubicBezTo>
                  <a:cubicBezTo>
                    <a:pt x="10203" y="6725"/>
                    <a:pt x="6022" y="9757"/>
                    <a:pt x="5424" y="10842"/>
                  </a:cubicBezTo>
                  <a:cubicBezTo>
                    <a:pt x="4827" y="11900"/>
                    <a:pt x="2373" y="15962"/>
                    <a:pt x="1921" y="16785"/>
                  </a:cubicBezTo>
                  <a:cubicBezTo>
                    <a:pt x="1469" y="17599"/>
                    <a:pt x="0" y="19265"/>
                    <a:pt x="0" y="19509"/>
                  </a:cubicBezTo>
                  <a:cubicBezTo>
                    <a:pt x="0" y="19714"/>
                    <a:pt x="452" y="19761"/>
                    <a:pt x="1921" y="20164"/>
                  </a:cubicBezTo>
                  <a:cubicBezTo>
                    <a:pt x="3374" y="20557"/>
                    <a:pt x="5021" y="20772"/>
                    <a:pt x="5796" y="20725"/>
                  </a:cubicBezTo>
                  <a:cubicBezTo>
                    <a:pt x="6570" y="20669"/>
                    <a:pt x="6409" y="20538"/>
                    <a:pt x="6877" y="20061"/>
                  </a:cubicBezTo>
                  <a:cubicBezTo>
                    <a:pt x="7329" y="19583"/>
                    <a:pt x="10945" y="14539"/>
                    <a:pt x="11623" y="13753"/>
                  </a:cubicBezTo>
                  <a:cubicBezTo>
                    <a:pt x="12301" y="12957"/>
                    <a:pt x="13625" y="10580"/>
                    <a:pt x="16999" y="8231"/>
                  </a:cubicBezTo>
                  <a:cubicBezTo>
                    <a:pt x="20325" y="5854"/>
                    <a:pt x="21600" y="2944"/>
                    <a:pt x="20002" y="838"/>
                  </a:cubicBezTo>
                </a:path>
              </a:pathLst>
            </a:custGeom>
            <a:solidFill>
              <a:srgbClr val="2D6CA3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" name="Shape 990"/>
            <p:cNvSpPr/>
            <p:nvPr/>
          </p:nvSpPr>
          <p:spPr>
            <a:xfrm>
              <a:off x="1173535" y="1617295"/>
              <a:ext cx="444543" cy="5720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974" h="16986" extrusionOk="0">
                  <a:moveTo>
                    <a:pt x="18888" y="11258"/>
                  </a:moveTo>
                  <a:cubicBezTo>
                    <a:pt x="18222" y="6289"/>
                    <a:pt x="15724" y="1998"/>
                    <a:pt x="15724" y="1998"/>
                  </a:cubicBezTo>
                  <a:cubicBezTo>
                    <a:pt x="4449" y="-4031"/>
                    <a:pt x="-2117" y="5129"/>
                    <a:pt x="619" y="9105"/>
                  </a:cubicBezTo>
                  <a:cubicBezTo>
                    <a:pt x="3045" y="12567"/>
                    <a:pt x="6946" y="15979"/>
                    <a:pt x="11966" y="16774"/>
                  </a:cubicBezTo>
                  <a:cubicBezTo>
                    <a:pt x="16938" y="17569"/>
                    <a:pt x="19483" y="16211"/>
                    <a:pt x="18888" y="11258"/>
                  </a:cubicBezTo>
                </a:path>
              </a:pathLst>
            </a:custGeom>
            <a:solidFill>
              <a:srgbClr val="E1FFDC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" name="Shape 991"/>
            <p:cNvSpPr/>
            <p:nvPr/>
          </p:nvSpPr>
          <p:spPr>
            <a:xfrm>
              <a:off x="1355123" y="1631574"/>
              <a:ext cx="267512" cy="5610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50" h="21446" extrusionOk="0">
                  <a:moveTo>
                    <a:pt x="20524" y="14265"/>
                  </a:moveTo>
                  <a:cubicBezTo>
                    <a:pt x="19276" y="7889"/>
                    <a:pt x="16480" y="1557"/>
                    <a:pt x="16480" y="1557"/>
                  </a:cubicBezTo>
                  <a:cubicBezTo>
                    <a:pt x="12994" y="235"/>
                    <a:pt x="7874" y="299"/>
                    <a:pt x="4862" y="0"/>
                  </a:cubicBezTo>
                  <a:cubicBezTo>
                    <a:pt x="5335" y="171"/>
                    <a:pt x="5938" y="362"/>
                    <a:pt x="6540" y="597"/>
                  </a:cubicBezTo>
                  <a:cubicBezTo>
                    <a:pt x="6540" y="597"/>
                    <a:pt x="10800" y="3007"/>
                    <a:pt x="12478" y="6973"/>
                  </a:cubicBezTo>
                  <a:cubicBezTo>
                    <a:pt x="12865" y="7825"/>
                    <a:pt x="11015" y="8231"/>
                    <a:pt x="11273" y="9147"/>
                  </a:cubicBezTo>
                  <a:cubicBezTo>
                    <a:pt x="11531" y="9915"/>
                    <a:pt x="11747" y="11664"/>
                    <a:pt x="12134" y="12516"/>
                  </a:cubicBezTo>
                  <a:cubicBezTo>
                    <a:pt x="14931" y="18892"/>
                    <a:pt x="8864" y="20577"/>
                    <a:pt x="0" y="19681"/>
                  </a:cubicBezTo>
                  <a:cubicBezTo>
                    <a:pt x="2410" y="20513"/>
                    <a:pt x="4862" y="21365"/>
                    <a:pt x="7745" y="21429"/>
                  </a:cubicBezTo>
                  <a:cubicBezTo>
                    <a:pt x="15662" y="21600"/>
                    <a:pt x="21600" y="20577"/>
                    <a:pt x="20524" y="14265"/>
                  </a:cubicBezTo>
                </a:path>
              </a:pathLst>
            </a:custGeom>
            <a:solidFill>
              <a:srgbClr val="CEE2B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" name="Shape 992"/>
            <p:cNvSpPr/>
            <p:nvPr/>
          </p:nvSpPr>
          <p:spPr>
            <a:xfrm>
              <a:off x="1109184" y="3648273"/>
              <a:ext cx="503618" cy="168707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388" extrusionOk="0">
                  <a:moveTo>
                    <a:pt x="0" y="1258"/>
                  </a:moveTo>
                  <a:cubicBezTo>
                    <a:pt x="0" y="1258"/>
                    <a:pt x="11482" y="2142"/>
                    <a:pt x="12439" y="3831"/>
                  </a:cubicBezTo>
                  <a:cubicBezTo>
                    <a:pt x="13371" y="5527"/>
                    <a:pt x="14185" y="9634"/>
                    <a:pt x="14711" y="10630"/>
                  </a:cubicBezTo>
                  <a:cubicBezTo>
                    <a:pt x="15261" y="11606"/>
                    <a:pt x="16218" y="12602"/>
                    <a:pt x="16003" y="13260"/>
                  </a:cubicBezTo>
                  <a:cubicBezTo>
                    <a:pt x="15811" y="13924"/>
                    <a:pt x="16888" y="17373"/>
                    <a:pt x="17366" y="18087"/>
                  </a:cubicBezTo>
                  <a:cubicBezTo>
                    <a:pt x="17821" y="18808"/>
                    <a:pt x="19926" y="20823"/>
                    <a:pt x="19591" y="21218"/>
                  </a:cubicBezTo>
                  <a:cubicBezTo>
                    <a:pt x="19184" y="21600"/>
                    <a:pt x="21600" y="21218"/>
                    <a:pt x="21600" y="21218"/>
                  </a:cubicBezTo>
                  <a:lnTo>
                    <a:pt x="20117" y="17550"/>
                  </a:lnTo>
                  <a:cubicBezTo>
                    <a:pt x="20117" y="17550"/>
                    <a:pt x="19375" y="13104"/>
                    <a:pt x="19041" y="12666"/>
                  </a:cubicBezTo>
                  <a:cubicBezTo>
                    <a:pt x="18634" y="12228"/>
                    <a:pt x="17342" y="6305"/>
                    <a:pt x="17151" y="5485"/>
                  </a:cubicBezTo>
                  <a:cubicBezTo>
                    <a:pt x="16936" y="4665"/>
                    <a:pt x="17414" y="1873"/>
                    <a:pt x="17414" y="1873"/>
                  </a:cubicBezTo>
                  <a:lnTo>
                    <a:pt x="16074" y="0"/>
                  </a:lnTo>
                  <a:lnTo>
                    <a:pt x="0" y="1258"/>
                  </a:lnTo>
                </a:path>
              </a:pathLst>
            </a:custGeom>
            <a:solidFill>
              <a:srgbClr val="1456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" name="Shape 993"/>
            <p:cNvSpPr/>
            <p:nvPr/>
          </p:nvSpPr>
          <p:spPr>
            <a:xfrm>
              <a:off x="557777" y="4141789"/>
              <a:ext cx="511500" cy="6997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15" h="19712" extrusionOk="0">
                  <a:moveTo>
                    <a:pt x="21415" y="112"/>
                  </a:moveTo>
                  <a:cubicBezTo>
                    <a:pt x="21415" y="112"/>
                    <a:pt x="20155" y="7652"/>
                    <a:pt x="17520" y="10574"/>
                  </a:cubicBezTo>
                  <a:cubicBezTo>
                    <a:pt x="14884" y="13512"/>
                    <a:pt x="8492" y="18240"/>
                    <a:pt x="5996" y="19481"/>
                  </a:cubicBezTo>
                  <a:cubicBezTo>
                    <a:pt x="3477" y="20722"/>
                    <a:pt x="212" y="16559"/>
                    <a:pt x="2" y="16198"/>
                  </a:cubicBezTo>
                  <a:cubicBezTo>
                    <a:pt x="-185" y="15836"/>
                    <a:pt x="14487" y="6929"/>
                    <a:pt x="15560" y="5955"/>
                  </a:cubicBezTo>
                  <a:cubicBezTo>
                    <a:pt x="16656" y="4981"/>
                    <a:pt x="21415" y="-878"/>
                    <a:pt x="21415" y="112"/>
                  </a:cubicBezTo>
                </a:path>
              </a:pathLst>
            </a:custGeom>
            <a:solidFill>
              <a:srgbClr val="2D6CA3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" name="Shape 994"/>
            <p:cNvSpPr/>
            <p:nvPr/>
          </p:nvSpPr>
          <p:spPr>
            <a:xfrm>
              <a:off x="1930583" y="3296580"/>
              <a:ext cx="162155" cy="2375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5187" h="19722" extrusionOk="0">
                  <a:moveTo>
                    <a:pt x="12808" y="0"/>
                  </a:moveTo>
                  <a:cubicBezTo>
                    <a:pt x="12808" y="0"/>
                    <a:pt x="2503" y="508"/>
                    <a:pt x="473" y="7662"/>
                  </a:cubicBezTo>
                  <a:cubicBezTo>
                    <a:pt x="-1609" y="14815"/>
                    <a:pt x="3700" y="21600"/>
                    <a:pt x="6354" y="19246"/>
                  </a:cubicBezTo>
                  <a:cubicBezTo>
                    <a:pt x="8853" y="16892"/>
                    <a:pt x="19991" y="6369"/>
                    <a:pt x="12808" y="0"/>
                  </a:cubicBezTo>
                </a:path>
              </a:pathLst>
            </a:custGeom>
            <a:solidFill>
              <a:srgbClr val="E3FFF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" name="Shape 995"/>
            <p:cNvSpPr/>
            <p:nvPr/>
          </p:nvSpPr>
          <p:spPr>
            <a:xfrm>
              <a:off x="1973882" y="3333470"/>
              <a:ext cx="221078" cy="3635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892" h="19030" extrusionOk="0">
                  <a:moveTo>
                    <a:pt x="443" y="2776"/>
                  </a:moveTo>
                  <a:cubicBezTo>
                    <a:pt x="443" y="2776"/>
                    <a:pt x="-1175" y="6153"/>
                    <a:pt x="1775" y="10083"/>
                  </a:cubicBezTo>
                  <a:cubicBezTo>
                    <a:pt x="4725" y="14042"/>
                    <a:pt x="9149" y="16545"/>
                    <a:pt x="8340" y="18030"/>
                  </a:cubicBezTo>
                  <a:cubicBezTo>
                    <a:pt x="7532" y="19427"/>
                    <a:pt x="16143" y="20184"/>
                    <a:pt x="18284" y="14537"/>
                  </a:cubicBezTo>
                  <a:cubicBezTo>
                    <a:pt x="20425" y="8860"/>
                    <a:pt x="16666" y="4668"/>
                    <a:pt x="10910" y="1291"/>
                  </a:cubicBezTo>
                  <a:cubicBezTo>
                    <a:pt x="6342" y="-1416"/>
                    <a:pt x="1394" y="651"/>
                    <a:pt x="443" y="2776"/>
                  </a:cubicBezTo>
                </a:path>
              </a:pathLst>
            </a:custGeom>
            <a:solidFill>
              <a:srgbClr val="CEE2B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40" name="Shape 996"/>
            <p:cNvSpPr/>
            <p:nvPr/>
          </p:nvSpPr>
          <p:spPr>
            <a:xfrm>
              <a:off x="2015086" y="3345767"/>
              <a:ext cx="180591" cy="2312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070" h="18675" extrusionOk="0">
                  <a:moveTo>
                    <a:pt x="4172" y="0"/>
                  </a:moveTo>
                  <a:cubicBezTo>
                    <a:pt x="4172" y="0"/>
                    <a:pt x="-3530" y="2300"/>
                    <a:pt x="1996" y="7891"/>
                  </a:cubicBezTo>
                  <a:cubicBezTo>
                    <a:pt x="7465" y="13483"/>
                    <a:pt x="10647" y="7846"/>
                    <a:pt x="12377" y="14746"/>
                  </a:cubicBezTo>
                  <a:cubicBezTo>
                    <a:pt x="14107" y="21600"/>
                    <a:pt x="18070" y="18083"/>
                    <a:pt x="18070" y="14746"/>
                  </a:cubicBezTo>
                  <a:cubicBezTo>
                    <a:pt x="18070" y="11454"/>
                    <a:pt x="14554" y="2796"/>
                    <a:pt x="4172" y="0"/>
                  </a:cubicBezTo>
                </a:path>
              </a:pathLst>
            </a:custGeom>
            <a:solidFill>
              <a:srgbClr val="DFFFD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41" name="Shape 997"/>
            <p:cNvSpPr/>
            <p:nvPr/>
          </p:nvSpPr>
          <p:spPr>
            <a:xfrm>
              <a:off x="1131945" y="1582672"/>
              <a:ext cx="463641" cy="4467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411" h="20461" extrusionOk="0">
                  <a:moveTo>
                    <a:pt x="19411" y="1462"/>
                  </a:moveTo>
                  <a:cubicBezTo>
                    <a:pt x="19411" y="1462"/>
                    <a:pt x="18430" y="8373"/>
                    <a:pt x="7362" y="8781"/>
                  </a:cubicBezTo>
                  <a:cubicBezTo>
                    <a:pt x="8156" y="10745"/>
                    <a:pt x="7899" y="16126"/>
                    <a:pt x="8809" y="18293"/>
                  </a:cubicBezTo>
                  <a:cubicBezTo>
                    <a:pt x="9136" y="19084"/>
                    <a:pt x="8086" y="18650"/>
                    <a:pt x="8086" y="18650"/>
                  </a:cubicBezTo>
                  <a:cubicBezTo>
                    <a:pt x="5447" y="15208"/>
                    <a:pt x="3672" y="17579"/>
                    <a:pt x="4933" y="20461"/>
                  </a:cubicBezTo>
                  <a:cubicBezTo>
                    <a:pt x="1687" y="19007"/>
                    <a:pt x="-2189" y="8781"/>
                    <a:pt x="1501" y="3910"/>
                  </a:cubicBezTo>
                  <a:cubicBezTo>
                    <a:pt x="6428" y="-1139"/>
                    <a:pt x="12826" y="-425"/>
                    <a:pt x="16726" y="1233"/>
                  </a:cubicBezTo>
                  <a:cubicBezTo>
                    <a:pt x="17520" y="1513"/>
                    <a:pt x="18827" y="1105"/>
                    <a:pt x="19411" y="1462"/>
                  </a:cubicBezTo>
                </a:path>
              </a:pathLst>
            </a:custGeom>
            <a:solidFill>
              <a:srgbClr val="00262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42" name="Shape 998"/>
            <p:cNvSpPr/>
            <p:nvPr/>
          </p:nvSpPr>
          <p:spPr>
            <a:xfrm>
              <a:off x="2347771" y="3397417"/>
              <a:ext cx="388025" cy="381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816"/>
                  </a:moveTo>
                  <a:cubicBezTo>
                    <a:pt x="21600" y="12779"/>
                    <a:pt x="21164" y="14494"/>
                    <a:pt x="20168" y="16208"/>
                  </a:cubicBezTo>
                  <a:cubicBezTo>
                    <a:pt x="19172" y="17953"/>
                    <a:pt x="17927" y="19169"/>
                    <a:pt x="16216" y="20166"/>
                  </a:cubicBezTo>
                  <a:cubicBezTo>
                    <a:pt x="14473" y="21164"/>
                    <a:pt x="12792" y="21600"/>
                    <a:pt x="10800" y="21600"/>
                  </a:cubicBezTo>
                  <a:cubicBezTo>
                    <a:pt x="8808" y="21600"/>
                    <a:pt x="7096" y="21164"/>
                    <a:pt x="5384" y="20166"/>
                  </a:cubicBezTo>
                  <a:cubicBezTo>
                    <a:pt x="3641" y="19169"/>
                    <a:pt x="2428" y="17953"/>
                    <a:pt x="1432" y="16208"/>
                  </a:cubicBezTo>
                  <a:cubicBezTo>
                    <a:pt x="436" y="14494"/>
                    <a:pt x="0" y="12779"/>
                    <a:pt x="0" y="10816"/>
                  </a:cubicBezTo>
                  <a:cubicBezTo>
                    <a:pt x="0" y="8821"/>
                    <a:pt x="436" y="7138"/>
                    <a:pt x="1432" y="5423"/>
                  </a:cubicBezTo>
                  <a:cubicBezTo>
                    <a:pt x="2428" y="3678"/>
                    <a:pt x="3641" y="2431"/>
                    <a:pt x="5384" y="1465"/>
                  </a:cubicBezTo>
                  <a:cubicBezTo>
                    <a:pt x="7096" y="468"/>
                    <a:pt x="8808" y="0"/>
                    <a:pt x="10800" y="0"/>
                  </a:cubicBezTo>
                  <a:cubicBezTo>
                    <a:pt x="12792" y="0"/>
                    <a:pt x="14473" y="468"/>
                    <a:pt x="16216" y="1465"/>
                  </a:cubicBezTo>
                  <a:cubicBezTo>
                    <a:pt x="17927" y="2431"/>
                    <a:pt x="19172" y="3678"/>
                    <a:pt x="20168" y="5423"/>
                  </a:cubicBezTo>
                  <a:cubicBezTo>
                    <a:pt x="21164" y="7138"/>
                    <a:pt x="21600" y="8821"/>
                    <a:pt x="21600" y="10816"/>
                  </a:cubicBezTo>
                </a:path>
              </a:pathLst>
            </a:custGeom>
            <a:solidFill>
              <a:schemeClr val="tx2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43" name="Shape 999"/>
            <p:cNvSpPr/>
            <p:nvPr/>
          </p:nvSpPr>
          <p:spPr>
            <a:xfrm>
              <a:off x="5202585" y="1433524"/>
              <a:ext cx="587238" cy="2847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51" y="3431"/>
                  </a:moveTo>
                  <a:cubicBezTo>
                    <a:pt x="8886" y="3431"/>
                    <a:pt x="7268" y="6776"/>
                    <a:pt x="7268" y="10842"/>
                  </a:cubicBezTo>
                  <a:cubicBezTo>
                    <a:pt x="7268" y="14908"/>
                    <a:pt x="8886" y="18254"/>
                    <a:pt x="10851" y="18254"/>
                  </a:cubicBezTo>
                  <a:cubicBezTo>
                    <a:pt x="12817" y="18254"/>
                    <a:pt x="14434" y="14908"/>
                    <a:pt x="14434" y="10842"/>
                  </a:cubicBezTo>
                  <a:cubicBezTo>
                    <a:pt x="14434" y="6776"/>
                    <a:pt x="12817" y="3431"/>
                    <a:pt x="10851" y="3431"/>
                  </a:cubicBezTo>
                  <a:close/>
                  <a:moveTo>
                    <a:pt x="11199" y="15289"/>
                  </a:moveTo>
                  <a:lnTo>
                    <a:pt x="11199" y="16602"/>
                  </a:lnTo>
                  <a:lnTo>
                    <a:pt x="10503" y="16602"/>
                  </a:lnTo>
                  <a:lnTo>
                    <a:pt x="10503" y="15416"/>
                  </a:lnTo>
                  <a:cubicBezTo>
                    <a:pt x="10155" y="15416"/>
                    <a:pt x="9582" y="15035"/>
                    <a:pt x="9357" y="14908"/>
                  </a:cubicBezTo>
                  <a:lnTo>
                    <a:pt x="9582" y="13256"/>
                  </a:lnTo>
                  <a:cubicBezTo>
                    <a:pt x="9807" y="13595"/>
                    <a:pt x="10278" y="13849"/>
                    <a:pt x="10687" y="13849"/>
                  </a:cubicBezTo>
                  <a:cubicBezTo>
                    <a:pt x="11138" y="13849"/>
                    <a:pt x="11363" y="13468"/>
                    <a:pt x="11363" y="12875"/>
                  </a:cubicBezTo>
                  <a:cubicBezTo>
                    <a:pt x="11363" y="12282"/>
                    <a:pt x="11199" y="12071"/>
                    <a:pt x="10687" y="11562"/>
                  </a:cubicBezTo>
                  <a:cubicBezTo>
                    <a:pt x="9930" y="11096"/>
                    <a:pt x="9459" y="10249"/>
                    <a:pt x="9459" y="8936"/>
                  </a:cubicBezTo>
                  <a:cubicBezTo>
                    <a:pt x="9459" y="7624"/>
                    <a:pt x="9868" y="6692"/>
                    <a:pt x="10565" y="6311"/>
                  </a:cubicBezTo>
                  <a:lnTo>
                    <a:pt x="10565" y="5125"/>
                  </a:lnTo>
                  <a:lnTo>
                    <a:pt x="11261" y="5125"/>
                  </a:lnTo>
                  <a:lnTo>
                    <a:pt x="11261" y="6311"/>
                  </a:lnTo>
                  <a:cubicBezTo>
                    <a:pt x="11609" y="6311"/>
                    <a:pt x="12018" y="6565"/>
                    <a:pt x="12243" y="6776"/>
                  </a:cubicBezTo>
                  <a:lnTo>
                    <a:pt x="12018" y="8471"/>
                  </a:lnTo>
                  <a:cubicBezTo>
                    <a:pt x="11834" y="8344"/>
                    <a:pt x="11486" y="8089"/>
                    <a:pt x="11076" y="8089"/>
                  </a:cubicBezTo>
                  <a:cubicBezTo>
                    <a:pt x="10687" y="8089"/>
                    <a:pt x="10442" y="8471"/>
                    <a:pt x="10442" y="8936"/>
                  </a:cubicBezTo>
                  <a:cubicBezTo>
                    <a:pt x="10442" y="9529"/>
                    <a:pt x="10687" y="9784"/>
                    <a:pt x="11261" y="10249"/>
                  </a:cubicBezTo>
                  <a:cubicBezTo>
                    <a:pt x="12018" y="10842"/>
                    <a:pt x="12407" y="11647"/>
                    <a:pt x="12407" y="12875"/>
                  </a:cubicBezTo>
                  <a:cubicBezTo>
                    <a:pt x="12407" y="14061"/>
                    <a:pt x="11834" y="15035"/>
                    <a:pt x="11199" y="15289"/>
                  </a:cubicBezTo>
                  <a:close/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  <a:lnTo>
                    <a:pt x="21600" y="0"/>
                  </a:lnTo>
                  <a:lnTo>
                    <a:pt x="0" y="0"/>
                  </a:lnTo>
                  <a:close/>
                  <a:moveTo>
                    <a:pt x="20617" y="6692"/>
                  </a:moveTo>
                  <a:lnTo>
                    <a:pt x="20617" y="14908"/>
                  </a:lnTo>
                  <a:cubicBezTo>
                    <a:pt x="19573" y="15501"/>
                    <a:pt x="18775" y="17322"/>
                    <a:pt x="18488" y="19101"/>
                  </a:cubicBezTo>
                  <a:lnTo>
                    <a:pt x="3173" y="19101"/>
                  </a:lnTo>
                  <a:cubicBezTo>
                    <a:pt x="2887" y="17322"/>
                    <a:pt x="2068" y="15501"/>
                    <a:pt x="1024" y="14908"/>
                  </a:cubicBezTo>
                  <a:lnTo>
                    <a:pt x="1024" y="6692"/>
                  </a:lnTo>
                  <a:cubicBezTo>
                    <a:pt x="2068" y="6056"/>
                    <a:pt x="2887" y="4405"/>
                    <a:pt x="3173" y="2245"/>
                  </a:cubicBezTo>
                  <a:lnTo>
                    <a:pt x="18488" y="2245"/>
                  </a:lnTo>
                  <a:cubicBezTo>
                    <a:pt x="18713" y="4405"/>
                    <a:pt x="19512" y="6184"/>
                    <a:pt x="20617" y="6692"/>
                  </a:cubicBezTo>
                  <a:close/>
                </a:path>
              </a:pathLst>
            </a:custGeom>
            <a:solidFill>
              <a:srgbClr val="355C7D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44" name="Shape 1000"/>
            <p:cNvSpPr/>
            <p:nvPr/>
          </p:nvSpPr>
          <p:spPr>
            <a:xfrm>
              <a:off x="5938904" y="1304942"/>
              <a:ext cx="4736008" cy="426808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noAutofit/>
            </a:bodyPr>
            <a:lstStyle>
              <a:lvl1pPr algn="l" defTabSz="590133">
                <a:lnSpc>
                  <a:spcPct val="93000"/>
                </a:lnSpc>
                <a:tabLst>
                  <a:tab pos="584200" algn="l"/>
                  <a:tab pos="1168400" algn="l"/>
                  <a:tab pos="1765300" algn="l"/>
                  <a:tab pos="2349500" algn="l"/>
                  <a:tab pos="2946400" algn="l"/>
                  <a:tab pos="3530600" algn="l"/>
                  <a:tab pos="4127500" algn="l"/>
                  <a:tab pos="4711700" algn="l"/>
                  <a:tab pos="5308600" algn="l"/>
                  <a:tab pos="5892800" algn="l"/>
                  <a:tab pos="6489700" algn="l"/>
                  <a:tab pos="7073900" algn="l"/>
                  <a:tab pos="7670800" algn="l"/>
                  <a:tab pos="8255000" algn="l"/>
                  <a:tab pos="8851900" algn="l"/>
                  <a:tab pos="9436100" algn="l"/>
                  <a:tab pos="10020300" algn="l"/>
                  <a:tab pos="10617200" algn="l"/>
                  <a:tab pos="11201400" algn="l"/>
                  <a:tab pos="11798300" algn="l"/>
                </a:tabLst>
                <a:defRPr sz="2400">
                  <a:solidFill>
                    <a:srgbClr val="726658"/>
                  </a:solidFill>
                  <a:latin typeface="Roboto Bold"/>
                  <a:ea typeface="Roboto Bold"/>
                  <a:cs typeface="Roboto Bold"/>
                  <a:sym typeface="Roboto Bold"/>
                </a:defRPr>
              </a:lvl1pPr>
            </a:lstStyle>
            <a:p>
              <a:r>
                <a:rPr lang="en-US" dirty="0" smtClean="0"/>
                <a:t>Open your own business </a:t>
              </a:r>
              <a:endParaRPr lang="en-US" dirty="0"/>
            </a:p>
          </p:txBody>
        </p:sp>
        <p:sp>
          <p:nvSpPr>
            <p:cNvPr id="45" name="Shape 1005"/>
            <p:cNvSpPr/>
            <p:nvPr/>
          </p:nvSpPr>
          <p:spPr>
            <a:xfrm>
              <a:off x="8475054" y="1552873"/>
              <a:ext cx="41253" cy="412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652"/>
                  </a:moveTo>
                  <a:cubicBezTo>
                    <a:pt x="21600" y="12723"/>
                    <a:pt x="21308" y="14499"/>
                    <a:pt x="20141" y="16274"/>
                  </a:cubicBezTo>
                  <a:cubicBezTo>
                    <a:pt x="19265" y="18049"/>
                    <a:pt x="17805" y="18937"/>
                    <a:pt x="16054" y="20121"/>
                  </a:cubicBezTo>
                  <a:cubicBezTo>
                    <a:pt x="14303" y="21008"/>
                    <a:pt x="12843" y="21600"/>
                    <a:pt x="10800" y="21600"/>
                  </a:cubicBezTo>
                  <a:cubicBezTo>
                    <a:pt x="8757" y="21600"/>
                    <a:pt x="7005" y="21008"/>
                    <a:pt x="5254" y="20121"/>
                  </a:cubicBezTo>
                  <a:cubicBezTo>
                    <a:pt x="3795" y="18937"/>
                    <a:pt x="2335" y="18049"/>
                    <a:pt x="1459" y="16274"/>
                  </a:cubicBezTo>
                  <a:cubicBezTo>
                    <a:pt x="584" y="14499"/>
                    <a:pt x="0" y="12427"/>
                    <a:pt x="0" y="10652"/>
                  </a:cubicBezTo>
                  <a:cubicBezTo>
                    <a:pt x="0" y="8581"/>
                    <a:pt x="584" y="7101"/>
                    <a:pt x="1459" y="5326"/>
                  </a:cubicBezTo>
                  <a:cubicBezTo>
                    <a:pt x="2335" y="3551"/>
                    <a:pt x="3795" y="2367"/>
                    <a:pt x="5254" y="1479"/>
                  </a:cubicBezTo>
                  <a:cubicBezTo>
                    <a:pt x="7005" y="296"/>
                    <a:pt x="8757" y="0"/>
                    <a:pt x="10800" y="0"/>
                  </a:cubicBezTo>
                  <a:cubicBezTo>
                    <a:pt x="12843" y="0"/>
                    <a:pt x="14303" y="296"/>
                    <a:pt x="16054" y="1479"/>
                  </a:cubicBezTo>
                  <a:cubicBezTo>
                    <a:pt x="17805" y="2367"/>
                    <a:pt x="19265" y="3551"/>
                    <a:pt x="20141" y="5326"/>
                  </a:cubicBezTo>
                  <a:cubicBezTo>
                    <a:pt x="21308" y="7101"/>
                    <a:pt x="21600" y="8877"/>
                    <a:pt x="21600" y="10652"/>
                  </a:cubicBezTo>
                </a:path>
              </a:pathLst>
            </a:custGeom>
            <a:solidFill>
              <a:srgbClr val="355C7D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sp>
        <p:nvSpPr>
          <p:cNvPr id="46" name="Rechteck 45"/>
          <p:cNvSpPr/>
          <p:nvPr/>
        </p:nvSpPr>
        <p:spPr>
          <a:xfrm>
            <a:off x="4900538" y="4790413"/>
            <a:ext cx="405110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rPr>
              <a:t>Start a </a:t>
            </a:r>
            <a:r>
              <a:rPr lang="de-DE" sz="2400" dirty="0" err="1" smtClean="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rPr>
              <a:t>career</a:t>
            </a:r>
            <a:r>
              <a:rPr lang="de-DE" sz="2400" dirty="0" smtClean="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rPr>
              <a:t> in a </a:t>
            </a:r>
            <a:r>
              <a:rPr lang="de-DE" sz="2400" dirty="0" err="1" smtClean="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rPr>
              <a:t>company</a:t>
            </a:r>
            <a:r>
              <a:rPr lang="de-DE" sz="2400" dirty="0" smtClean="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rPr>
              <a:t> </a:t>
            </a:r>
            <a:endParaRPr lang="de-DE" sz="2400" dirty="0">
              <a:solidFill>
                <a:srgbClr val="726658"/>
              </a:solidFill>
              <a:latin typeface="Roboto Bold"/>
              <a:ea typeface="Roboto Bold"/>
              <a:cs typeface="Roboto Bold"/>
              <a:sym typeface="Roboto Bold"/>
            </a:endParaRPr>
          </a:p>
        </p:txBody>
      </p:sp>
      <p:grpSp>
        <p:nvGrpSpPr>
          <p:cNvPr id="47" name="bcgIcons_Bank">
            <a:extLst>
              <a:ext uri="{FF2B5EF4-FFF2-40B4-BE49-F238E27FC236}">
                <a16:creationId xmlns:a16="http://schemas.microsoft.com/office/drawing/2014/main" id="{B9CD3580-432D-4508-8A81-DA65CF6E70D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463781" y="4727375"/>
            <a:ext cx="521216" cy="565174"/>
            <a:chOff x="1682" y="0"/>
            <a:chExt cx="4316" cy="4320"/>
          </a:xfrm>
        </p:grpSpPr>
        <p:sp>
          <p:nvSpPr>
            <p:cNvPr id="48" name="AutoShape 3">
              <a:extLst>
                <a:ext uri="{FF2B5EF4-FFF2-40B4-BE49-F238E27FC236}">
                  <a16:creationId xmlns:a16="http://schemas.microsoft.com/office/drawing/2014/main" id="{9C346E6B-E788-44C6-9740-941EE2A207B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9" name="Freeform 5">
              <a:extLst>
                <a:ext uri="{FF2B5EF4-FFF2-40B4-BE49-F238E27FC236}">
                  <a16:creationId xmlns:a16="http://schemas.microsoft.com/office/drawing/2014/main" id="{61EEF2F3-5E32-48A7-A4F8-F3841294A9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24" y="418"/>
              <a:ext cx="3428" cy="3454"/>
            </a:xfrm>
            <a:custGeom>
              <a:avLst/>
              <a:gdLst>
                <a:gd name="T0" fmla="*/ 1807 w 1830"/>
                <a:gd name="T1" fmla="*/ 1666 h 1842"/>
                <a:gd name="T2" fmla="*/ 1708 w 1830"/>
                <a:gd name="T3" fmla="*/ 1666 h 1842"/>
                <a:gd name="T4" fmla="*/ 1708 w 1830"/>
                <a:gd name="T5" fmla="*/ 1616 h 1842"/>
                <a:gd name="T6" fmla="*/ 1686 w 1830"/>
                <a:gd name="T7" fmla="*/ 1594 h 1842"/>
                <a:gd name="T8" fmla="*/ 144 w 1830"/>
                <a:gd name="T9" fmla="*/ 1594 h 1842"/>
                <a:gd name="T10" fmla="*/ 122 w 1830"/>
                <a:gd name="T11" fmla="*/ 1616 h 1842"/>
                <a:gd name="T12" fmla="*/ 122 w 1830"/>
                <a:gd name="T13" fmla="*/ 1666 h 1842"/>
                <a:gd name="T14" fmla="*/ 23 w 1830"/>
                <a:gd name="T15" fmla="*/ 1666 h 1842"/>
                <a:gd name="T16" fmla="*/ 1 w 1830"/>
                <a:gd name="T17" fmla="*/ 1688 h 1842"/>
                <a:gd name="T18" fmla="*/ 1 w 1830"/>
                <a:gd name="T19" fmla="*/ 1820 h 1842"/>
                <a:gd name="T20" fmla="*/ 23 w 1830"/>
                <a:gd name="T21" fmla="*/ 1842 h 1842"/>
                <a:gd name="T22" fmla="*/ 1807 w 1830"/>
                <a:gd name="T23" fmla="*/ 1842 h 1842"/>
                <a:gd name="T24" fmla="*/ 1829 w 1830"/>
                <a:gd name="T25" fmla="*/ 1820 h 1842"/>
                <a:gd name="T26" fmla="*/ 1829 w 1830"/>
                <a:gd name="T27" fmla="*/ 1688 h 1842"/>
                <a:gd name="T28" fmla="*/ 1807 w 1830"/>
                <a:gd name="T29" fmla="*/ 1666 h 1842"/>
                <a:gd name="T30" fmla="*/ 1818 w 1830"/>
                <a:gd name="T31" fmla="*/ 441 h 1842"/>
                <a:gd name="T32" fmla="*/ 925 w 1830"/>
                <a:gd name="T33" fmla="*/ 3 h 1842"/>
                <a:gd name="T34" fmla="*/ 905 w 1830"/>
                <a:gd name="T35" fmla="*/ 3 h 1842"/>
                <a:gd name="T36" fmla="*/ 12 w 1830"/>
                <a:gd name="T37" fmla="*/ 441 h 1842"/>
                <a:gd name="T38" fmla="*/ 0 w 1830"/>
                <a:gd name="T39" fmla="*/ 461 h 1842"/>
                <a:gd name="T40" fmla="*/ 0 w 1830"/>
                <a:gd name="T41" fmla="*/ 533 h 1842"/>
                <a:gd name="T42" fmla="*/ 22 w 1830"/>
                <a:gd name="T43" fmla="*/ 555 h 1842"/>
                <a:gd name="T44" fmla="*/ 169 w 1830"/>
                <a:gd name="T45" fmla="*/ 555 h 1842"/>
                <a:gd name="T46" fmla="*/ 169 w 1830"/>
                <a:gd name="T47" fmla="*/ 641 h 1842"/>
                <a:gd name="T48" fmla="*/ 191 w 1830"/>
                <a:gd name="T49" fmla="*/ 663 h 1842"/>
                <a:gd name="T50" fmla="*/ 1639 w 1830"/>
                <a:gd name="T51" fmla="*/ 663 h 1842"/>
                <a:gd name="T52" fmla="*/ 1661 w 1830"/>
                <a:gd name="T53" fmla="*/ 641 h 1842"/>
                <a:gd name="T54" fmla="*/ 1661 w 1830"/>
                <a:gd name="T55" fmla="*/ 555 h 1842"/>
                <a:gd name="T56" fmla="*/ 1808 w 1830"/>
                <a:gd name="T57" fmla="*/ 555 h 1842"/>
                <a:gd name="T58" fmla="*/ 1830 w 1830"/>
                <a:gd name="T59" fmla="*/ 533 h 1842"/>
                <a:gd name="T60" fmla="*/ 1830 w 1830"/>
                <a:gd name="T61" fmla="*/ 461 h 1842"/>
                <a:gd name="T62" fmla="*/ 1818 w 1830"/>
                <a:gd name="T63" fmla="*/ 441 h 1842"/>
                <a:gd name="T64" fmla="*/ 1617 w 1830"/>
                <a:gd name="T65" fmla="*/ 619 h 1842"/>
                <a:gd name="T66" fmla="*/ 213 w 1830"/>
                <a:gd name="T67" fmla="*/ 619 h 1842"/>
                <a:gd name="T68" fmla="*/ 213 w 1830"/>
                <a:gd name="T69" fmla="*/ 555 h 1842"/>
                <a:gd name="T70" fmla="*/ 1617 w 1830"/>
                <a:gd name="T71" fmla="*/ 555 h 1842"/>
                <a:gd name="T72" fmla="*/ 1617 w 1830"/>
                <a:gd name="T73" fmla="*/ 619 h 1842"/>
                <a:gd name="T74" fmla="*/ 1786 w 1830"/>
                <a:gd name="T75" fmla="*/ 511 h 1842"/>
                <a:gd name="T76" fmla="*/ 1661 w 1830"/>
                <a:gd name="T77" fmla="*/ 511 h 1842"/>
                <a:gd name="T78" fmla="*/ 1617 w 1830"/>
                <a:gd name="T79" fmla="*/ 511 h 1842"/>
                <a:gd name="T80" fmla="*/ 213 w 1830"/>
                <a:gd name="T81" fmla="*/ 511 h 1842"/>
                <a:gd name="T82" fmla="*/ 169 w 1830"/>
                <a:gd name="T83" fmla="*/ 511 h 1842"/>
                <a:gd name="T84" fmla="*/ 44 w 1830"/>
                <a:gd name="T85" fmla="*/ 511 h 1842"/>
                <a:gd name="T86" fmla="*/ 44 w 1830"/>
                <a:gd name="T87" fmla="*/ 474 h 1842"/>
                <a:gd name="T88" fmla="*/ 915 w 1830"/>
                <a:gd name="T89" fmla="*/ 47 h 1842"/>
                <a:gd name="T90" fmla="*/ 1786 w 1830"/>
                <a:gd name="T91" fmla="*/ 474 h 1842"/>
                <a:gd name="T92" fmla="*/ 1786 w 1830"/>
                <a:gd name="T93" fmla="*/ 511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830" h="1842">
                  <a:moveTo>
                    <a:pt x="1807" y="1666"/>
                  </a:moveTo>
                  <a:cubicBezTo>
                    <a:pt x="1708" y="1666"/>
                    <a:pt x="1708" y="1666"/>
                    <a:pt x="1708" y="1666"/>
                  </a:cubicBezTo>
                  <a:cubicBezTo>
                    <a:pt x="1708" y="1616"/>
                    <a:pt x="1708" y="1616"/>
                    <a:pt x="1708" y="1616"/>
                  </a:cubicBezTo>
                  <a:cubicBezTo>
                    <a:pt x="1708" y="1603"/>
                    <a:pt x="1699" y="1594"/>
                    <a:pt x="1686" y="1594"/>
                  </a:cubicBezTo>
                  <a:cubicBezTo>
                    <a:pt x="144" y="1594"/>
                    <a:pt x="144" y="1594"/>
                    <a:pt x="144" y="1594"/>
                  </a:cubicBezTo>
                  <a:cubicBezTo>
                    <a:pt x="131" y="1594"/>
                    <a:pt x="122" y="1603"/>
                    <a:pt x="122" y="1616"/>
                  </a:cubicBezTo>
                  <a:cubicBezTo>
                    <a:pt x="122" y="1666"/>
                    <a:pt x="122" y="1666"/>
                    <a:pt x="122" y="1666"/>
                  </a:cubicBezTo>
                  <a:cubicBezTo>
                    <a:pt x="23" y="1666"/>
                    <a:pt x="23" y="1666"/>
                    <a:pt x="23" y="1666"/>
                  </a:cubicBezTo>
                  <a:cubicBezTo>
                    <a:pt x="11" y="1666"/>
                    <a:pt x="1" y="1675"/>
                    <a:pt x="1" y="1688"/>
                  </a:cubicBezTo>
                  <a:cubicBezTo>
                    <a:pt x="1" y="1820"/>
                    <a:pt x="1" y="1820"/>
                    <a:pt x="1" y="1820"/>
                  </a:cubicBezTo>
                  <a:cubicBezTo>
                    <a:pt x="1" y="1832"/>
                    <a:pt x="11" y="1842"/>
                    <a:pt x="23" y="1842"/>
                  </a:cubicBezTo>
                  <a:cubicBezTo>
                    <a:pt x="1807" y="1842"/>
                    <a:pt x="1807" y="1842"/>
                    <a:pt x="1807" y="1842"/>
                  </a:cubicBezTo>
                  <a:cubicBezTo>
                    <a:pt x="1819" y="1842"/>
                    <a:pt x="1829" y="1832"/>
                    <a:pt x="1829" y="1820"/>
                  </a:cubicBezTo>
                  <a:cubicBezTo>
                    <a:pt x="1829" y="1688"/>
                    <a:pt x="1829" y="1688"/>
                    <a:pt x="1829" y="1688"/>
                  </a:cubicBezTo>
                  <a:cubicBezTo>
                    <a:pt x="1829" y="1675"/>
                    <a:pt x="1819" y="1666"/>
                    <a:pt x="1807" y="1666"/>
                  </a:cubicBezTo>
                  <a:close/>
                  <a:moveTo>
                    <a:pt x="1818" y="441"/>
                  </a:moveTo>
                  <a:cubicBezTo>
                    <a:pt x="925" y="3"/>
                    <a:pt x="925" y="3"/>
                    <a:pt x="925" y="3"/>
                  </a:cubicBezTo>
                  <a:cubicBezTo>
                    <a:pt x="919" y="0"/>
                    <a:pt x="911" y="0"/>
                    <a:pt x="905" y="3"/>
                  </a:cubicBezTo>
                  <a:cubicBezTo>
                    <a:pt x="12" y="441"/>
                    <a:pt x="12" y="441"/>
                    <a:pt x="12" y="441"/>
                  </a:cubicBezTo>
                  <a:cubicBezTo>
                    <a:pt x="5" y="445"/>
                    <a:pt x="0" y="452"/>
                    <a:pt x="0" y="461"/>
                  </a:cubicBezTo>
                  <a:cubicBezTo>
                    <a:pt x="0" y="533"/>
                    <a:pt x="0" y="533"/>
                    <a:pt x="0" y="533"/>
                  </a:cubicBezTo>
                  <a:cubicBezTo>
                    <a:pt x="0" y="545"/>
                    <a:pt x="10" y="555"/>
                    <a:pt x="22" y="555"/>
                  </a:cubicBezTo>
                  <a:cubicBezTo>
                    <a:pt x="169" y="555"/>
                    <a:pt x="169" y="555"/>
                    <a:pt x="169" y="555"/>
                  </a:cubicBezTo>
                  <a:cubicBezTo>
                    <a:pt x="169" y="641"/>
                    <a:pt x="169" y="641"/>
                    <a:pt x="169" y="641"/>
                  </a:cubicBezTo>
                  <a:cubicBezTo>
                    <a:pt x="169" y="654"/>
                    <a:pt x="179" y="663"/>
                    <a:pt x="191" y="663"/>
                  </a:cubicBezTo>
                  <a:cubicBezTo>
                    <a:pt x="1639" y="663"/>
                    <a:pt x="1639" y="663"/>
                    <a:pt x="1639" y="663"/>
                  </a:cubicBezTo>
                  <a:cubicBezTo>
                    <a:pt x="1651" y="663"/>
                    <a:pt x="1661" y="654"/>
                    <a:pt x="1661" y="641"/>
                  </a:cubicBezTo>
                  <a:cubicBezTo>
                    <a:pt x="1661" y="555"/>
                    <a:pt x="1661" y="555"/>
                    <a:pt x="1661" y="555"/>
                  </a:cubicBezTo>
                  <a:cubicBezTo>
                    <a:pt x="1808" y="555"/>
                    <a:pt x="1808" y="555"/>
                    <a:pt x="1808" y="555"/>
                  </a:cubicBezTo>
                  <a:cubicBezTo>
                    <a:pt x="1820" y="555"/>
                    <a:pt x="1830" y="545"/>
                    <a:pt x="1830" y="533"/>
                  </a:cubicBezTo>
                  <a:cubicBezTo>
                    <a:pt x="1830" y="461"/>
                    <a:pt x="1830" y="461"/>
                    <a:pt x="1830" y="461"/>
                  </a:cubicBezTo>
                  <a:cubicBezTo>
                    <a:pt x="1830" y="452"/>
                    <a:pt x="1825" y="445"/>
                    <a:pt x="1818" y="441"/>
                  </a:cubicBezTo>
                  <a:close/>
                  <a:moveTo>
                    <a:pt x="1617" y="619"/>
                  </a:moveTo>
                  <a:cubicBezTo>
                    <a:pt x="213" y="619"/>
                    <a:pt x="213" y="619"/>
                    <a:pt x="213" y="619"/>
                  </a:cubicBezTo>
                  <a:cubicBezTo>
                    <a:pt x="213" y="555"/>
                    <a:pt x="213" y="555"/>
                    <a:pt x="213" y="555"/>
                  </a:cubicBezTo>
                  <a:cubicBezTo>
                    <a:pt x="1617" y="555"/>
                    <a:pt x="1617" y="555"/>
                    <a:pt x="1617" y="555"/>
                  </a:cubicBezTo>
                  <a:lnTo>
                    <a:pt x="1617" y="619"/>
                  </a:lnTo>
                  <a:close/>
                  <a:moveTo>
                    <a:pt x="1786" y="511"/>
                  </a:moveTo>
                  <a:cubicBezTo>
                    <a:pt x="1661" y="511"/>
                    <a:pt x="1661" y="511"/>
                    <a:pt x="1661" y="511"/>
                  </a:cubicBezTo>
                  <a:cubicBezTo>
                    <a:pt x="1617" y="511"/>
                    <a:pt x="1617" y="511"/>
                    <a:pt x="1617" y="511"/>
                  </a:cubicBezTo>
                  <a:cubicBezTo>
                    <a:pt x="213" y="511"/>
                    <a:pt x="213" y="511"/>
                    <a:pt x="213" y="511"/>
                  </a:cubicBezTo>
                  <a:cubicBezTo>
                    <a:pt x="169" y="511"/>
                    <a:pt x="169" y="511"/>
                    <a:pt x="169" y="511"/>
                  </a:cubicBezTo>
                  <a:cubicBezTo>
                    <a:pt x="44" y="511"/>
                    <a:pt x="44" y="511"/>
                    <a:pt x="44" y="511"/>
                  </a:cubicBezTo>
                  <a:cubicBezTo>
                    <a:pt x="44" y="474"/>
                    <a:pt x="44" y="474"/>
                    <a:pt x="44" y="474"/>
                  </a:cubicBezTo>
                  <a:cubicBezTo>
                    <a:pt x="915" y="47"/>
                    <a:pt x="915" y="47"/>
                    <a:pt x="915" y="47"/>
                  </a:cubicBezTo>
                  <a:cubicBezTo>
                    <a:pt x="1786" y="474"/>
                    <a:pt x="1786" y="474"/>
                    <a:pt x="1786" y="474"/>
                  </a:cubicBezTo>
                  <a:lnTo>
                    <a:pt x="1786" y="511"/>
                  </a:lnTo>
                  <a:close/>
                </a:path>
              </a:pathLst>
            </a:custGeom>
            <a:solidFill>
              <a:srgbClr val="0088C2">
                <a:lumMod val="10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0" name="Freeform 6">
              <a:extLst>
                <a:ext uri="{FF2B5EF4-FFF2-40B4-BE49-F238E27FC236}">
                  <a16:creationId xmlns:a16="http://schemas.microsoft.com/office/drawing/2014/main" id="{1D77D616-DB7C-40F8-9632-BC312012A1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4" y="778"/>
              <a:ext cx="2529" cy="2516"/>
            </a:xfrm>
            <a:custGeom>
              <a:avLst/>
              <a:gdLst>
                <a:gd name="T0" fmla="*/ 783 w 1350"/>
                <a:gd name="T1" fmla="*/ 108 h 1342"/>
                <a:gd name="T2" fmla="*/ 675 w 1350"/>
                <a:gd name="T3" fmla="*/ 216 h 1342"/>
                <a:gd name="T4" fmla="*/ 567 w 1350"/>
                <a:gd name="T5" fmla="*/ 108 h 1342"/>
                <a:gd name="T6" fmla="*/ 675 w 1350"/>
                <a:gd name="T7" fmla="*/ 0 h 1342"/>
                <a:gd name="T8" fmla="*/ 783 w 1350"/>
                <a:gd name="T9" fmla="*/ 108 h 1342"/>
                <a:gd name="T10" fmla="*/ 174 w 1350"/>
                <a:gd name="T11" fmla="*/ 540 h 1342"/>
                <a:gd name="T12" fmla="*/ 164 w 1350"/>
                <a:gd name="T13" fmla="*/ 531 h 1342"/>
                <a:gd name="T14" fmla="*/ 35 w 1350"/>
                <a:gd name="T15" fmla="*/ 531 h 1342"/>
                <a:gd name="T16" fmla="*/ 25 w 1350"/>
                <a:gd name="T17" fmla="*/ 540 h 1342"/>
                <a:gd name="T18" fmla="*/ 0 w 1350"/>
                <a:gd name="T19" fmla="*/ 1332 h 1342"/>
                <a:gd name="T20" fmla="*/ 10 w 1350"/>
                <a:gd name="T21" fmla="*/ 1342 h 1342"/>
                <a:gd name="T22" fmla="*/ 188 w 1350"/>
                <a:gd name="T23" fmla="*/ 1342 h 1342"/>
                <a:gd name="T24" fmla="*/ 198 w 1350"/>
                <a:gd name="T25" fmla="*/ 1332 h 1342"/>
                <a:gd name="T26" fmla="*/ 174 w 1350"/>
                <a:gd name="T27" fmla="*/ 540 h 1342"/>
                <a:gd name="T28" fmla="*/ 557 w 1350"/>
                <a:gd name="T29" fmla="*/ 540 h 1342"/>
                <a:gd name="T30" fmla="*/ 548 w 1350"/>
                <a:gd name="T31" fmla="*/ 531 h 1342"/>
                <a:gd name="T32" fmla="*/ 418 w 1350"/>
                <a:gd name="T33" fmla="*/ 531 h 1342"/>
                <a:gd name="T34" fmla="*/ 409 w 1350"/>
                <a:gd name="T35" fmla="*/ 540 h 1342"/>
                <a:gd name="T36" fmla="*/ 384 w 1350"/>
                <a:gd name="T37" fmla="*/ 1332 h 1342"/>
                <a:gd name="T38" fmla="*/ 394 w 1350"/>
                <a:gd name="T39" fmla="*/ 1342 h 1342"/>
                <a:gd name="T40" fmla="*/ 572 w 1350"/>
                <a:gd name="T41" fmla="*/ 1342 h 1342"/>
                <a:gd name="T42" fmla="*/ 582 w 1350"/>
                <a:gd name="T43" fmla="*/ 1332 h 1342"/>
                <a:gd name="T44" fmla="*/ 557 w 1350"/>
                <a:gd name="T45" fmla="*/ 540 h 1342"/>
                <a:gd name="T46" fmla="*/ 941 w 1350"/>
                <a:gd name="T47" fmla="*/ 540 h 1342"/>
                <a:gd name="T48" fmla="*/ 932 w 1350"/>
                <a:gd name="T49" fmla="*/ 531 h 1342"/>
                <a:gd name="T50" fmla="*/ 802 w 1350"/>
                <a:gd name="T51" fmla="*/ 531 h 1342"/>
                <a:gd name="T52" fmla="*/ 793 w 1350"/>
                <a:gd name="T53" fmla="*/ 540 h 1342"/>
                <a:gd name="T54" fmla="*/ 768 w 1350"/>
                <a:gd name="T55" fmla="*/ 1332 h 1342"/>
                <a:gd name="T56" fmla="*/ 778 w 1350"/>
                <a:gd name="T57" fmla="*/ 1342 h 1342"/>
                <a:gd name="T58" fmla="*/ 956 w 1350"/>
                <a:gd name="T59" fmla="*/ 1342 h 1342"/>
                <a:gd name="T60" fmla="*/ 966 w 1350"/>
                <a:gd name="T61" fmla="*/ 1332 h 1342"/>
                <a:gd name="T62" fmla="*/ 941 w 1350"/>
                <a:gd name="T63" fmla="*/ 540 h 1342"/>
                <a:gd name="T64" fmla="*/ 1325 w 1350"/>
                <a:gd name="T65" fmla="*/ 540 h 1342"/>
                <a:gd name="T66" fmla="*/ 1315 w 1350"/>
                <a:gd name="T67" fmla="*/ 531 h 1342"/>
                <a:gd name="T68" fmla="*/ 1186 w 1350"/>
                <a:gd name="T69" fmla="*/ 531 h 1342"/>
                <a:gd name="T70" fmla="*/ 1176 w 1350"/>
                <a:gd name="T71" fmla="*/ 540 h 1342"/>
                <a:gd name="T72" fmla="*/ 1152 w 1350"/>
                <a:gd name="T73" fmla="*/ 1332 h 1342"/>
                <a:gd name="T74" fmla="*/ 1162 w 1350"/>
                <a:gd name="T75" fmla="*/ 1342 h 1342"/>
                <a:gd name="T76" fmla="*/ 1340 w 1350"/>
                <a:gd name="T77" fmla="*/ 1342 h 1342"/>
                <a:gd name="T78" fmla="*/ 1350 w 1350"/>
                <a:gd name="T79" fmla="*/ 1332 h 1342"/>
                <a:gd name="T80" fmla="*/ 1325 w 1350"/>
                <a:gd name="T81" fmla="*/ 540 h 1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50" h="1342">
                  <a:moveTo>
                    <a:pt x="783" y="108"/>
                  </a:moveTo>
                  <a:cubicBezTo>
                    <a:pt x="783" y="167"/>
                    <a:pt x="735" y="216"/>
                    <a:pt x="675" y="216"/>
                  </a:cubicBezTo>
                  <a:cubicBezTo>
                    <a:pt x="615" y="216"/>
                    <a:pt x="567" y="167"/>
                    <a:pt x="567" y="108"/>
                  </a:cubicBezTo>
                  <a:cubicBezTo>
                    <a:pt x="567" y="48"/>
                    <a:pt x="615" y="0"/>
                    <a:pt x="675" y="0"/>
                  </a:cubicBezTo>
                  <a:cubicBezTo>
                    <a:pt x="735" y="0"/>
                    <a:pt x="783" y="48"/>
                    <a:pt x="783" y="108"/>
                  </a:cubicBezTo>
                  <a:close/>
                  <a:moveTo>
                    <a:pt x="174" y="540"/>
                  </a:moveTo>
                  <a:cubicBezTo>
                    <a:pt x="174" y="535"/>
                    <a:pt x="169" y="531"/>
                    <a:pt x="164" y="531"/>
                  </a:cubicBezTo>
                  <a:cubicBezTo>
                    <a:pt x="35" y="531"/>
                    <a:pt x="35" y="531"/>
                    <a:pt x="35" y="531"/>
                  </a:cubicBezTo>
                  <a:cubicBezTo>
                    <a:pt x="29" y="531"/>
                    <a:pt x="25" y="535"/>
                    <a:pt x="25" y="540"/>
                  </a:cubicBezTo>
                  <a:cubicBezTo>
                    <a:pt x="0" y="1332"/>
                    <a:pt x="0" y="1332"/>
                    <a:pt x="0" y="1332"/>
                  </a:cubicBezTo>
                  <a:cubicBezTo>
                    <a:pt x="0" y="1337"/>
                    <a:pt x="5" y="1342"/>
                    <a:pt x="10" y="1342"/>
                  </a:cubicBezTo>
                  <a:cubicBezTo>
                    <a:pt x="188" y="1342"/>
                    <a:pt x="188" y="1342"/>
                    <a:pt x="188" y="1342"/>
                  </a:cubicBezTo>
                  <a:cubicBezTo>
                    <a:pt x="194" y="1342"/>
                    <a:pt x="198" y="1337"/>
                    <a:pt x="198" y="1332"/>
                  </a:cubicBezTo>
                  <a:lnTo>
                    <a:pt x="174" y="540"/>
                  </a:lnTo>
                  <a:close/>
                  <a:moveTo>
                    <a:pt x="557" y="540"/>
                  </a:moveTo>
                  <a:cubicBezTo>
                    <a:pt x="557" y="535"/>
                    <a:pt x="553" y="531"/>
                    <a:pt x="548" y="531"/>
                  </a:cubicBezTo>
                  <a:cubicBezTo>
                    <a:pt x="418" y="531"/>
                    <a:pt x="418" y="531"/>
                    <a:pt x="418" y="531"/>
                  </a:cubicBezTo>
                  <a:cubicBezTo>
                    <a:pt x="413" y="531"/>
                    <a:pt x="409" y="535"/>
                    <a:pt x="409" y="540"/>
                  </a:cubicBezTo>
                  <a:cubicBezTo>
                    <a:pt x="384" y="1332"/>
                    <a:pt x="384" y="1332"/>
                    <a:pt x="384" y="1332"/>
                  </a:cubicBezTo>
                  <a:cubicBezTo>
                    <a:pt x="384" y="1337"/>
                    <a:pt x="389" y="1342"/>
                    <a:pt x="394" y="1342"/>
                  </a:cubicBezTo>
                  <a:cubicBezTo>
                    <a:pt x="572" y="1342"/>
                    <a:pt x="572" y="1342"/>
                    <a:pt x="572" y="1342"/>
                  </a:cubicBezTo>
                  <a:cubicBezTo>
                    <a:pt x="578" y="1342"/>
                    <a:pt x="582" y="1337"/>
                    <a:pt x="582" y="1332"/>
                  </a:cubicBezTo>
                  <a:lnTo>
                    <a:pt x="557" y="540"/>
                  </a:lnTo>
                  <a:close/>
                  <a:moveTo>
                    <a:pt x="941" y="540"/>
                  </a:moveTo>
                  <a:cubicBezTo>
                    <a:pt x="941" y="535"/>
                    <a:pt x="937" y="531"/>
                    <a:pt x="932" y="531"/>
                  </a:cubicBezTo>
                  <a:cubicBezTo>
                    <a:pt x="802" y="531"/>
                    <a:pt x="802" y="531"/>
                    <a:pt x="802" y="531"/>
                  </a:cubicBezTo>
                  <a:cubicBezTo>
                    <a:pt x="797" y="531"/>
                    <a:pt x="793" y="535"/>
                    <a:pt x="793" y="540"/>
                  </a:cubicBezTo>
                  <a:cubicBezTo>
                    <a:pt x="768" y="1332"/>
                    <a:pt x="768" y="1332"/>
                    <a:pt x="768" y="1332"/>
                  </a:cubicBezTo>
                  <a:cubicBezTo>
                    <a:pt x="768" y="1337"/>
                    <a:pt x="772" y="1342"/>
                    <a:pt x="778" y="1342"/>
                  </a:cubicBezTo>
                  <a:cubicBezTo>
                    <a:pt x="956" y="1342"/>
                    <a:pt x="956" y="1342"/>
                    <a:pt x="956" y="1342"/>
                  </a:cubicBezTo>
                  <a:cubicBezTo>
                    <a:pt x="961" y="1342"/>
                    <a:pt x="966" y="1337"/>
                    <a:pt x="966" y="1332"/>
                  </a:cubicBezTo>
                  <a:lnTo>
                    <a:pt x="941" y="540"/>
                  </a:lnTo>
                  <a:close/>
                  <a:moveTo>
                    <a:pt x="1325" y="540"/>
                  </a:moveTo>
                  <a:cubicBezTo>
                    <a:pt x="1325" y="535"/>
                    <a:pt x="1321" y="531"/>
                    <a:pt x="1315" y="531"/>
                  </a:cubicBezTo>
                  <a:cubicBezTo>
                    <a:pt x="1186" y="531"/>
                    <a:pt x="1186" y="531"/>
                    <a:pt x="1186" y="531"/>
                  </a:cubicBezTo>
                  <a:cubicBezTo>
                    <a:pt x="1181" y="531"/>
                    <a:pt x="1176" y="535"/>
                    <a:pt x="1176" y="540"/>
                  </a:cubicBezTo>
                  <a:cubicBezTo>
                    <a:pt x="1152" y="1332"/>
                    <a:pt x="1152" y="1332"/>
                    <a:pt x="1152" y="1332"/>
                  </a:cubicBezTo>
                  <a:cubicBezTo>
                    <a:pt x="1152" y="1337"/>
                    <a:pt x="1156" y="1342"/>
                    <a:pt x="1162" y="1342"/>
                  </a:cubicBezTo>
                  <a:cubicBezTo>
                    <a:pt x="1340" y="1342"/>
                    <a:pt x="1340" y="1342"/>
                    <a:pt x="1340" y="1342"/>
                  </a:cubicBezTo>
                  <a:cubicBezTo>
                    <a:pt x="1345" y="1342"/>
                    <a:pt x="1350" y="1337"/>
                    <a:pt x="1350" y="1332"/>
                  </a:cubicBezTo>
                  <a:lnTo>
                    <a:pt x="1325" y="54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51" name="Title 2"/>
          <p:cNvSpPr txBox="1">
            <a:spLocks/>
          </p:cNvSpPr>
          <p:nvPr/>
        </p:nvSpPr>
        <p:spPr>
          <a:xfrm>
            <a:off x="458986" y="368301"/>
            <a:ext cx="8145462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GB" dirty="0">
                <a:solidFill>
                  <a:schemeClr val="bg1"/>
                </a:solidFill>
              </a:rPr>
              <a:t>To start </a:t>
            </a:r>
            <a:r>
              <a:rPr lang="en-GB" dirty="0" smtClean="0">
                <a:solidFill>
                  <a:schemeClr val="bg1"/>
                </a:solidFill>
              </a:rPr>
              <a:t>your professional </a:t>
            </a:r>
            <a:r>
              <a:rPr lang="en-GB" dirty="0">
                <a:solidFill>
                  <a:schemeClr val="bg1"/>
                </a:solidFill>
              </a:rPr>
              <a:t>path there are </a:t>
            </a:r>
            <a:r>
              <a:rPr lang="en-GB" dirty="0" smtClean="0">
                <a:solidFill>
                  <a:schemeClr val="bg1"/>
                </a:solidFill>
              </a:rPr>
              <a:t>two </a:t>
            </a:r>
            <a:r>
              <a:rPr lang="en-GB" dirty="0">
                <a:solidFill>
                  <a:schemeClr val="bg1"/>
                </a:solidFill>
              </a:rPr>
              <a:t>ways </a:t>
            </a:r>
            <a:endParaRPr lang="es-A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732616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" name="Group 2113"/>
          <p:cNvGrpSpPr/>
          <p:nvPr/>
        </p:nvGrpSpPr>
        <p:grpSpPr>
          <a:xfrm>
            <a:off x="32619" y="1462931"/>
            <a:ext cx="5177348" cy="5350445"/>
            <a:chOff x="62080" y="142702"/>
            <a:chExt cx="6610826" cy="7609521"/>
          </a:xfrm>
        </p:grpSpPr>
        <p:sp>
          <p:nvSpPr>
            <p:cNvPr id="63" name="Shape 2081"/>
            <p:cNvSpPr/>
            <p:nvPr/>
          </p:nvSpPr>
          <p:spPr>
            <a:xfrm>
              <a:off x="3197076" y="349899"/>
              <a:ext cx="3256059" cy="35765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cubicBezTo>
                    <a:pt x="9672" y="21600"/>
                    <a:pt x="11920" y="0"/>
                    <a:pt x="21600" y="0"/>
                  </a:cubicBezTo>
                </a:path>
              </a:pathLst>
            </a:custGeom>
            <a:noFill/>
            <a:ln w="25400" cap="flat">
              <a:solidFill>
                <a:schemeClr val="tx2"/>
              </a:solidFill>
              <a:prstDash val="solid"/>
              <a:miter lim="800000"/>
            </a:ln>
            <a:effectLst/>
          </p:spPr>
          <p:txBody>
            <a:bodyPr wrap="square" lIns="59013" tIns="59013" rIns="59013" bIns="59013" numCol="1" anchor="t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4" name="Shape 2082"/>
            <p:cNvSpPr/>
            <p:nvPr/>
          </p:nvSpPr>
          <p:spPr>
            <a:xfrm>
              <a:off x="6523402" y="273921"/>
              <a:ext cx="149504" cy="149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833"/>
                  </a:moveTo>
                  <a:cubicBezTo>
                    <a:pt x="21600" y="12856"/>
                    <a:pt x="21142" y="14487"/>
                    <a:pt x="20160" y="16184"/>
                  </a:cubicBezTo>
                  <a:cubicBezTo>
                    <a:pt x="19178" y="17946"/>
                    <a:pt x="17935" y="19185"/>
                    <a:pt x="16233" y="20164"/>
                  </a:cubicBezTo>
                  <a:cubicBezTo>
                    <a:pt x="14531" y="21143"/>
                    <a:pt x="12764" y="21600"/>
                    <a:pt x="10800" y="21600"/>
                  </a:cubicBezTo>
                  <a:cubicBezTo>
                    <a:pt x="8836" y="21600"/>
                    <a:pt x="7069" y="21143"/>
                    <a:pt x="5367" y="20164"/>
                  </a:cubicBezTo>
                  <a:cubicBezTo>
                    <a:pt x="3665" y="19185"/>
                    <a:pt x="2422" y="17946"/>
                    <a:pt x="1440" y="16184"/>
                  </a:cubicBezTo>
                  <a:cubicBezTo>
                    <a:pt x="458" y="14487"/>
                    <a:pt x="0" y="12856"/>
                    <a:pt x="0" y="10833"/>
                  </a:cubicBezTo>
                  <a:cubicBezTo>
                    <a:pt x="0" y="8875"/>
                    <a:pt x="458" y="7113"/>
                    <a:pt x="1440" y="5416"/>
                  </a:cubicBezTo>
                  <a:cubicBezTo>
                    <a:pt x="2422" y="3785"/>
                    <a:pt x="3665" y="2480"/>
                    <a:pt x="5367" y="1436"/>
                  </a:cubicBezTo>
                  <a:cubicBezTo>
                    <a:pt x="7069" y="457"/>
                    <a:pt x="8836" y="0"/>
                    <a:pt x="10800" y="0"/>
                  </a:cubicBezTo>
                  <a:cubicBezTo>
                    <a:pt x="12764" y="0"/>
                    <a:pt x="14531" y="457"/>
                    <a:pt x="16233" y="1436"/>
                  </a:cubicBezTo>
                  <a:cubicBezTo>
                    <a:pt x="17935" y="2480"/>
                    <a:pt x="19178" y="3785"/>
                    <a:pt x="20160" y="5416"/>
                  </a:cubicBezTo>
                  <a:cubicBezTo>
                    <a:pt x="21142" y="7113"/>
                    <a:pt x="21600" y="8875"/>
                    <a:pt x="21600" y="10833"/>
                  </a:cubicBezTo>
                </a:path>
              </a:pathLst>
            </a:custGeom>
            <a:solidFill>
              <a:srgbClr val="F8AD94"/>
            </a:solidFill>
            <a:ln w="3175" cap="flat">
              <a:solidFill>
                <a:schemeClr val="accent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9" name="Shape 2097"/>
            <p:cNvSpPr/>
            <p:nvPr/>
          </p:nvSpPr>
          <p:spPr>
            <a:xfrm>
              <a:off x="3145091" y="3802901"/>
              <a:ext cx="239480" cy="2394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759"/>
                  </a:moveTo>
                  <a:cubicBezTo>
                    <a:pt x="21600" y="12764"/>
                    <a:pt x="21070" y="14441"/>
                    <a:pt x="20092" y="16159"/>
                  </a:cubicBezTo>
                  <a:cubicBezTo>
                    <a:pt x="19114" y="17877"/>
                    <a:pt x="17891" y="19145"/>
                    <a:pt x="16180" y="20127"/>
                  </a:cubicBezTo>
                  <a:cubicBezTo>
                    <a:pt x="14468" y="21150"/>
                    <a:pt x="12797" y="21600"/>
                    <a:pt x="10800" y="21600"/>
                  </a:cubicBezTo>
                  <a:cubicBezTo>
                    <a:pt x="8803" y="21600"/>
                    <a:pt x="7132" y="21150"/>
                    <a:pt x="5420" y="20127"/>
                  </a:cubicBezTo>
                  <a:cubicBezTo>
                    <a:pt x="3709" y="19145"/>
                    <a:pt x="2445" y="17877"/>
                    <a:pt x="1467" y="16159"/>
                  </a:cubicBezTo>
                  <a:cubicBezTo>
                    <a:pt x="448" y="14441"/>
                    <a:pt x="0" y="12764"/>
                    <a:pt x="0" y="10759"/>
                  </a:cubicBezTo>
                  <a:cubicBezTo>
                    <a:pt x="0" y="8755"/>
                    <a:pt x="448" y="7077"/>
                    <a:pt x="1467" y="5359"/>
                  </a:cubicBezTo>
                  <a:cubicBezTo>
                    <a:pt x="2445" y="3641"/>
                    <a:pt x="3709" y="2414"/>
                    <a:pt x="5420" y="1432"/>
                  </a:cubicBezTo>
                  <a:cubicBezTo>
                    <a:pt x="7132" y="409"/>
                    <a:pt x="8803" y="0"/>
                    <a:pt x="10800" y="0"/>
                  </a:cubicBezTo>
                  <a:cubicBezTo>
                    <a:pt x="12756" y="0"/>
                    <a:pt x="14468" y="409"/>
                    <a:pt x="16180" y="1432"/>
                  </a:cubicBezTo>
                  <a:cubicBezTo>
                    <a:pt x="17891" y="2414"/>
                    <a:pt x="19114" y="3641"/>
                    <a:pt x="20092" y="5359"/>
                  </a:cubicBezTo>
                  <a:cubicBezTo>
                    <a:pt x="21070" y="7077"/>
                    <a:pt x="21600" y="8795"/>
                    <a:pt x="21600" y="10759"/>
                  </a:cubicBezTo>
                </a:path>
              </a:pathLst>
            </a:custGeom>
            <a:solidFill>
              <a:schemeClr val="tx2"/>
            </a:solidFill>
            <a:ln w="3175" cap="flat">
              <a:solidFill>
                <a:schemeClr val="tx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94" name="Shape 2112"/>
            <p:cNvSpPr/>
            <p:nvPr/>
          </p:nvSpPr>
          <p:spPr>
            <a:xfrm>
              <a:off x="62080" y="142702"/>
              <a:ext cx="2394249" cy="76095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05" h="21600" extrusionOk="0">
                  <a:moveTo>
                    <a:pt x="1474" y="0"/>
                  </a:moveTo>
                  <a:cubicBezTo>
                    <a:pt x="2299" y="56"/>
                    <a:pt x="3007" y="162"/>
                    <a:pt x="3508" y="335"/>
                  </a:cubicBezTo>
                  <a:cubicBezTo>
                    <a:pt x="3508" y="335"/>
                    <a:pt x="9262" y="649"/>
                    <a:pt x="10196" y="1724"/>
                  </a:cubicBezTo>
                  <a:cubicBezTo>
                    <a:pt x="10196" y="1724"/>
                    <a:pt x="13858" y="2530"/>
                    <a:pt x="11870" y="3246"/>
                  </a:cubicBezTo>
                  <a:cubicBezTo>
                    <a:pt x="11870" y="3246"/>
                    <a:pt x="15841" y="4770"/>
                    <a:pt x="15841" y="7905"/>
                  </a:cubicBezTo>
                  <a:cubicBezTo>
                    <a:pt x="15841" y="7905"/>
                    <a:pt x="16469" y="8666"/>
                    <a:pt x="15841" y="9066"/>
                  </a:cubicBezTo>
                  <a:cubicBezTo>
                    <a:pt x="15841" y="9066"/>
                    <a:pt x="14897" y="9425"/>
                    <a:pt x="16675" y="10412"/>
                  </a:cubicBezTo>
                  <a:lnTo>
                    <a:pt x="19537" y="11932"/>
                  </a:lnTo>
                  <a:cubicBezTo>
                    <a:pt x="19537" y="11932"/>
                    <a:pt x="21600" y="12690"/>
                    <a:pt x="17863" y="13258"/>
                  </a:cubicBezTo>
                  <a:cubicBezTo>
                    <a:pt x="17863" y="13258"/>
                    <a:pt x="17225" y="13546"/>
                    <a:pt x="17734" y="14363"/>
                  </a:cubicBezTo>
                  <a:cubicBezTo>
                    <a:pt x="17734" y="14363"/>
                    <a:pt x="18560" y="14522"/>
                    <a:pt x="17351" y="15041"/>
                  </a:cubicBezTo>
                  <a:cubicBezTo>
                    <a:pt x="17351" y="15041"/>
                    <a:pt x="18238" y="15361"/>
                    <a:pt x="17793" y="15769"/>
                  </a:cubicBezTo>
                  <a:cubicBezTo>
                    <a:pt x="17793" y="15769"/>
                    <a:pt x="17608" y="15886"/>
                    <a:pt x="16842" y="15995"/>
                  </a:cubicBezTo>
                  <a:cubicBezTo>
                    <a:pt x="16842" y="15995"/>
                    <a:pt x="15695" y="16563"/>
                    <a:pt x="16461" y="16972"/>
                  </a:cubicBezTo>
                  <a:cubicBezTo>
                    <a:pt x="16461" y="16972"/>
                    <a:pt x="18696" y="18356"/>
                    <a:pt x="14002" y="18983"/>
                  </a:cubicBezTo>
                  <a:cubicBezTo>
                    <a:pt x="14002" y="18983"/>
                    <a:pt x="11191" y="19172"/>
                    <a:pt x="8845" y="18983"/>
                  </a:cubicBezTo>
                  <a:cubicBezTo>
                    <a:pt x="8845" y="18983"/>
                    <a:pt x="6237" y="18837"/>
                    <a:pt x="4249" y="20270"/>
                  </a:cubicBezTo>
                  <a:cubicBezTo>
                    <a:pt x="4249" y="20270"/>
                    <a:pt x="3560" y="20768"/>
                    <a:pt x="3050" y="21600"/>
                  </a:cubicBezTo>
                  <a:lnTo>
                    <a:pt x="0" y="21600"/>
                  </a:lnTo>
                  <a:lnTo>
                    <a:pt x="0" y="0"/>
                  </a:lnTo>
                  <a:lnTo>
                    <a:pt x="1474" y="0"/>
                  </a:lnTo>
                </a:path>
              </a:pathLst>
            </a:custGeom>
            <a:solidFill>
              <a:schemeClr val="tx2"/>
            </a:solidFill>
            <a:ln w="3175" cap="flat">
              <a:solidFill>
                <a:schemeClr val="tx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sp>
        <p:nvSpPr>
          <p:cNvPr id="99" name="Shape 2951"/>
          <p:cNvSpPr/>
          <p:nvPr/>
        </p:nvSpPr>
        <p:spPr>
          <a:xfrm>
            <a:off x="5366954" y="1536194"/>
            <a:ext cx="297469" cy="41027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12712" y="21600"/>
                </a:lnTo>
                <a:lnTo>
                  <a:pt x="12712" y="17381"/>
                </a:lnTo>
                <a:lnTo>
                  <a:pt x="8913" y="17381"/>
                </a:lnTo>
                <a:lnTo>
                  <a:pt x="8913" y="21600"/>
                </a:lnTo>
                <a:lnTo>
                  <a:pt x="0" y="21600"/>
                </a:lnTo>
                <a:lnTo>
                  <a:pt x="0" y="1454"/>
                </a:lnTo>
                <a:lnTo>
                  <a:pt x="5363" y="1454"/>
                </a:lnTo>
                <a:lnTo>
                  <a:pt x="5363" y="0"/>
                </a:lnTo>
                <a:lnTo>
                  <a:pt x="16262" y="0"/>
                </a:lnTo>
                <a:lnTo>
                  <a:pt x="16262" y="1454"/>
                </a:lnTo>
                <a:lnTo>
                  <a:pt x="21600" y="1454"/>
                </a:lnTo>
                <a:lnTo>
                  <a:pt x="21600" y="21600"/>
                </a:lnTo>
                <a:close/>
                <a:moveTo>
                  <a:pt x="7126" y="11725"/>
                </a:moveTo>
                <a:lnTo>
                  <a:pt x="3575" y="11725"/>
                </a:lnTo>
                <a:lnTo>
                  <a:pt x="3575" y="14292"/>
                </a:lnTo>
                <a:lnTo>
                  <a:pt x="7126" y="14292"/>
                </a:lnTo>
                <a:lnTo>
                  <a:pt x="7126" y="11725"/>
                </a:lnTo>
                <a:close/>
                <a:moveTo>
                  <a:pt x="7126" y="7882"/>
                </a:moveTo>
                <a:lnTo>
                  <a:pt x="3575" y="7882"/>
                </a:lnTo>
                <a:lnTo>
                  <a:pt x="3575" y="10450"/>
                </a:lnTo>
                <a:lnTo>
                  <a:pt x="7126" y="10450"/>
                </a:lnTo>
                <a:lnTo>
                  <a:pt x="7126" y="7882"/>
                </a:lnTo>
                <a:close/>
                <a:moveTo>
                  <a:pt x="7126" y="4040"/>
                </a:moveTo>
                <a:lnTo>
                  <a:pt x="3575" y="4040"/>
                </a:lnTo>
                <a:lnTo>
                  <a:pt x="3575" y="6607"/>
                </a:lnTo>
                <a:lnTo>
                  <a:pt x="7126" y="6607"/>
                </a:lnTo>
                <a:lnTo>
                  <a:pt x="7126" y="4040"/>
                </a:lnTo>
                <a:close/>
                <a:moveTo>
                  <a:pt x="12712" y="11725"/>
                </a:moveTo>
                <a:lnTo>
                  <a:pt x="8913" y="11725"/>
                </a:lnTo>
                <a:lnTo>
                  <a:pt x="8913" y="14292"/>
                </a:lnTo>
                <a:lnTo>
                  <a:pt x="12712" y="14292"/>
                </a:lnTo>
                <a:lnTo>
                  <a:pt x="12712" y="11725"/>
                </a:lnTo>
                <a:close/>
                <a:moveTo>
                  <a:pt x="12662" y="10450"/>
                </a:moveTo>
                <a:lnTo>
                  <a:pt x="12662" y="7882"/>
                </a:lnTo>
                <a:lnTo>
                  <a:pt x="8888" y="7882"/>
                </a:lnTo>
                <a:lnTo>
                  <a:pt x="8888" y="10450"/>
                </a:lnTo>
                <a:lnTo>
                  <a:pt x="12662" y="10450"/>
                </a:lnTo>
                <a:close/>
                <a:moveTo>
                  <a:pt x="12712" y="4040"/>
                </a:moveTo>
                <a:lnTo>
                  <a:pt x="8938" y="4040"/>
                </a:lnTo>
                <a:lnTo>
                  <a:pt x="8938" y="6607"/>
                </a:lnTo>
                <a:lnTo>
                  <a:pt x="12737" y="6607"/>
                </a:lnTo>
                <a:lnTo>
                  <a:pt x="12737" y="4040"/>
                </a:lnTo>
                <a:lnTo>
                  <a:pt x="12712" y="4040"/>
                </a:lnTo>
                <a:close/>
                <a:moveTo>
                  <a:pt x="18050" y="11725"/>
                </a:moveTo>
                <a:lnTo>
                  <a:pt x="14499" y="11725"/>
                </a:lnTo>
                <a:lnTo>
                  <a:pt x="14499" y="14292"/>
                </a:lnTo>
                <a:lnTo>
                  <a:pt x="18050" y="14292"/>
                </a:lnTo>
                <a:lnTo>
                  <a:pt x="18050" y="11725"/>
                </a:lnTo>
                <a:close/>
                <a:moveTo>
                  <a:pt x="18050" y="7882"/>
                </a:moveTo>
                <a:lnTo>
                  <a:pt x="14499" y="7882"/>
                </a:lnTo>
                <a:lnTo>
                  <a:pt x="14499" y="10450"/>
                </a:lnTo>
                <a:lnTo>
                  <a:pt x="18050" y="10450"/>
                </a:lnTo>
                <a:lnTo>
                  <a:pt x="18050" y="7882"/>
                </a:lnTo>
                <a:close/>
                <a:moveTo>
                  <a:pt x="18050" y="4040"/>
                </a:moveTo>
                <a:lnTo>
                  <a:pt x="14499" y="4040"/>
                </a:lnTo>
                <a:lnTo>
                  <a:pt x="14499" y="6607"/>
                </a:lnTo>
                <a:lnTo>
                  <a:pt x="18050" y="6607"/>
                </a:lnTo>
                <a:lnTo>
                  <a:pt x="18050" y="4040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00" name="Shape 2098"/>
          <p:cNvSpPr/>
          <p:nvPr/>
        </p:nvSpPr>
        <p:spPr>
          <a:xfrm>
            <a:off x="5764378" y="1503422"/>
            <a:ext cx="2733863" cy="226546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t">
            <a:noAutofit/>
          </a:bodyPr>
          <a:lstStyle>
            <a:lvl1pPr algn="l"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2200" b="1">
                <a:solidFill>
                  <a:srgbClr val="726658"/>
                </a:solidFill>
                <a:latin typeface="'Roboto-Bold'"/>
                <a:ea typeface="'Roboto-Bold'"/>
                <a:cs typeface="'Roboto-Bold'"/>
                <a:sym typeface="'Roboto-Bold'"/>
              </a:defRPr>
            </a:lvl1pPr>
          </a:lstStyle>
          <a:p>
            <a:pPr algn="ctr"/>
            <a:r>
              <a:rPr lang="en-US" b="0" dirty="0" smtClean="0"/>
              <a:t>Types Of Interviews</a:t>
            </a:r>
            <a:endParaRPr lang="en-US" b="0" dirty="0"/>
          </a:p>
        </p:txBody>
      </p:sp>
      <p:sp>
        <p:nvSpPr>
          <p:cNvPr id="26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Interview Training </a:t>
            </a:r>
          </a:p>
        </p:txBody>
      </p:sp>
    </p:spTree>
    <p:extLst>
      <p:ext uri="{BB962C8B-B14F-4D97-AF65-F5344CB8AC3E}">
        <p14:creationId xmlns:p14="http://schemas.microsoft.com/office/powerpoint/2010/main" val="3331771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" name="Group 2113"/>
          <p:cNvGrpSpPr/>
          <p:nvPr/>
        </p:nvGrpSpPr>
        <p:grpSpPr>
          <a:xfrm>
            <a:off x="32619" y="1462931"/>
            <a:ext cx="8715845" cy="5350445"/>
            <a:chOff x="62080" y="142702"/>
            <a:chExt cx="11129045" cy="7609521"/>
          </a:xfrm>
        </p:grpSpPr>
        <p:sp>
          <p:nvSpPr>
            <p:cNvPr id="56" name="Shape 2074"/>
            <p:cNvSpPr/>
            <p:nvPr/>
          </p:nvSpPr>
          <p:spPr>
            <a:xfrm>
              <a:off x="6844741" y="2310559"/>
              <a:ext cx="536079" cy="6053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2" h="21600" extrusionOk="0">
                  <a:moveTo>
                    <a:pt x="18248" y="16399"/>
                  </a:moveTo>
                  <a:cubicBezTo>
                    <a:pt x="18831" y="16933"/>
                    <a:pt x="19091" y="17565"/>
                    <a:pt x="19204" y="18424"/>
                  </a:cubicBezTo>
                  <a:cubicBezTo>
                    <a:pt x="19253" y="18683"/>
                    <a:pt x="19204" y="18959"/>
                    <a:pt x="19156" y="19234"/>
                  </a:cubicBezTo>
                  <a:lnTo>
                    <a:pt x="16902" y="17192"/>
                  </a:lnTo>
                  <a:lnTo>
                    <a:pt x="14858" y="19396"/>
                  </a:lnTo>
                  <a:lnTo>
                    <a:pt x="17129" y="21422"/>
                  </a:lnTo>
                  <a:cubicBezTo>
                    <a:pt x="16837" y="21535"/>
                    <a:pt x="16577" y="21600"/>
                    <a:pt x="16302" y="21600"/>
                  </a:cubicBezTo>
                  <a:cubicBezTo>
                    <a:pt x="15507" y="21600"/>
                    <a:pt x="14858" y="21373"/>
                    <a:pt x="14275" y="20838"/>
                  </a:cubicBezTo>
                  <a:cubicBezTo>
                    <a:pt x="13691" y="20304"/>
                    <a:pt x="13367" y="19720"/>
                    <a:pt x="13367" y="18926"/>
                  </a:cubicBezTo>
                  <a:cubicBezTo>
                    <a:pt x="13367" y="18635"/>
                    <a:pt x="13415" y="18327"/>
                    <a:pt x="13480" y="18051"/>
                  </a:cubicBezTo>
                  <a:lnTo>
                    <a:pt x="12929" y="17517"/>
                  </a:lnTo>
                  <a:lnTo>
                    <a:pt x="9653" y="14567"/>
                  </a:lnTo>
                  <a:lnTo>
                    <a:pt x="4156" y="20628"/>
                  </a:lnTo>
                  <a:cubicBezTo>
                    <a:pt x="3831" y="21049"/>
                    <a:pt x="3280" y="21373"/>
                    <a:pt x="2696" y="21373"/>
                  </a:cubicBezTo>
                  <a:cubicBezTo>
                    <a:pt x="1740" y="21373"/>
                    <a:pt x="929" y="20563"/>
                    <a:pt x="929" y="19607"/>
                  </a:cubicBezTo>
                  <a:cubicBezTo>
                    <a:pt x="929" y="19072"/>
                    <a:pt x="1156" y="18602"/>
                    <a:pt x="1513" y="18278"/>
                  </a:cubicBezTo>
                  <a:lnTo>
                    <a:pt x="7253" y="12315"/>
                  </a:lnTo>
                  <a:lnTo>
                    <a:pt x="3831" y="9171"/>
                  </a:lnTo>
                  <a:cubicBezTo>
                    <a:pt x="3572" y="9285"/>
                    <a:pt x="3248" y="9317"/>
                    <a:pt x="2972" y="9317"/>
                  </a:cubicBezTo>
                  <a:cubicBezTo>
                    <a:pt x="2161" y="9317"/>
                    <a:pt x="1513" y="9107"/>
                    <a:pt x="929" y="8572"/>
                  </a:cubicBezTo>
                  <a:cubicBezTo>
                    <a:pt x="345" y="8053"/>
                    <a:pt x="21" y="7454"/>
                    <a:pt x="21" y="6644"/>
                  </a:cubicBezTo>
                  <a:cubicBezTo>
                    <a:pt x="-28" y="6384"/>
                    <a:pt x="21" y="6109"/>
                    <a:pt x="69" y="5850"/>
                  </a:cubicBezTo>
                  <a:lnTo>
                    <a:pt x="2340" y="7875"/>
                  </a:lnTo>
                  <a:lnTo>
                    <a:pt x="4302" y="5688"/>
                  </a:lnTo>
                  <a:lnTo>
                    <a:pt x="2064" y="3646"/>
                  </a:lnTo>
                  <a:cubicBezTo>
                    <a:pt x="2340" y="3549"/>
                    <a:pt x="2599" y="3500"/>
                    <a:pt x="2858" y="3500"/>
                  </a:cubicBezTo>
                  <a:cubicBezTo>
                    <a:pt x="3653" y="3500"/>
                    <a:pt x="4302" y="3711"/>
                    <a:pt x="4902" y="4229"/>
                  </a:cubicBezTo>
                  <a:cubicBezTo>
                    <a:pt x="5486" y="4732"/>
                    <a:pt x="5810" y="5380"/>
                    <a:pt x="5810" y="6174"/>
                  </a:cubicBezTo>
                  <a:cubicBezTo>
                    <a:pt x="5858" y="6433"/>
                    <a:pt x="5810" y="6708"/>
                    <a:pt x="5745" y="6968"/>
                  </a:cubicBezTo>
                  <a:lnTo>
                    <a:pt x="9296" y="10225"/>
                  </a:lnTo>
                  <a:lnTo>
                    <a:pt x="11923" y="7454"/>
                  </a:lnTo>
                  <a:lnTo>
                    <a:pt x="8015" y="4019"/>
                  </a:lnTo>
                  <a:lnTo>
                    <a:pt x="11534" y="0"/>
                  </a:lnTo>
                  <a:lnTo>
                    <a:pt x="21572" y="8783"/>
                  </a:lnTo>
                  <a:lnTo>
                    <a:pt x="18037" y="12817"/>
                  </a:lnTo>
                  <a:lnTo>
                    <a:pt x="14015" y="9285"/>
                  </a:lnTo>
                  <a:lnTo>
                    <a:pt x="11486" y="12218"/>
                  </a:lnTo>
                  <a:lnTo>
                    <a:pt x="15394" y="15815"/>
                  </a:lnTo>
                  <a:cubicBezTo>
                    <a:pt x="15653" y="15702"/>
                    <a:pt x="15929" y="15637"/>
                    <a:pt x="16204" y="15637"/>
                  </a:cubicBezTo>
                  <a:cubicBezTo>
                    <a:pt x="17015" y="15637"/>
                    <a:pt x="17648" y="15864"/>
                    <a:pt x="18248" y="16399"/>
                  </a:cubicBezTo>
                </a:path>
              </a:pathLst>
            </a:custGeom>
            <a:solidFill>
              <a:srgbClr val="355C7D"/>
            </a:solidFill>
            <a:ln w="3175" cap="flat">
              <a:solidFill>
                <a:schemeClr val="tx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3" name="Shape 2081"/>
            <p:cNvSpPr/>
            <p:nvPr/>
          </p:nvSpPr>
          <p:spPr>
            <a:xfrm>
              <a:off x="3197076" y="349899"/>
              <a:ext cx="3256059" cy="35765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cubicBezTo>
                    <a:pt x="9672" y="21600"/>
                    <a:pt x="11920" y="0"/>
                    <a:pt x="21600" y="0"/>
                  </a:cubicBezTo>
                </a:path>
              </a:pathLst>
            </a:custGeom>
            <a:noFill/>
            <a:ln w="25400" cap="flat">
              <a:solidFill>
                <a:schemeClr val="tx2"/>
              </a:solidFill>
              <a:prstDash val="solid"/>
              <a:miter lim="800000"/>
            </a:ln>
            <a:effectLst/>
          </p:spPr>
          <p:txBody>
            <a:bodyPr wrap="square" lIns="59013" tIns="59013" rIns="59013" bIns="59013" numCol="1" anchor="t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4" name="Shape 2082"/>
            <p:cNvSpPr/>
            <p:nvPr/>
          </p:nvSpPr>
          <p:spPr>
            <a:xfrm>
              <a:off x="6523402" y="273921"/>
              <a:ext cx="149504" cy="149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833"/>
                  </a:moveTo>
                  <a:cubicBezTo>
                    <a:pt x="21600" y="12856"/>
                    <a:pt x="21142" y="14487"/>
                    <a:pt x="20160" y="16184"/>
                  </a:cubicBezTo>
                  <a:cubicBezTo>
                    <a:pt x="19178" y="17946"/>
                    <a:pt x="17935" y="19185"/>
                    <a:pt x="16233" y="20164"/>
                  </a:cubicBezTo>
                  <a:cubicBezTo>
                    <a:pt x="14531" y="21143"/>
                    <a:pt x="12764" y="21600"/>
                    <a:pt x="10800" y="21600"/>
                  </a:cubicBezTo>
                  <a:cubicBezTo>
                    <a:pt x="8836" y="21600"/>
                    <a:pt x="7069" y="21143"/>
                    <a:pt x="5367" y="20164"/>
                  </a:cubicBezTo>
                  <a:cubicBezTo>
                    <a:pt x="3665" y="19185"/>
                    <a:pt x="2422" y="17946"/>
                    <a:pt x="1440" y="16184"/>
                  </a:cubicBezTo>
                  <a:cubicBezTo>
                    <a:pt x="458" y="14487"/>
                    <a:pt x="0" y="12856"/>
                    <a:pt x="0" y="10833"/>
                  </a:cubicBezTo>
                  <a:cubicBezTo>
                    <a:pt x="0" y="8875"/>
                    <a:pt x="458" y="7113"/>
                    <a:pt x="1440" y="5416"/>
                  </a:cubicBezTo>
                  <a:cubicBezTo>
                    <a:pt x="2422" y="3785"/>
                    <a:pt x="3665" y="2480"/>
                    <a:pt x="5367" y="1436"/>
                  </a:cubicBezTo>
                  <a:cubicBezTo>
                    <a:pt x="7069" y="457"/>
                    <a:pt x="8836" y="0"/>
                    <a:pt x="10800" y="0"/>
                  </a:cubicBezTo>
                  <a:cubicBezTo>
                    <a:pt x="12764" y="0"/>
                    <a:pt x="14531" y="457"/>
                    <a:pt x="16233" y="1436"/>
                  </a:cubicBezTo>
                  <a:cubicBezTo>
                    <a:pt x="17935" y="2480"/>
                    <a:pt x="19178" y="3785"/>
                    <a:pt x="20160" y="5416"/>
                  </a:cubicBezTo>
                  <a:cubicBezTo>
                    <a:pt x="21142" y="7113"/>
                    <a:pt x="21600" y="8875"/>
                    <a:pt x="21600" y="10833"/>
                  </a:cubicBezTo>
                </a:path>
              </a:pathLst>
            </a:custGeom>
            <a:solidFill>
              <a:srgbClr val="F8AD94"/>
            </a:solidFill>
            <a:ln w="3175" cap="flat">
              <a:solidFill>
                <a:schemeClr val="accent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7" name="Shape 2085"/>
            <p:cNvSpPr/>
            <p:nvPr/>
          </p:nvSpPr>
          <p:spPr>
            <a:xfrm>
              <a:off x="3197076" y="2613245"/>
              <a:ext cx="3256059" cy="13131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cubicBezTo>
                    <a:pt x="9672" y="21600"/>
                    <a:pt x="11920" y="0"/>
                    <a:pt x="21600" y="0"/>
                  </a:cubicBezTo>
                </a:path>
              </a:pathLst>
            </a:custGeom>
            <a:noFill/>
            <a:ln w="25400" cap="flat">
              <a:solidFill>
                <a:schemeClr val="tx2"/>
              </a:solidFill>
              <a:prstDash val="solid"/>
              <a:miter lim="800000"/>
            </a:ln>
            <a:effectLst/>
          </p:spPr>
          <p:txBody>
            <a:bodyPr wrap="square" lIns="59013" tIns="59013" rIns="59013" bIns="59013" numCol="1" anchor="t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8" name="Shape 2086"/>
            <p:cNvSpPr/>
            <p:nvPr/>
          </p:nvSpPr>
          <p:spPr>
            <a:xfrm>
              <a:off x="6523402" y="2539266"/>
              <a:ext cx="149504" cy="149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800"/>
                  </a:moveTo>
                  <a:cubicBezTo>
                    <a:pt x="21600" y="12764"/>
                    <a:pt x="21142" y="14400"/>
                    <a:pt x="20160" y="16167"/>
                  </a:cubicBezTo>
                  <a:cubicBezTo>
                    <a:pt x="19178" y="17869"/>
                    <a:pt x="17935" y="19113"/>
                    <a:pt x="16233" y="20160"/>
                  </a:cubicBezTo>
                  <a:cubicBezTo>
                    <a:pt x="14531" y="21142"/>
                    <a:pt x="12764" y="21600"/>
                    <a:pt x="10800" y="21600"/>
                  </a:cubicBezTo>
                  <a:cubicBezTo>
                    <a:pt x="8836" y="21600"/>
                    <a:pt x="7069" y="21142"/>
                    <a:pt x="5367" y="20160"/>
                  </a:cubicBezTo>
                  <a:cubicBezTo>
                    <a:pt x="3665" y="19113"/>
                    <a:pt x="2422" y="17869"/>
                    <a:pt x="1440" y="16167"/>
                  </a:cubicBezTo>
                  <a:cubicBezTo>
                    <a:pt x="458" y="14400"/>
                    <a:pt x="0" y="12764"/>
                    <a:pt x="0" y="10800"/>
                  </a:cubicBezTo>
                  <a:cubicBezTo>
                    <a:pt x="0" y="8771"/>
                    <a:pt x="458" y="7069"/>
                    <a:pt x="1440" y="5367"/>
                  </a:cubicBezTo>
                  <a:cubicBezTo>
                    <a:pt x="2422" y="3600"/>
                    <a:pt x="3665" y="2422"/>
                    <a:pt x="5367" y="1440"/>
                  </a:cubicBezTo>
                  <a:cubicBezTo>
                    <a:pt x="7069" y="458"/>
                    <a:pt x="8836" y="0"/>
                    <a:pt x="10800" y="0"/>
                  </a:cubicBezTo>
                  <a:cubicBezTo>
                    <a:pt x="12764" y="0"/>
                    <a:pt x="14531" y="458"/>
                    <a:pt x="16233" y="1440"/>
                  </a:cubicBezTo>
                  <a:cubicBezTo>
                    <a:pt x="17935" y="2422"/>
                    <a:pt x="19178" y="3600"/>
                    <a:pt x="20160" y="5367"/>
                  </a:cubicBezTo>
                  <a:cubicBezTo>
                    <a:pt x="21142" y="7069"/>
                    <a:pt x="21600" y="8771"/>
                    <a:pt x="21600" y="10800"/>
                  </a:cubicBezTo>
                </a:path>
              </a:pathLst>
            </a:custGeom>
            <a:solidFill>
              <a:srgbClr val="F8AD94"/>
            </a:solidFill>
            <a:ln w="3175" cap="flat">
              <a:solidFill>
                <a:schemeClr val="accent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9" name="Shape 2097"/>
            <p:cNvSpPr/>
            <p:nvPr/>
          </p:nvSpPr>
          <p:spPr>
            <a:xfrm>
              <a:off x="3145091" y="3802901"/>
              <a:ext cx="239480" cy="2394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759"/>
                  </a:moveTo>
                  <a:cubicBezTo>
                    <a:pt x="21600" y="12764"/>
                    <a:pt x="21070" y="14441"/>
                    <a:pt x="20092" y="16159"/>
                  </a:cubicBezTo>
                  <a:cubicBezTo>
                    <a:pt x="19114" y="17877"/>
                    <a:pt x="17891" y="19145"/>
                    <a:pt x="16180" y="20127"/>
                  </a:cubicBezTo>
                  <a:cubicBezTo>
                    <a:pt x="14468" y="21150"/>
                    <a:pt x="12797" y="21600"/>
                    <a:pt x="10800" y="21600"/>
                  </a:cubicBezTo>
                  <a:cubicBezTo>
                    <a:pt x="8803" y="21600"/>
                    <a:pt x="7132" y="21150"/>
                    <a:pt x="5420" y="20127"/>
                  </a:cubicBezTo>
                  <a:cubicBezTo>
                    <a:pt x="3709" y="19145"/>
                    <a:pt x="2445" y="17877"/>
                    <a:pt x="1467" y="16159"/>
                  </a:cubicBezTo>
                  <a:cubicBezTo>
                    <a:pt x="448" y="14441"/>
                    <a:pt x="0" y="12764"/>
                    <a:pt x="0" y="10759"/>
                  </a:cubicBezTo>
                  <a:cubicBezTo>
                    <a:pt x="0" y="8755"/>
                    <a:pt x="448" y="7077"/>
                    <a:pt x="1467" y="5359"/>
                  </a:cubicBezTo>
                  <a:cubicBezTo>
                    <a:pt x="2445" y="3641"/>
                    <a:pt x="3709" y="2414"/>
                    <a:pt x="5420" y="1432"/>
                  </a:cubicBezTo>
                  <a:cubicBezTo>
                    <a:pt x="7132" y="409"/>
                    <a:pt x="8803" y="0"/>
                    <a:pt x="10800" y="0"/>
                  </a:cubicBezTo>
                  <a:cubicBezTo>
                    <a:pt x="12756" y="0"/>
                    <a:pt x="14468" y="409"/>
                    <a:pt x="16180" y="1432"/>
                  </a:cubicBezTo>
                  <a:cubicBezTo>
                    <a:pt x="17891" y="2414"/>
                    <a:pt x="19114" y="3641"/>
                    <a:pt x="20092" y="5359"/>
                  </a:cubicBezTo>
                  <a:cubicBezTo>
                    <a:pt x="21070" y="7077"/>
                    <a:pt x="21600" y="8795"/>
                    <a:pt x="21600" y="10759"/>
                  </a:cubicBezTo>
                </a:path>
              </a:pathLst>
            </a:custGeom>
            <a:solidFill>
              <a:schemeClr val="tx2"/>
            </a:solidFill>
            <a:ln w="3175" cap="flat">
              <a:solidFill>
                <a:schemeClr val="tx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80" name="Shape 2098"/>
            <p:cNvSpPr/>
            <p:nvPr/>
          </p:nvSpPr>
          <p:spPr>
            <a:xfrm>
              <a:off x="7700323" y="2378544"/>
              <a:ext cx="3490802" cy="322199"/>
            </a:xfrm>
            <a:prstGeom prst="rect">
              <a:avLst/>
            </a:prstGeom>
            <a:noFill/>
            <a:ln w="3175" cap="flat">
              <a:solidFill>
                <a:schemeClr val="bg1"/>
              </a:solidFill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noAutofit/>
            </a:bodyPr>
            <a:lstStyle>
              <a:lvl1pPr algn="l" defTabSz="590133">
                <a:lnSpc>
                  <a:spcPct val="93000"/>
                </a:lnSpc>
                <a:tabLst>
                  <a:tab pos="584200" algn="l"/>
                  <a:tab pos="1168400" algn="l"/>
                  <a:tab pos="1765300" algn="l"/>
                  <a:tab pos="2349500" algn="l"/>
                  <a:tab pos="2946400" algn="l"/>
                  <a:tab pos="3530600" algn="l"/>
                  <a:tab pos="4127500" algn="l"/>
                  <a:tab pos="4711700" algn="l"/>
                  <a:tab pos="5308600" algn="l"/>
                  <a:tab pos="5892800" algn="l"/>
                  <a:tab pos="6489700" algn="l"/>
                  <a:tab pos="7073900" algn="l"/>
                  <a:tab pos="7670800" algn="l"/>
                  <a:tab pos="8255000" algn="l"/>
                  <a:tab pos="8851900" algn="l"/>
                  <a:tab pos="9436100" algn="l"/>
                  <a:tab pos="10020300" algn="l"/>
                  <a:tab pos="10617200" algn="l"/>
                  <a:tab pos="11201400" algn="l"/>
                  <a:tab pos="11798300" algn="l"/>
                </a:tabLst>
                <a:defRPr sz="2200" b="1">
                  <a:solidFill>
                    <a:srgbClr val="726658"/>
                  </a:solidFill>
                  <a:latin typeface="'Roboto-Bold'"/>
                  <a:ea typeface="'Roboto-Bold'"/>
                  <a:cs typeface="'Roboto-Bold'"/>
                  <a:sym typeface="'Roboto-Bold'"/>
                </a:defRPr>
              </a:lvl1pPr>
            </a:lstStyle>
            <a:p>
              <a:pPr algn="ctr"/>
              <a:r>
                <a:rPr lang="en-US" b="0" dirty="0" smtClean="0"/>
                <a:t>Preparing for interviews</a:t>
              </a:r>
              <a:endParaRPr lang="en-US" b="0" dirty="0"/>
            </a:p>
          </p:txBody>
        </p:sp>
        <p:sp>
          <p:nvSpPr>
            <p:cNvPr id="94" name="Shape 2112"/>
            <p:cNvSpPr/>
            <p:nvPr/>
          </p:nvSpPr>
          <p:spPr>
            <a:xfrm>
              <a:off x="62080" y="142702"/>
              <a:ext cx="2394249" cy="76095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05" h="21600" extrusionOk="0">
                  <a:moveTo>
                    <a:pt x="1474" y="0"/>
                  </a:moveTo>
                  <a:cubicBezTo>
                    <a:pt x="2299" y="56"/>
                    <a:pt x="3007" y="162"/>
                    <a:pt x="3508" y="335"/>
                  </a:cubicBezTo>
                  <a:cubicBezTo>
                    <a:pt x="3508" y="335"/>
                    <a:pt x="9262" y="649"/>
                    <a:pt x="10196" y="1724"/>
                  </a:cubicBezTo>
                  <a:cubicBezTo>
                    <a:pt x="10196" y="1724"/>
                    <a:pt x="13858" y="2530"/>
                    <a:pt x="11870" y="3246"/>
                  </a:cubicBezTo>
                  <a:cubicBezTo>
                    <a:pt x="11870" y="3246"/>
                    <a:pt x="15841" y="4770"/>
                    <a:pt x="15841" y="7905"/>
                  </a:cubicBezTo>
                  <a:cubicBezTo>
                    <a:pt x="15841" y="7905"/>
                    <a:pt x="16469" y="8666"/>
                    <a:pt x="15841" y="9066"/>
                  </a:cubicBezTo>
                  <a:cubicBezTo>
                    <a:pt x="15841" y="9066"/>
                    <a:pt x="14897" y="9425"/>
                    <a:pt x="16675" y="10412"/>
                  </a:cubicBezTo>
                  <a:lnTo>
                    <a:pt x="19537" y="11932"/>
                  </a:lnTo>
                  <a:cubicBezTo>
                    <a:pt x="19537" y="11932"/>
                    <a:pt x="21600" y="12690"/>
                    <a:pt x="17863" y="13258"/>
                  </a:cubicBezTo>
                  <a:cubicBezTo>
                    <a:pt x="17863" y="13258"/>
                    <a:pt x="17225" y="13546"/>
                    <a:pt x="17734" y="14363"/>
                  </a:cubicBezTo>
                  <a:cubicBezTo>
                    <a:pt x="17734" y="14363"/>
                    <a:pt x="18560" y="14522"/>
                    <a:pt x="17351" y="15041"/>
                  </a:cubicBezTo>
                  <a:cubicBezTo>
                    <a:pt x="17351" y="15041"/>
                    <a:pt x="18238" y="15361"/>
                    <a:pt x="17793" y="15769"/>
                  </a:cubicBezTo>
                  <a:cubicBezTo>
                    <a:pt x="17793" y="15769"/>
                    <a:pt x="17608" y="15886"/>
                    <a:pt x="16842" y="15995"/>
                  </a:cubicBezTo>
                  <a:cubicBezTo>
                    <a:pt x="16842" y="15995"/>
                    <a:pt x="15695" y="16563"/>
                    <a:pt x="16461" y="16972"/>
                  </a:cubicBezTo>
                  <a:cubicBezTo>
                    <a:pt x="16461" y="16972"/>
                    <a:pt x="18696" y="18356"/>
                    <a:pt x="14002" y="18983"/>
                  </a:cubicBezTo>
                  <a:cubicBezTo>
                    <a:pt x="14002" y="18983"/>
                    <a:pt x="11191" y="19172"/>
                    <a:pt x="8845" y="18983"/>
                  </a:cubicBezTo>
                  <a:cubicBezTo>
                    <a:pt x="8845" y="18983"/>
                    <a:pt x="6237" y="18837"/>
                    <a:pt x="4249" y="20270"/>
                  </a:cubicBezTo>
                  <a:cubicBezTo>
                    <a:pt x="4249" y="20270"/>
                    <a:pt x="3560" y="20768"/>
                    <a:pt x="3050" y="21600"/>
                  </a:cubicBezTo>
                  <a:lnTo>
                    <a:pt x="0" y="21600"/>
                  </a:lnTo>
                  <a:lnTo>
                    <a:pt x="0" y="0"/>
                  </a:lnTo>
                  <a:lnTo>
                    <a:pt x="1474" y="0"/>
                  </a:lnTo>
                </a:path>
              </a:pathLst>
            </a:custGeom>
            <a:solidFill>
              <a:schemeClr val="tx2"/>
            </a:solidFill>
            <a:ln w="3175" cap="flat">
              <a:solidFill>
                <a:schemeClr val="tx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sp>
        <p:nvSpPr>
          <p:cNvPr id="99" name="Shape 2951"/>
          <p:cNvSpPr/>
          <p:nvPr/>
        </p:nvSpPr>
        <p:spPr>
          <a:xfrm>
            <a:off x="5366954" y="1536194"/>
            <a:ext cx="297469" cy="41027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12712" y="21600"/>
                </a:lnTo>
                <a:lnTo>
                  <a:pt x="12712" y="17381"/>
                </a:lnTo>
                <a:lnTo>
                  <a:pt x="8913" y="17381"/>
                </a:lnTo>
                <a:lnTo>
                  <a:pt x="8913" y="21600"/>
                </a:lnTo>
                <a:lnTo>
                  <a:pt x="0" y="21600"/>
                </a:lnTo>
                <a:lnTo>
                  <a:pt x="0" y="1454"/>
                </a:lnTo>
                <a:lnTo>
                  <a:pt x="5363" y="1454"/>
                </a:lnTo>
                <a:lnTo>
                  <a:pt x="5363" y="0"/>
                </a:lnTo>
                <a:lnTo>
                  <a:pt x="16262" y="0"/>
                </a:lnTo>
                <a:lnTo>
                  <a:pt x="16262" y="1454"/>
                </a:lnTo>
                <a:lnTo>
                  <a:pt x="21600" y="1454"/>
                </a:lnTo>
                <a:lnTo>
                  <a:pt x="21600" y="21600"/>
                </a:lnTo>
                <a:close/>
                <a:moveTo>
                  <a:pt x="7126" y="11725"/>
                </a:moveTo>
                <a:lnTo>
                  <a:pt x="3575" y="11725"/>
                </a:lnTo>
                <a:lnTo>
                  <a:pt x="3575" y="14292"/>
                </a:lnTo>
                <a:lnTo>
                  <a:pt x="7126" y="14292"/>
                </a:lnTo>
                <a:lnTo>
                  <a:pt x="7126" y="11725"/>
                </a:lnTo>
                <a:close/>
                <a:moveTo>
                  <a:pt x="7126" y="7882"/>
                </a:moveTo>
                <a:lnTo>
                  <a:pt x="3575" y="7882"/>
                </a:lnTo>
                <a:lnTo>
                  <a:pt x="3575" y="10450"/>
                </a:lnTo>
                <a:lnTo>
                  <a:pt x="7126" y="10450"/>
                </a:lnTo>
                <a:lnTo>
                  <a:pt x="7126" y="7882"/>
                </a:lnTo>
                <a:close/>
                <a:moveTo>
                  <a:pt x="7126" y="4040"/>
                </a:moveTo>
                <a:lnTo>
                  <a:pt x="3575" y="4040"/>
                </a:lnTo>
                <a:lnTo>
                  <a:pt x="3575" y="6607"/>
                </a:lnTo>
                <a:lnTo>
                  <a:pt x="7126" y="6607"/>
                </a:lnTo>
                <a:lnTo>
                  <a:pt x="7126" y="4040"/>
                </a:lnTo>
                <a:close/>
                <a:moveTo>
                  <a:pt x="12712" y="11725"/>
                </a:moveTo>
                <a:lnTo>
                  <a:pt x="8913" y="11725"/>
                </a:lnTo>
                <a:lnTo>
                  <a:pt x="8913" y="14292"/>
                </a:lnTo>
                <a:lnTo>
                  <a:pt x="12712" y="14292"/>
                </a:lnTo>
                <a:lnTo>
                  <a:pt x="12712" y="11725"/>
                </a:lnTo>
                <a:close/>
                <a:moveTo>
                  <a:pt x="12662" y="10450"/>
                </a:moveTo>
                <a:lnTo>
                  <a:pt x="12662" y="7882"/>
                </a:lnTo>
                <a:lnTo>
                  <a:pt x="8888" y="7882"/>
                </a:lnTo>
                <a:lnTo>
                  <a:pt x="8888" y="10450"/>
                </a:lnTo>
                <a:lnTo>
                  <a:pt x="12662" y="10450"/>
                </a:lnTo>
                <a:close/>
                <a:moveTo>
                  <a:pt x="12712" y="4040"/>
                </a:moveTo>
                <a:lnTo>
                  <a:pt x="8938" y="4040"/>
                </a:lnTo>
                <a:lnTo>
                  <a:pt x="8938" y="6607"/>
                </a:lnTo>
                <a:lnTo>
                  <a:pt x="12737" y="6607"/>
                </a:lnTo>
                <a:lnTo>
                  <a:pt x="12737" y="4040"/>
                </a:lnTo>
                <a:lnTo>
                  <a:pt x="12712" y="4040"/>
                </a:lnTo>
                <a:close/>
                <a:moveTo>
                  <a:pt x="18050" y="11725"/>
                </a:moveTo>
                <a:lnTo>
                  <a:pt x="14499" y="11725"/>
                </a:lnTo>
                <a:lnTo>
                  <a:pt x="14499" y="14292"/>
                </a:lnTo>
                <a:lnTo>
                  <a:pt x="18050" y="14292"/>
                </a:lnTo>
                <a:lnTo>
                  <a:pt x="18050" y="11725"/>
                </a:lnTo>
                <a:close/>
                <a:moveTo>
                  <a:pt x="18050" y="7882"/>
                </a:moveTo>
                <a:lnTo>
                  <a:pt x="14499" y="7882"/>
                </a:lnTo>
                <a:lnTo>
                  <a:pt x="14499" y="10450"/>
                </a:lnTo>
                <a:lnTo>
                  <a:pt x="18050" y="10450"/>
                </a:lnTo>
                <a:lnTo>
                  <a:pt x="18050" y="7882"/>
                </a:lnTo>
                <a:close/>
                <a:moveTo>
                  <a:pt x="18050" y="4040"/>
                </a:moveTo>
                <a:lnTo>
                  <a:pt x="14499" y="4040"/>
                </a:lnTo>
                <a:lnTo>
                  <a:pt x="14499" y="6607"/>
                </a:lnTo>
                <a:lnTo>
                  <a:pt x="18050" y="6607"/>
                </a:lnTo>
                <a:lnTo>
                  <a:pt x="18050" y="4040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00" name="Shape 2098"/>
          <p:cNvSpPr/>
          <p:nvPr/>
        </p:nvSpPr>
        <p:spPr>
          <a:xfrm>
            <a:off x="5764378" y="1503422"/>
            <a:ext cx="2733863" cy="226546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t">
            <a:noAutofit/>
          </a:bodyPr>
          <a:lstStyle>
            <a:lvl1pPr algn="l"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2200" b="1">
                <a:solidFill>
                  <a:srgbClr val="726658"/>
                </a:solidFill>
                <a:latin typeface="'Roboto-Bold'"/>
                <a:ea typeface="'Roboto-Bold'"/>
                <a:cs typeface="'Roboto-Bold'"/>
                <a:sym typeface="'Roboto-Bold'"/>
              </a:defRPr>
            </a:lvl1pPr>
          </a:lstStyle>
          <a:p>
            <a:pPr algn="ctr"/>
            <a:r>
              <a:rPr lang="en-US" b="0" dirty="0" smtClean="0"/>
              <a:t>Types Of Interviews</a:t>
            </a:r>
            <a:endParaRPr lang="en-US" b="0" dirty="0"/>
          </a:p>
        </p:txBody>
      </p:sp>
      <p:sp>
        <p:nvSpPr>
          <p:cNvPr id="26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Interview Training </a:t>
            </a:r>
          </a:p>
        </p:txBody>
      </p:sp>
    </p:spTree>
    <p:extLst>
      <p:ext uri="{BB962C8B-B14F-4D97-AF65-F5344CB8AC3E}">
        <p14:creationId xmlns:p14="http://schemas.microsoft.com/office/powerpoint/2010/main" val="2532619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" name="Group 2113"/>
          <p:cNvGrpSpPr/>
          <p:nvPr/>
        </p:nvGrpSpPr>
        <p:grpSpPr>
          <a:xfrm>
            <a:off x="32619" y="1462931"/>
            <a:ext cx="8715845" cy="5350445"/>
            <a:chOff x="62080" y="142702"/>
            <a:chExt cx="11129045" cy="7609521"/>
          </a:xfrm>
        </p:grpSpPr>
        <p:sp>
          <p:nvSpPr>
            <p:cNvPr id="56" name="Shape 2074"/>
            <p:cNvSpPr/>
            <p:nvPr/>
          </p:nvSpPr>
          <p:spPr>
            <a:xfrm>
              <a:off x="6844741" y="2310559"/>
              <a:ext cx="536079" cy="6053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2" h="21600" extrusionOk="0">
                  <a:moveTo>
                    <a:pt x="18248" y="16399"/>
                  </a:moveTo>
                  <a:cubicBezTo>
                    <a:pt x="18831" y="16933"/>
                    <a:pt x="19091" y="17565"/>
                    <a:pt x="19204" y="18424"/>
                  </a:cubicBezTo>
                  <a:cubicBezTo>
                    <a:pt x="19253" y="18683"/>
                    <a:pt x="19204" y="18959"/>
                    <a:pt x="19156" y="19234"/>
                  </a:cubicBezTo>
                  <a:lnTo>
                    <a:pt x="16902" y="17192"/>
                  </a:lnTo>
                  <a:lnTo>
                    <a:pt x="14858" y="19396"/>
                  </a:lnTo>
                  <a:lnTo>
                    <a:pt x="17129" y="21422"/>
                  </a:lnTo>
                  <a:cubicBezTo>
                    <a:pt x="16837" y="21535"/>
                    <a:pt x="16577" y="21600"/>
                    <a:pt x="16302" y="21600"/>
                  </a:cubicBezTo>
                  <a:cubicBezTo>
                    <a:pt x="15507" y="21600"/>
                    <a:pt x="14858" y="21373"/>
                    <a:pt x="14275" y="20838"/>
                  </a:cubicBezTo>
                  <a:cubicBezTo>
                    <a:pt x="13691" y="20304"/>
                    <a:pt x="13367" y="19720"/>
                    <a:pt x="13367" y="18926"/>
                  </a:cubicBezTo>
                  <a:cubicBezTo>
                    <a:pt x="13367" y="18635"/>
                    <a:pt x="13415" y="18327"/>
                    <a:pt x="13480" y="18051"/>
                  </a:cubicBezTo>
                  <a:lnTo>
                    <a:pt x="12929" y="17517"/>
                  </a:lnTo>
                  <a:lnTo>
                    <a:pt x="9653" y="14567"/>
                  </a:lnTo>
                  <a:lnTo>
                    <a:pt x="4156" y="20628"/>
                  </a:lnTo>
                  <a:cubicBezTo>
                    <a:pt x="3831" y="21049"/>
                    <a:pt x="3280" y="21373"/>
                    <a:pt x="2696" y="21373"/>
                  </a:cubicBezTo>
                  <a:cubicBezTo>
                    <a:pt x="1740" y="21373"/>
                    <a:pt x="929" y="20563"/>
                    <a:pt x="929" y="19607"/>
                  </a:cubicBezTo>
                  <a:cubicBezTo>
                    <a:pt x="929" y="19072"/>
                    <a:pt x="1156" y="18602"/>
                    <a:pt x="1513" y="18278"/>
                  </a:cubicBezTo>
                  <a:lnTo>
                    <a:pt x="7253" y="12315"/>
                  </a:lnTo>
                  <a:lnTo>
                    <a:pt x="3831" y="9171"/>
                  </a:lnTo>
                  <a:cubicBezTo>
                    <a:pt x="3572" y="9285"/>
                    <a:pt x="3248" y="9317"/>
                    <a:pt x="2972" y="9317"/>
                  </a:cubicBezTo>
                  <a:cubicBezTo>
                    <a:pt x="2161" y="9317"/>
                    <a:pt x="1513" y="9107"/>
                    <a:pt x="929" y="8572"/>
                  </a:cubicBezTo>
                  <a:cubicBezTo>
                    <a:pt x="345" y="8053"/>
                    <a:pt x="21" y="7454"/>
                    <a:pt x="21" y="6644"/>
                  </a:cubicBezTo>
                  <a:cubicBezTo>
                    <a:pt x="-28" y="6384"/>
                    <a:pt x="21" y="6109"/>
                    <a:pt x="69" y="5850"/>
                  </a:cubicBezTo>
                  <a:lnTo>
                    <a:pt x="2340" y="7875"/>
                  </a:lnTo>
                  <a:lnTo>
                    <a:pt x="4302" y="5688"/>
                  </a:lnTo>
                  <a:lnTo>
                    <a:pt x="2064" y="3646"/>
                  </a:lnTo>
                  <a:cubicBezTo>
                    <a:pt x="2340" y="3549"/>
                    <a:pt x="2599" y="3500"/>
                    <a:pt x="2858" y="3500"/>
                  </a:cubicBezTo>
                  <a:cubicBezTo>
                    <a:pt x="3653" y="3500"/>
                    <a:pt x="4302" y="3711"/>
                    <a:pt x="4902" y="4229"/>
                  </a:cubicBezTo>
                  <a:cubicBezTo>
                    <a:pt x="5486" y="4732"/>
                    <a:pt x="5810" y="5380"/>
                    <a:pt x="5810" y="6174"/>
                  </a:cubicBezTo>
                  <a:cubicBezTo>
                    <a:pt x="5858" y="6433"/>
                    <a:pt x="5810" y="6708"/>
                    <a:pt x="5745" y="6968"/>
                  </a:cubicBezTo>
                  <a:lnTo>
                    <a:pt x="9296" y="10225"/>
                  </a:lnTo>
                  <a:lnTo>
                    <a:pt x="11923" y="7454"/>
                  </a:lnTo>
                  <a:lnTo>
                    <a:pt x="8015" y="4019"/>
                  </a:lnTo>
                  <a:lnTo>
                    <a:pt x="11534" y="0"/>
                  </a:lnTo>
                  <a:lnTo>
                    <a:pt x="21572" y="8783"/>
                  </a:lnTo>
                  <a:lnTo>
                    <a:pt x="18037" y="12817"/>
                  </a:lnTo>
                  <a:lnTo>
                    <a:pt x="14015" y="9285"/>
                  </a:lnTo>
                  <a:lnTo>
                    <a:pt x="11486" y="12218"/>
                  </a:lnTo>
                  <a:lnTo>
                    <a:pt x="15394" y="15815"/>
                  </a:lnTo>
                  <a:cubicBezTo>
                    <a:pt x="15653" y="15702"/>
                    <a:pt x="15929" y="15637"/>
                    <a:pt x="16204" y="15637"/>
                  </a:cubicBezTo>
                  <a:cubicBezTo>
                    <a:pt x="17015" y="15637"/>
                    <a:pt x="17648" y="15864"/>
                    <a:pt x="18248" y="16399"/>
                  </a:cubicBezTo>
                </a:path>
              </a:pathLst>
            </a:custGeom>
            <a:solidFill>
              <a:srgbClr val="355C7D"/>
            </a:solidFill>
            <a:ln w="3175" cap="flat">
              <a:solidFill>
                <a:schemeClr val="tx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8" name="Shape 2076"/>
            <p:cNvSpPr/>
            <p:nvPr/>
          </p:nvSpPr>
          <p:spPr>
            <a:xfrm>
              <a:off x="6805355" y="4574450"/>
              <a:ext cx="625367" cy="59937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8257"/>
                  </a:moveTo>
                  <a:cubicBezTo>
                    <a:pt x="21600" y="9124"/>
                    <a:pt x="20943" y="9876"/>
                    <a:pt x="20052" y="9876"/>
                  </a:cubicBezTo>
                  <a:lnTo>
                    <a:pt x="20052" y="15550"/>
                  </a:lnTo>
                  <a:cubicBezTo>
                    <a:pt x="20005" y="16090"/>
                    <a:pt x="19535" y="16482"/>
                    <a:pt x="19066" y="16482"/>
                  </a:cubicBezTo>
                  <a:cubicBezTo>
                    <a:pt x="18910" y="16482"/>
                    <a:pt x="18706" y="16417"/>
                    <a:pt x="18550" y="16302"/>
                  </a:cubicBezTo>
                  <a:lnTo>
                    <a:pt x="18503" y="16253"/>
                  </a:lnTo>
                  <a:cubicBezTo>
                    <a:pt x="18441" y="16188"/>
                    <a:pt x="18394" y="16188"/>
                    <a:pt x="18394" y="16155"/>
                  </a:cubicBezTo>
                  <a:cubicBezTo>
                    <a:pt x="16235" y="14307"/>
                    <a:pt x="13592" y="11887"/>
                    <a:pt x="9572" y="11495"/>
                  </a:cubicBezTo>
                  <a:cubicBezTo>
                    <a:pt x="9306" y="11446"/>
                    <a:pt x="8947" y="11446"/>
                    <a:pt x="8462" y="11446"/>
                  </a:cubicBezTo>
                  <a:lnTo>
                    <a:pt x="9400" y="17332"/>
                  </a:lnTo>
                  <a:lnTo>
                    <a:pt x="10276" y="17169"/>
                  </a:lnTo>
                  <a:lnTo>
                    <a:pt x="10542" y="18951"/>
                  </a:lnTo>
                  <a:lnTo>
                    <a:pt x="9650" y="19115"/>
                  </a:lnTo>
                  <a:lnTo>
                    <a:pt x="9885" y="21011"/>
                  </a:lnTo>
                  <a:lnTo>
                    <a:pt x="5490" y="21600"/>
                  </a:lnTo>
                  <a:lnTo>
                    <a:pt x="3988" y="11446"/>
                  </a:lnTo>
                  <a:lnTo>
                    <a:pt x="3300" y="11446"/>
                  </a:lnTo>
                  <a:cubicBezTo>
                    <a:pt x="3253" y="11446"/>
                    <a:pt x="3159" y="11446"/>
                    <a:pt x="3097" y="11446"/>
                  </a:cubicBezTo>
                  <a:cubicBezTo>
                    <a:pt x="3097" y="11446"/>
                    <a:pt x="3097" y="11446"/>
                    <a:pt x="3050" y="11446"/>
                  </a:cubicBezTo>
                  <a:cubicBezTo>
                    <a:pt x="1345" y="11446"/>
                    <a:pt x="0" y="9991"/>
                    <a:pt x="0" y="8257"/>
                  </a:cubicBezTo>
                  <a:cubicBezTo>
                    <a:pt x="0" y="6459"/>
                    <a:pt x="1392" y="5069"/>
                    <a:pt x="3050" y="5069"/>
                  </a:cubicBezTo>
                  <a:cubicBezTo>
                    <a:pt x="3050" y="5069"/>
                    <a:pt x="3050" y="5069"/>
                    <a:pt x="3097" y="5069"/>
                  </a:cubicBezTo>
                  <a:cubicBezTo>
                    <a:pt x="3159" y="5069"/>
                    <a:pt x="3253" y="5069"/>
                    <a:pt x="3300" y="5069"/>
                  </a:cubicBezTo>
                  <a:lnTo>
                    <a:pt x="8462" y="5069"/>
                  </a:lnTo>
                  <a:cubicBezTo>
                    <a:pt x="12857" y="5069"/>
                    <a:pt x="15813" y="2518"/>
                    <a:pt x="18143" y="523"/>
                  </a:cubicBezTo>
                  <a:cubicBezTo>
                    <a:pt x="18300" y="196"/>
                    <a:pt x="18644" y="0"/>
                    <a:pt x="19019" y="0"/>
                  </a:cubicBezTo>
                  <a:cubicBezTo>
                    <a:pt x="19535" y="0"/>
                    <a:pt x="20005" y="409"/>
                    <a:pt x="20052" y="965"/>
                  </a:cubicBezTo>
                  <a:lnTo>
                    <a:pt x="20052" y="6639"/>
                  </a:lnTo>
                  <a:cubicBezTo>
                    <a:pt x="20943" y="6639"/>
                    <a:pt x="21600" y="7342"/>
                    <a:pt x="21600" y="8257"/>
                  </a:cubicBezTo>
                  <a:close/>
                  <a:moveTo>
                    <a:pt x="18503" y="2191"/>
                  </a:moveTo>
                  <a:cubicBezTo>
                    <a:pt x="15359" y="4742"/>
                    <a:pt x="13076" y="6132"/>
                    <a:pt x="10026" y="6524"/>
                  </a:cubicBezTo>
                  <a:lnTo>
                    <a:pt x="10026" y="9925"/>
                  </a:lnTo>
                  <a:cubicBezTo>
                    <a:pt x="13076" y="10318"/>
                    <a:pt x="15406" y="11707"/>
                    <a:pt x="18503" y="14193"/>
                  </a:cubicBezTo>
                  <a:lnTo>
                    <a:pt x="18503" y="2191"/>
                  </a:lnTo>
                  <a:close/>
                </a:path>
              </a:pathLst>
            </a:custGeom>
            <a:solidFill>
              <a:srgbClr val="355C7D"/>
            </a:solidFill>
            <a:ln w="3175" cap="flat">
              <a:solidFill>
                <a:schemeClr val="tx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3" name="Shape 2081"/>
            <p:cNvSpPr/>
            <p:nvPr/>
          </p:nvSpPr>
          <p:spPr>
            <a:xfrm>
              <a:off x="3197076" y="349899"/>
              <a:ext cx="3256059" cy="35765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cubicBezTo>
                    <a:pt x="9672" y="21600"/>
                    <a:pt x="11920" y="0"/>
                    <a:pt x="21600" y="0"/>
                  </a:cubicBezTo>
                </a:path>
              </a:pathLst>
            </a:custGeom>
            <a:noFill/>
            <a:ln w="25400" cap="flat">
              <a:solidFill>
                <a:schemeClr val="tx2"/>
              </a:solidFill>
              <a:prstDash val="solid"/>
              <a:miter lim="800000"/>
            </a:ln>
            <a:effectLst/>
          </p:spPr>
          <p:txBody>
            <a:bodyPr wrap="square" lIns="59013" tIns="59013" rIns="59013" bIns="59013" numCol="1" anchor="t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4" name="Shape 2082"/>
            <p:cNvSpPr/>
            <p:nvPr/>
          </p:nvSpPr>
          <p:spPr>
            <a:xfrm>
              <a:off x="6523402" y="273921"/>
              <a:ext cx="149504" cy="149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833"/>
                  </a:moveTo>
                  <a:cubicBezTo>
                    <a:pt x="21600" y="12856"/>
                    <a:pt x="21142" y="14487"/>
                    <a:pt x="20160" y="16184"/>
                  </a:cubicBezTo>
                  <a:cubicBezTo>
                    <a:pt x="19178" y="17946"/>
                    <a:pt x="17935" y="19185"/>
                    <a:pt x="16233" y="20164"/>
                  </a:cubicBezTo>
                  <a:cubicBezTo>
                    <a:pt x="14531" y="21143"/>
                    <a:pt x="12764" y="21600"/>
                    <a:pt x="10800" y="21600"/>
                  </a:cubicBezTo>
                  <a:cubicBezTo>
                    <a:pt x="8836" y="21600"/>
                    <a:pt x="7069" y="21143"/>
                    <a:pt x="5367" y="20164"/>
                  </a:cubicBezTo>
                  <a:cubicBezTo>
                    <a:pt x="3665" y="19185"/>
                    <a:pt x="2422" y="17946"/>
                    <a:pt x="1440" y="16184"/>
                  </a:cubicBezTo>
                  <a:cubicBezTo>
                    <a:pt x="458" y="14487"/>
                    <a:pt x="0" y="12856"/>
                    <a:pt x="0" y="10833"/>
                  </a:cubicBezTo>
                  <a:cubicBezTo>
                    <a:pt x="0" y="8875"/>
                    <a:pt x="458" y="7113"/>
                    <a:pt x="1440" y="5416"/>
                  </a:cubicBezTo>
                  <a:cubicBezTo>
                    <a:pt x="2422" y="3785"/>
                    <a:pt x="3665" y="2480"/>
                    <a:pt x="5367" y="1436"/>
                  </a:cubicBezTo>
                  <a:cubicBezTo>
                    <a:pt x="7069" y="457"/>
                    <a:pt x="8836" y="0"/>
                    <a:pt x="10800" y="0"/>
                  </a:cubicBezTo>
                  <a:cubicBezTo>
                    <a:pt x="12764" y="0"/>
                    <a:pt x="14531" y="457"/>
                    <a:pt x="16233" y="1436"/>
                  </a:cubicBezTo>
                  <a:cubicBezTo>
                    <a:pt x="17935" y="2480"/>
                    <a:pt x="19178" y="3785"/>
                    <a:pt x="20160" y="5416"/>
                  </a:cubicBezTo>
                  <a:cubicBezTo>
                    <a:pt x="21142" y="7113"/>
                    <a:pt x="21600" y="8875"/>
                    <a:pt x="21600" y="10833"/>
                  </a:cubicBezTo>
                </a:path>
              </a:pathLst>
            </a:custGeom>
            <a:solidFill>
              <a:srgbClr val="F8AD94"/>
            </a:solidFill>
            <a:ln w="3175" cap="flat">
              <a:solidFill>
                <a:schemeClr val="accent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7" name="Shape 2085"/>
            <p:cNvSpPr/>
            <p:nvPr/>
          </p:nvSpPr>
          <p:spPr>
            <a:xfrm>
              <a:off x="3197076" y="2613245"/>
              <a:ext cx="3256059" cy="13131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cubicBezTo>
                    <a:pt x="9672" y="21600"/>
                    <a:pt x="11920" y="0"/>
                    <a:pt x="21600" y="0"/>
                  </a:cubicBezTo>
                </a:path>
              </a:pathLst>
            </a:custGeom>
            <a:noFill/>
            <a:ln w="25400" cap="flat">
              <a:solidFill>
                <a:schemeClr val="tx2"/>
              </a:solidFill>
              <a:prstDash val="solid"/>
              <a:miter lim="800000"/>
            </a:ln>
            <a:effectLst/>
          </p:spPr>
          <p:txBody>
            <a:bodyPr wrap="square" lIns="59013" tIns="59013" rIns="59013" bIns="59013" numCol="1" anchor="t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8" name="Shape 2086"/>
            <p:cNvSpPr/>
            <p:nvPr/>
          </p:nvSpPr>
          <p:spPr>
            <a:xfrm>
              <a:off x="6523402" y="2539266"/>
              <a:ext cx="149504" cy="149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800"/>
                  </a:moveTo>
                  <a:cubicBezTo>
                    <a:pt x="21600" y="12764"/>
                    <a:pt x="21142" y="14400"/>
                    <a:pt x="20160" y="16167"/>
                  </a:cubicBezTo>
                  <a:cubicBezTo>
                    <a:pt x="19178" y="17869"/>
                    <a:pt x="17935" y="19113"/>
                    <a:pt x="16233" y="20160"/>
                  </a:cubicBezTo>
                  <a:cubicBezTo>
                    <a:pt x="14531" y="21142"/>
                    <a:pt x="12764" y="21600"/>
                    <a:pt x="10800" y="21600"/>
                  </a:cubicBezTo>
                  <a:cubicBezTo>
                    <a:pt x="8836" y="21600"/>
                    <a:pt x="7069" y="21142"/>
                    <a:pt x="5367" y="20160"/>
                  </a:cubicBezTo>
                  <a:cubicBezTo>
                    <a:pt x="3665" y="19113"/>
                    <a:pt x="2422" y="17869"/>
                    <a:pt x="1440" y="16167"/>
                  </a:cubicBezTo>
                  <a:cubicBezTo>
                    <a:pt x="458" y="14400"/>
                    <a:pt x="0" y="12764"/>
                    <a:pt x="0" y="10800"/>
                  </a:cubicBezTo>
                  <a:cubicBezTo>
                    <a:pt x="0" y="8771"/>
                    <a:pt x="458" y="7069"/>
                    <a:pt x="1440" y="5367"/>
                  </a:cubicBezTo>
                  <a:cubicBezTo>
                    <a:pt x="2422" y="3600"/>
                    <a:pt x="3665" y="2422"/>
                    <a:pt x="5367" y="1440"/>
                  </a:cubicBezTo>
                  <a:cubicBezTo>
                    <a:pt x="7069" y="458"/>
                    <a:pt x="8836" y="0"/>
                    <a:pt x="10800" y="0"/>
                  </a:cubicBezTo>
                  <a:cubicBezTo>
                    <a:pt x="12764" y="0"/>
                    <a:pt x="14531" y="458"/>
                    <a:pt x="16233" y="1440"/>
                  </a:cubicBezTo>
                  <a:cubicBezTo>
                    <a:pt x="17935" y="2422"/>
                    <a:pt x="19178" y="3600"/>
                    <a:pt x="20160" y="5367"/>
                  </a:cubicBezTo>
                  <a:cubicBezTo>
                    <a:pt x="21142" y="7069"/>
                    <a:pt x="21600" y="8771"/>
                    <a:pt x="21600" y="10800"/>
                  </a:cubicBezTo>
                </a:path>
              </a:pathLst>
            </a:custGeom>
            <a:solidFill>
              <a:srgbClr val="F8AD94"/>
            </a:solidFill>
            <a:ln w="3175" cap="flat">
              <a:solidFill>
                <a:schemeClr val="accent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1" name="Shape 2089"/>
            <p:cNvSpPr/>
            <p:nvPr/>
          </p:nvSpPr>
          <p:spPr>
            <a:xfrm>
              <a:off x="3197076" y="3926864"/>
              <a:ext cx="3256059" cy="94727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cubicBezTo>
                    <a:pt x="9672" y="0"/>
                    <a:pt x="11920" y="21600"/>
                    <a:pt x="21600" y="21600"/>
                  </a:cubicBezTo>
                </a:path>
              </a:pathLst>
            </a:custGeom>
            <a:noFill/>
            <a:ln w="25400" cap="flat">
              <a:solidFill>
                <a:schemeClr val="tx2"/>
              </a:solidFill>
              <a:prstDash val="solid"/>
              <a:miter lim="800000"/>
            </a:ln>
            <a:effectLst/>
          </p:spPr>
          <p:txBody>
            <a:bodyPr wrap="square" lIns="59013" tIns="59013" rIns="59013" bIns="59013" numCol="1" anchor="t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2" name="Shape 2090"/>
            <p:cNvSpPr/>
            <p:nvPr/>
          </p:nvSpPr>
          <p:spPr>
            <a:xfrm>
              <a:off x="6523402" y="4800614"/>
              <a:ext cx="149504" cy="149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800"/>
                  </a:moveTo>
                  <a:cubicBezTo>
                    <a:pt x="21600" y="12764"/>
                    <a:pt x="21142" y="14465"/>
                    <a:pt x="20160" y="16233"/>
                  </a:cubicBezTo>
                  <a:cubicBezTo>
                    <a:pt x="19178" y="17935"/>
                    <a:pt x="17935" y="19113"/>
                    <a:pt x="16233" y="20095"/>
                  </a:cubicBezTo>
                  <a:cubicBezTo>
                    <a:pt x="14531" y="21142"/>
                    <a:pt x="12764" y="21600"/>
                    <a:pt x="10800" y="21600"/>
                  </a:cubicBezTo>
                  <a:cubicBezTo>
                    <a:pt x="8836" y="21600"/>
                    <a:pt x="7069" y="21142"/>
                    <a:pt x="5367" y="20095"/>
                  </a:cubicBezTo>
                  <a:cubicBezTo>
                    <a:pt x="3665" y="19113"/>
                    <a:pt x="2422" y="17935"/>
                    <a:pt x="1440" y="16233"/>
                  </a:cubicBezTo>
                  <a:cubicBezTo>
                    <a:pt x="458" y="14465"/>
                    <a:pt x="0" y="12764"/>
                    <a:pt x="0" y="10800"/>
                  </a:cubicBezTo>
                  <a:cubicBezTo>
                    <a:pt x="0" y="8771"/>
                    <a:pt x="458" y="7135"/>
                    <a:pt x="1440" y="5433"/>
                  </a:cubicBezTo>
                  <a:cubicBezTo>
                    <a:pt x="2422" y="3665"/>
                    <a:pt x="3665" y="2422"/>
                    <a:pt x="5367" y="1440"/>
                  </a:cubicBezTo>
                  <a:cubicBezTo>
                    <a:pt x="7069" y="458"/>
                    <a:pt x="8836" y="0"/>
                    <a:pt x="10800" y="0"/>
                  </a:cubicBezTo>
                  <a:cubicBezTo>
                    <a:pt x="12764" y="0"/>
                    <a:pt x="14531" y="458"/>
                    <a:pt x="16233" y="1440"/>
                  </a:cubicBezTo>
                  <a:cubicBezTo>
                    <a:pt x="17935" y="2422"/>
                    <a:pt x="19178" y="3665"/>
                    <a:pt x="20160" y="5433"/>
                  </a:cubicBezTo>
                  <a:cubicBezTo>
                    <a:pt x="21142" y="7135"/>
                    <a:pt x="21600" y="8771"/>
                    <a:pt x="21600" y="10800"/>
                  </a:cubicBezTo>
                </a:path>
              </a:pathLst>
            </a:custGeom>
            <a:solidFill>
              <a:srgbClr val="F8AD94"/>
            </a:solidFill>
            <a:ln w="3175" cap="flat">
              <a:solidFill>
                <a:schemeClr val="accent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9" name="Shape 2097"/>
            <p:cNvSpPr/>
            <p:nvPr/>
          </p:nvSpPr>
          <p:spPr>
            <a:xfrm>
              <a:off x="3145091" y="3802901"/>
              <a:ext cx="239480" cy="2394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759"/>
                  </a:moveTo>
                  <a:cubicBezTo>
                    <a:pt x="21600" y="12764"/>
                    <a:pt x="21070" y="14441"/>
                    <a:pt x="20092" y="16159"/>
                  </a:cubicBezTo>
                  <a:cubicBezTo>
                    <a:pt x="19114" y="17877"/>
                    <a:pt x="17891" y="19145"/>
                    <a:pt x="16180" y="20127"/>
                  </a:cubicBezTo>
                  <a:cubicBezTo>
                    <a:pt x="14468" y="21150"/>
                    <a:pt x="12797" y="21600"/>
                    <a:pt x="10800" y="21600"/>
                  </a:cubicBezTo>
                  <a:cubicBezTo>
                    <a:pt x="8803" y="21600"/>
                    <a:pt x="7132" y="21150"/>
                    <a:pt x="5420" y="20127"/>
                  </a:cubicBezTo>
                  <a:cubicBezTo>
                    <a:pt x="3709" y="19145"/>
                    <a:pt x="2445" y="17877"/>
                    <a:pt x="1467" y="16159"/>
                  </a:cubicBezTo>
                  <a:cubicBezTo>
                    <a:pt x="448" y="14441"/>
                    <a:pt x="0" y="12764"/>
                    <a:pt x="0" y="10759"/>
                  </a:cubicBezTo>
                  <a:cubicBezTo>
                    <a:pt x="0" y="8755"/>
                    <a:pt x="448" y="7077"/>
                    <a:pt x="1467" y="5359"/>
                  </a:cubicBezTo>
                  <a:cubicBezTo>
                    <a:pt x="2445" y="3641"/>
                    <a:pt x="3709" y="2414"/>
                    <a:pt x="5420" y="1432"/>
                  </a:cubicBezTo>
                  <a:cubicBezTo>
                    <a:pt x="7132" y="409"/>
                    <a:pt x="8803" y="0"/>
                    <a:pt x="10800" y="0"/>
                  </a:cubicBezTo>
                  <a:cubicBezTo>
                    <a:pt x="12756" y="0"/>
                    <a:pt x="14468" y="409"/>
                    <a:pt x="16180" y="1432"/>
                  </a:cubicBezTo>
                  <a:cubicBezTo>
                    <a:pt x="17891" y="2414"/>
                    <a:pt x="19114" y="3641"/>
                    <a:pt x="20092" y="5359"/>
                  </a:cubicBezTo>
                  <a:cubicBezTo>
                    <a:pt x="21070" y="7077"/>
                    <a:pt x="21600" y="8795"/>
                    <a:pt x="21600" y="10759"/>
                  </a:cubicBezTo>
                </a:path>
              </a:pathLst>
            </a:custGeom>
            <a:solidFill>
              <a:schemeClr val="tx2"/>
            </a:solidFill>
            <a:ln w="3175" cap="flat">
              <a:solidFill>
                <a:schemeClr val="tx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80" name="Shape 2098"/>
            <p:cNvSpPr/>
            <p:nvPr/>
          </p:nvSpPr>
          <p:spPr>
            <a:xfrm>
              <a:off x="7700323" y="2378544"/>
              <a:ext cx="3490802" cy="322199"/>
            </a:xfrm>
            <a:prstGeom prst="rect">
              <a:avLst/>
            </a:prstGeom>
            <a:noFill/>
            <a:ln w="3175" cap="flat">
              <a:solidFill>
                <a:schemeClr val="bg1"/>
              </a:solidFill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noAutofit/>
            </a:bodyPr>
            <a:lstStyle>
              <a:lvl1pPr algn="l" defTabSz="590133">
                <a:lnSpc>
                  <a:spcPct val="93000"/>
                </a:lnSpc>
                <a:tabLst>
                  <a:tab pos="584200" algn="l"/>
                  <a:tab pos="1168400" algn="l"/>
                  <a:tab pos="1765300" algn="l"/>
                  <a:tab pos="2349500" algn="l"/>
                  <a:tab pos="2946400" algn="l"/>
                  <a:tab pos="3530600" algn="l"/>
                  <a:tab pos="4127500" algn="l"/>
                  <a:tab pos="4711700" algn="l"/>
                  <a:tab pos="5308600" algn="l"/>
                  <a:tab pos="5892800" algn="l"/>
                  <a:tab pos="6489700" algn="l"/>
                  <a:tab pos="7073900" algn="l"/>
                  <a:tab pos="7670800" algn="l"/>
                  <a:tab pos="8255000" algn="l"/>
                  <a:tab pos="8851900" algn="l"/>
                  <a:tab pos="9436100" algn="l"/>
                  <a:tab pos="10020300" algn="l"/>
                  <a:tab pos="10617200" algn="l"/>
                  <a:tab pos="11201400" algn="l"/>
                  <a:tab pos="11798300" algn="l"/>
                </a:tabLst>
                <a:defRPr sz="2200" b="1">
                  <a:solidFill>
                    <a:srgbClr val="726658"/>
                  </a:solidFill>
                  <a:latin typeface="'Roboto-Bold'"/>
                  <a:ea typeface="'Roboto-Bold'"/>
                  <a:cs typeface="'Roboto-Bold'"/>
                  <a:sym typeface="'Roboto-Bold'"/>
                </a:defRPr>
              </a:lvl1pPr>
            </a:lstStyle>
            <a:p>
              <a:pPr algn="ctr"/>
              <a:r>
                <a:rPr lang="en-US" b="0" dirty="0" smtClean="0"/>
                <a:t>Preparing for interviews</a:t>
              </a:r>
              <a:endParaRPr lang="en-US" b="0" dirty="0"/>
            </a:p>
          </p:txBody>
        </p:sp>
        <p:sp>
          <p:nvSpPr>
            <p:cNvPr id="94" name="Shape 2112"/>
            <p:cNvSpPr/>
            <p:nvPr/>
          </p:nvSpPr>
          <p:spPr>
            <a:xfrm>
              <a:off x="62080" y="142702"/>
              <a:ext cx="2394249" cy="76095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05" h="21600" extrusionOk="0">
                  <a:moveTo>
                    <a:pt x="1474" y="0"/>
                  </a:moveTo>
                  <a:cubicBezTo>
                    <a:pt x="2299" y="56"/>
                    <a:pt x="3007" y="162"/>
                    <a:pt x="3508" y="335"/>
                  </a:cubicBezTo>
                  <a:cubicBezTo>
                    <a:pt x="3508" y="335"/>
                    <a:pt x="9262" y="649"/>
                    <a:pt x="10196" y="1724"/>
                  </a:cubicBezTo>
                  <a:cubicBezTo>
                    <a:pt x="10196" y="1724"/>
                    <a:pt x="13858" y="2530"/>
                    <a:pt x="11870" y="3246"/>
                  </a:cubicBezTo>
                  <a:cubicBezTo>
                    <a:pt x="11870" y="3246"/>
                    <a:pt x="15841" y="4770"/>
                    <a:pt x="15841" y="7905"/>
                  </a:cubicBezTo>
                  <a:cubicBezTo>
                    <a:pt x="15841" y="7905"/>
                    <a:pt x="16469" y="8666"/>
                    <a:pt x="15841" y="9066"/>
                  </a:cubicBezTo>
                  <a:cubicBezTo>
                    <a:pt x="15841" y="9066"/>
                    <a:pt x="14897" y="9425"/>
                    <a:pt x="16675" y="10412"/>
                  </a:cubicBezTo>
                  <a:lnTo>
                    <a:pt x="19537" y="11932"/>
                  </a:lnTo>
                  <a:cubicBezTo>
                    <a:pt x="19537" y="11932"/>
                    <a:pt x="21600" y="12690"/>
                    <a:pt x="17863" y="13258"/>
                  </a:cubicBezTo>
                  <a:cubicBezTo>
                    <a:pt x="17863" y="13258"/>
                    <a:pt x="17225" y="13546"/>
                    <a:pt x="17734" y="14363"/>
                  </a:cubicBezTo>
                  <a:cubicBezTo>
                    <a:pt x="17734" y="14363"/>
                    <a:pt x="18560" y="14522"/>
                    <a:pt x="17351" y="15041"/>
                  </a:cubicBezTo>
                  <a:cubicBezTo>
                    <a:pt x="17351" y="15041"/>
                    <a:pt x="18238" y="15361"/>
                    <a:pt x="17793" y="15769"/>
                  </a:cubicBezTo>
                  <a:cubicBezTo>
                    <a:pt x="17793" y="15769"/>
                    <a:pt x="17608" y="15886"/>
                    <a:pt x="16842" y="15995"/>
                  </a:cubicBezTo>
                  <a:cubicBezTo>
                    <a:pt x="16842" y="15995"/>
                    <a:pt x="15695" y="16563"/>
                    <a:pt x="16461" y="16972"/>
                  </a:cubicBezTo>
                  <a:cubicBezTo>
                    <a:pt x="16461" y="16972"/>
                    <a:pt x="18696" y="18356"/>
                    <a:pt x="14002" y="18983"/>
                  </a:cubicBezTo>
                  <a:cubicBezTo>
                    <a:pt x="14002" y="18983"/>
                    <a:pt x="11191" y="19172"/>
                    <a:pt x="8845" y="18983"/>
                  </a:cubicBezTo>
                  <a:cubicBezTo>
                    <a:pt x="8845" y="18983"/>
                    <a:pt x="6237" y="18837"/>
                    <a:pt x="4249" y="20270"/>
                  </a:cubicBezTo>
                  <a:cubicBezTo>
                    <a:pt x="4249" y="20270"/>
                    <a:pt x="3560" y="20768"/>
                    <a:pt x="3050" y="21600"/>
                  </a:cubicBezTo>
                  <a:lnTo>
                    <a:pt x="0" y="21600"/>
                  </a:lnTo>
                  <a:lnTo>
                    <a:pt x="0" y="0"/>
                  </a:lnTo>
                  <a:lnTo>
                    <a:pt x="1474" y="0"/>
                  </a:lnTo>
                </a:path>
              </a:pathLst>
            </a:custGeom>
            <a:solidFill>
              <a:schemeClr val="tx2"/>
            </a:solidFill>
            <a:ln w="3175" cap="flat">
              <a:solidFill>
                <a:schemeClr val="tx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sp>
        <p:nvSpPr>
          <p:cNvPr id="97" name="Shape 2098"/>
          <p:cNvSpPr/>
          <p:nvPr/>
        </p:nvSpPr>
        <p:spPr>
          <a:xfrm>
            <a:off x="5898828" y="4619792"/>
            <a:ext cx="2733864" cy="226546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t">
            <a:noAutofit/>
          </a:bodyPr>
          <a:lstStyle>
            <a:lvl1pPr algn="l"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2200" b="1">
                <a:solidFill>
                  <a:srgbClr val="726658"/>
                </a:solidFill>
                <a:latin typeface="'Roboto-Bold'"/>
                <a:ea typeface="'Roboto-Bold'"/>
                <a:cs typeface="'Roboto-Bold'"/>
                <a:sym typeface="'Roboto-Bold'"/>
              </a:defRPr>
            </a:lvl1pPr>
          </a:lstStyle>
          <a:p>
            <a:pPr algn="ctr"/>
            <a:r>
              <a:rPr lang="en-US" b="0" dirty="0"/>
              <a:t>How to behave in the Interview</a:t>
            </a:r>
            <a:endParaRPr lang="de-DE" b="0" dirty="0"/>
          </a:p>
        </p:txBody>
      </p:sp>
      <p:sp>
        <p:nvSpPr>
          <p:cNvPr id="99" name="Shape 2951"/>
          <p:cNvSpPr/>
          <p:nvPr/>
        </p:nvSpPr>
        <p:spPr>
          <a:xfrm>
            <a:off x="5366954" y="1536194"/>
            <a:ext cx="297469" cy="41027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12712" y="21600"/>
                </a:lnTo>
                <a:lnTo>
                  <a:pt x="12712" y="17381"/>
                </a:lnTo>
                <a:lnTo>
                  <a:pt x="8913" y="17381"/>
                </a:lnTo>
                <a:lnTo>
                  <a:pt x="8913" y="21600"/>
                </a:lnTo>
                <a:lnTo>
                  <a:pt x="0" y="21600"/>
                </a:lnTo>
                <a:lnTo>
                  <a:pt x="0" y="1454"/>
                </a:lnTo>
                <a:lnTo>
                  <a:pt x="5363" y="1454"/>
                </a:lnTo>
                <a:lnTo>
                  <a:pt x="5363" y="0"/>
                </a:lnTo>
                <a:lnTo>
                  <a:pt x="16262" y="0"/>
                </a:lnTo>
                <a:lnTo>
                  <a:pt x="16262" y="1454"/>
                </a:lnTo>
                <a:lnTo>
                  <a:pt x="21600" y="1454"/>
                </a:lnTo>
                <a:lnTo>
                  <a:pt x="21600" y="21600"/>
                </a:lnTo>
                <a:close/>
                <a:moveTo>
                  <a:pt x="7126" y="11725"/>
                </a:moveTo>
                <a:lnTo>
                  <a:pt x="3575" y="11725"/>
                </a:lnTo>
                <a:lnTo>
                  <a:pt x="3575" y="14292"/>
                </a:lnTo>
                <a:lnTo>
                  <a:pt x="7126" y="14292"/>
                </a:lnTo>
                <a:lnTo>
                  <a:pt x="7126" y="11725"/>
                </a:lnTo>
                <a:close/>
                <a:moveTo>
                  <a:pt x="7126" y="7882"/>
                </a:moveTo>
                <a:lnTo>
                  <a:pt x="3575" y="7882"/>
                </a:lnTo>
                <a:lnTo>
                  <a:pt x="3575" y="10450"/>
                </a:lnTo>
                <a:lnTo>
                  <a:pt x="7126" y="10450"/>
                </a:lnTo>
                <a:lnTo>
                  <a:pt x="7126" y="7882"/>
                </a:lnTo>
                <a:close/>
                <a:moveTo>
                  <a:pt x="7126" y="4040"/>
                </a:moveTo>
                <a:lnTo>
                  <a:pt x="3575" y="4040"/>
                </a:lnTo>
                <a:lnTo>
                  <a:pt x="3575" y="6607"/>
                </a:lnTo>
                <a:lnTo>
                  <a:pt x="7126" y="6607"/>
                </a:lnTo>
                <a:lnTo>
                  <a:pt x="7126" y="4040"/>
                </a:lnTo>
                <a:close/>
                <a:moveTo>
                  <a:pt x="12712" y="11725"/>
                </a:moveTo>
                <a:lnTo>
                  <a:pt x="8913" y="11725"/>
                </a:lnTo>
                <a:lnTo>
                  <a:pt x="8913" y="14292"/>
                </a:lnTo>
                <a:lnTo>
                  <a:pt x="12712" y="14292"/>
                </a:lnTo>
                <a:lnTo>
                  <a:pt x="12712" y="11725"/>
                </a:lnTo>
                <a:close/>
                <a:moveTo>
                  <a:pt x="12662" y="10450"/>
                </a:moveTo>
                <a:lnTo>
                  <a:pt x="12662" y="7882"/>
                </a:lnTo>
                <a:lnTo>
                  <a:pt x="8888" y="7882"/>
                </a:lnTo>
                <a:lnTo>
                  <a:pt x="8888" y="10450"/>
                </a:lnTo>
                <a:lnTo>
                  <a:pt x="12662" y="10450"/>
                </a:lnTo>
                <a:close/>
                <a:moveTo>
                  <a:pt x="12712" y="4040"/>
                </a:moveTo>
                <a:lnTo>
                  <a:pt x="8938" y="4040"/>
                </a:lnTo>
                <a:lnTo>
                  <a:pt x="8938" y="6607"/>
                </a:lnTo>
                <a:lnTo>
                  <a:pt x="12737" y="6607"/>
                </a:lnTo>
                <a:lnTo>
                  <a:pt x="12737" y="4040"/>
                </a:lnTo>
                <a:lnTo>
                  <a:pt x="12712" y="4040"/>
                </a:lnTo>
                <a:close/>
                <a:moveTo>
                  <a:pt x="18050" y="11725"/>
                </a:moveTo>
                <a:lnTo>
                  <a:pt x="14499" y="11725"/>
                </a:lnTo>
                <a:lnTo>
                  <a:pt x="14499" y="14292"/>
                </a:lnTo>
                <a:lnTo>
                  <a:pt x="18050" y="14292"/>
                </a:lnTo>
                <a:lnTo>
                  <a:pt x="18050" y="11725"/>
                </a:lnTo>
                <a:close/>
                <a:moveTo>
                  <a:pt x="18050" y="7882"/>
                </a:moveTo>
                <a:lnTo>
                  <a:pt x="14499" y="7882"/>
                </a:lnTo>
                <a:lnTo>
                  <a:pt x="14499" y="10450"/>
                </a:lnTo>
                <a:lnTo>
                  <a:pt x="18050" y="10450"/>
                </a:lnTo>
                <a:lnTo>
                  <a:pt x="18050" y="7882"/>
                </a:lnTo>
                <a:close/>
                <a:moveTo>
                  <a:pt x="18050" y="4040"/>
                </a:moveTo>
                <a:lnTo>
                  <a:pt x="14499" y="4040"/>
                </a:lnTo>
                <a:lnTo>
                  <a:pt x="14499" y="6607"/>
                </a:lnTo>
                <a:lnTo>
                  <a:pt x="18050" y="6607"/>
                </a:lnTo>
                <a:lnTo>
                  <a:pt x="18050" y="4040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00" name="Shape 2098"/>
          <p:cNvSpPr/>
          <p:nvPr/>
        </p:nvSpPr>
        <p:spPr>
          <a:xfrm>
            <a:off x="5764378" y="1503422"/>
            <a:ext cx="2733863" cy="226546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t">
            <a:noAutofit/>
          </a:bodyPr>
          <a:lstStyle>
            <a:lvl1pPr algn="l"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2200" b="1">
                <a:solidFill>
                  <a:srgbClr val="726658"/>
                </a:solidFill>
                <a:latin typeface="'Roboto-Bold'"/>
                <a:ea typeface="'Roboto-Bold'"/>
                <a:cs typeface="'Roboto-Bold'"/>
                <a:sym typeface="'Roboto-Bold'"/>
              </a:defRPr>
            </a:lvl1pPr>
          </a:lstStyle>
          <a:p>
            <a:pPr algn="ctr"/>
            <a:r>
              <a:rPr lang="en-US" b="0" dirty="0" smtClean="0"/>
              <a:t>Types Of Interviews</a:t>
            </a:r>
            <a:endParaRPr lang="en-US" b="0" dirty="0"/>
          </a:p>
        </p:txBody>
      </p:sp>
      <p:sp>
        <p:nvSpPr>
          <p:cNvPr id="26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Interview Training </a:t>
            </a:r>
          </a:p>
        </p:txBody>
      </p:sp>
    </p:spTree>
    <p:extLst>
      <p:ext uri="{BB962C8B-B14F-4D97-AF65-F5344CB8AC3E}">
        <p14:creationId xmlns:p14="http://schemas.microsoft.com/office/powerpoint/2010/main" val="1068352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" name="Group 2113"/>
          <p:cNvGrpSpPr/>
          <p:nvPr/>
        </p:nvGrpSpPr>
        <p:grpSpPr>
          <a:xfrm>
            <a:off x="32619" y="1462931"/>
            <a:ext cx="8715845" cy="5350445"/>
            <a:chOff x="62080" y="142702"/>
            <a:chExt cx="11129045" cy="7609521"/>
          </a:xfrm>
        </p:grpSpPr>
        <p:sp>
          <p:nvSpPr>
            <p:cNvPr id="56" name="Shape 2074"/>
            <p:cNvSpPr/>
            <p:nvPr/>
          </p:nvSpPr>
          <p:spPr>
            <a:xfrm>
              <a:off x="6844741" y="2310559"/>
              <a:ext cx="536079" cy="6053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2" h="21600" extrusionOk="0">
                  <a:moveTo>
                    <a:pt x="18248" y="16399"/>
                  </a:moveTo>
                  <a:cubicBezTo>
                    <a:pt x="18831" y="16933"/>
                    <a:pt x="19091" y="17565"/>
                    <a:pt x="19204" y="18424"/>
                  </a:cubicBezTo>
                  <a:cubicBezTo>
                    <a:pt x="19253" y="18683"/>
                    <a:pt x="19204" y="18959"/>
                    <a:pt x="19156" y="19234"/>
                  </a:cubicBezTo>
                  <a:lnTo>
                    <a:pt x="16902" y="17192"/>
                  </a:lnTo>
                  <a:lnTo>
                    <a:pt x="14858" y="19396"/>
                  </a:lnTo>
                  <a:lnTo>
                    <a:pt x="17129" y="21422"/>
                  </a:lnTo>
                  <a:cubicBezTo>
                    <a:pt x="16837" y="21535"/>
                    <a:pt x="16577" y="21600"/>
                    <a:pt x="16302" y="21600"/>
                  </a:cubicBezTo>
                  <a:cubicBezTo>
                    <a:pt x="15507" y="21600"/>
                    <a:pt x="14858" y="21373"/>
                    <a:pt x="14275" y="20838"/>
                  </a:cubicBezTo>
                  <a:cubicBezTo>
                    <a:pt x="13691" y="20304"/>
                    <a:pt x="13367" y="19720"/>
                    <a:pt x="13367" y="18926"/>
                  </a:cubicBezTo>
                  <a:cubicBezTo>
                    <a:pt x="13367" y="18635"/>
                    <a:pt x="13415" y="18327"/>
                    <a:pt x="13480" y="18051"/>
                  </a:cubicBezTo>
                  <a:lnTo>
                    <a:pt x="12929" y="17517"/>
                  </a:lnTo>
                  <a:lnTo>
                    <a:pt x="9653" y="14567"/>
                  </a:lnTo>
                  <a:lnTo>
                    <a:pt x="4156" y="20628"/>
                  </a:lnTo>
                  <a:cubicBezTo>
                    <a:pt x="3831" y="21049"/>
                    <a:pt x="3280" y="21373"/>
                    <a:pt x="2696" y="21373"/>
                  </a:cubicBezTo>
                  <a:cubicBezTo>
                    <a:pt x="1740" y="21373"/>
                    <a:pt x="929" y="20563"/>
                    <a:pt x="929" y="19607"/>
                  </a:cubicBezTo>
                  <a:cubicBezTo>
                    <a:pt x="929" y="19072"/>
                    <a:pt x="1156" y="18602"/>
                    <a:pt x="1513" y="18278"/>
                  </a:cubicBezTo>
                  <a:lnTo>
                    <a:pt x="7253" y="12315"/>
                  </a:lnTo>
                  <a:lnTo>
                    <a:pt x="3831" y="9171"/>
                  </a:lnTo>
                  <a:cubicBezTo>
                    <a:pt x="3572" y="9285"/>
                    <a:pt x="3248" y="9317"/>
                    <a:pt x="2972" y="9317"/>
                  </a:cubicBezTo>
                  <a:cubicBezTo>
                    <a:pt x="2161" y="9317"/>
                    <a:pt x="1513" y="9107"/>
                    <a:pt x="929" y="8572"/>
                  </a:cubicBezTo>
                  <a:cubicBezTo>
                    <a:pt x="345" y="8053"/>
                    <a:pt x="21" y="7454"/>
                    <a:pt x="21" y="6644"/>
                  </a:cubicBezTo>
                  <a:cubicBezTo>
                    <a:pt x="-28" y="6384"/>
                    <a:pt x="21" y="6109"/>
                    <a:pt x="69" y="5850"/>
                  </a:cubicBezTo>
                  <a:lnTo>
                    <a:pt x="2340" y="7875"/>
                  </a:lnTo>
                  <a:lnTo>
                    <a:pt x="4302" y="5688"/>
                  </a:lnTo>
                  <a:lnTo>
                    <a:pt x="2064" y="3646"/>
                  </a:lnTo>
                  <a:cubicBezTo>
                    <a:pt x="2340" y="3549"/>
                    <a:pt x="2599" y="3500"/>
                    <a:pt x="2858" y="3500"/>
                  </a:cubicBezTo>
                  <a:cubicBezTo>
                    <a:pt x="3653" y="3500"/>
                    <a:pt x="4302" y="3711"/>
                    <a:pt x="4902" y="4229"/>
                  </a:cubicBezTo>
                  <a:cubicBezTo>
                    <a:pt x="5486" y="4732"/>
                    <a:pt x="5810" y="5380"/>
                    <a:pt x="5810" y="6174"/>
                  </a:cubicBezTo>
                  <a:cubicBezTo>
                    <a:pt x="5858" y="6433"/>
                    <a:pt x="5810" y="6708"/>
                    <a:pt x="5745" y="6968"/>
                  </a:cubicBezTo>
                  <a:lnTo>
                    <a:pt x="9296" y="10225"/>
                  </a:lnTo>
                  <a:lnTo>
                    <a:pt x="11923" y="7454"/>
                  </a:lnTo>
                  <a:lnTo>
                    <a:pt x="8015" y="4019"/>
                  </a:lnTo>
                  <a:lnTo>
                    <a:pt x="11534" y="0"/>
                  </a:lnTo>
                  <a:lnTo>
                    <a:pt x="21572" y="8783"/>
                  </a:lnTo>
                  <a:lnTo>
                    <a:pt x="18037" y="12817"/>
                  </a:lnTo>
                  <a:lnTo>
                    <a:pt x="14015" y="9285"/>
                  </a:lnTo>
                  <a:lnTo>
                    <a:pt x="11486" y="12218"/>
                  </a:lnTo>
                  <a:lnTo>
                    <a:pt x="15394" y="15815"/>
                  </a:lnTo>
                  <a:cubicBezTo>
                    <a:pt x="15653" y="15702"/>
                    <a:pt x="15929" y="15637"/>
                    <a:pt x="16204" y="15637"/>
                  </a:cubicBezTo>
                  <a:cubicBezTo>
                    <a:pt x="17015" y="15637"/>
                    <a:pt x="17648" y="15864"/>
                    <a:pt x="18248" y="16399"/>
                  </a:cubicBezTo>
                </a:path>
              </a:pathLst>
            </a:custGeom>
            <a:solidFill>
              <a:srgbClr val="355C7D"/>
            </a:solidFill>
            <a:ln w="3175" cap="flat">
              <a:solidFill>
                <a:schemeClr val="tx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8" name="Shape 2076"/>
            <p:cNvSpPr/>
            <p:nvPr/>
          </p:nvSpPr>
          <p:spPr>
            <a:xfrm>
              <a:off x="6805355" y="4574450"/>
              <a:ext cx="625367" cy="59937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8257"/>
                  </a:moveTo>
                  <a:cubicBezTo>
                    <a:pt x="21600" y="9124"/>
                    <a:pt x="20943" y="9876"/>
                    <a:pt x="20052" y="9876"/>
                  </a:cubicBezTo>
                  <a:lnTo>
                    <a:pt x="20052" y="15550"/>
                  </a:lnTo>
                  <a:cubicBezTo>
                    <a:pt x="20005" y="16090"/>
                    <a:pt x="19535" y="16482"/>
                    <a:pt x="19066" y="16482"/>
                  </a:cubicBezTo>
                  <a:cubicBezTo>
                    <a:pt x="18910" y="16482"/>
                    <a:pt x="18706" y="16417"/>
                    <a:pt x="18550" y="16302"/>
                  </a:cubicBezTo>
                  <a:lnTo>
                    <a:pt x="18503" y="16253"/>
                  </a:lnTo>
                  <a:cubicBezTo>
                    <a:pt x="18441" y="16188"/>
                    <a:pt x="18394" y="16188"/>
                    <a:pt x="18394" y="16155"/>
                  </a:cubicBezTo>
                  <a:cubicBezTo>
                    <a:pt x="16235" y="14307"/>
                    <a:pt x="13592" y="11887"/>
                    <a:pt x="9572" y="11495"/>
                  </a:cubicBezTo>
                  <a:cubicBezTo>
                    <a:pt x="9306" y="11446"/>
                    <a:pt x="8947" y="11446"/>
                    <a:pt x="8462" y="11446"/>
                  </a:cubicBezTo>
                  <a:lnTo>
                    <a:pt x="9400" y="17332"/>
                  </a:lnTo>
                  <a:lnTo>
                    <a:pt x="10276" y="17169"/>
                  </a:lnTo>
                  <a:lnTo>
                    <a:pt x="10542" y="18951"/>
                  </a:lnTo>
                  <a:lnTo>
                    <a:pt x="9650" y="19115"/>
                  </a:lnTo>
                  <a:lnTo>
                    <a:pt x="9885" y="21011"/>
                  </a:lnTo>
                  <a:lnTo>
                    <a:pt x="5490" y="21600"/>
                  </a:lnTo>
                  <a:lnTo>
                    <a:pt x="3988" y="11446"/>
                  </a:lnTo>
                  <a:lnTo>
                    <a:pt x="3300" y="11446"/>
                  </a:lnTo>
                  <a:cubicBezTo>
                    <a:pt x="3253" y="11446"/>
                    <a:pt x="3159" y="11446"/>
                    <a:pt x="3097" y="11446"/>
                  </a:cubicBezTo>
                  <a:cubicBezTo>
                    <a:pt x="3097" y="11446"/>
                    <a:pt x="3097" y="11446"/>
                    <a:pt x="3050" y="11446"/>
                  </a:cubicBezTo>
                  <a:cubicBezTo>
                    <a:pt x="1345" y="11446"/>
                    <a:pt x="0" y="9991"/>
                    <a:pt x="0" y="8257"/>
                  </a:cubicBezTo>
                  <a:cubicBezTo>
                    <a:pt x="0" y="6459"/>
                    <a:pt x="1392" y="5069"/>
                    <a:pt x="3050" y="5069"/>
                  </a:cubicBezTo>
                  <a:cubicBezTo>
                    <a:pt x="3050" y="5069"/>
                    <a:pt x="3050" y="5069"/>
                    <a:pt x="3097" y="5069"/>
                  </a:cubicBezTo>
                  <a:cubicBezTo>
                    <a:pt x="3159" y="5069"/>
                    <a:pt x="3253" y="5069"/>
                    <a:pt x="3300" y="5069"/>
                  </a:cubicBezTo>
                  <a:lnTo>
                    <a:pt x="8462" y="5069"/>
                  </a:lnTo>
                  <a:cubicBezTo>
                    <a:pt x="12857" y="5069"/>
                    <a:pt x="15813" y="2518"/>
                    <a:pt x="18143" y="523"/>
                  </a:cubicBezTo>
                  <a:cubicBezTo>
                    <a:pt x="18300" y="196"/>
                    <a:pt x="18644" y="0"/>
                    <a:pt x="19019" y="0"/>
                  </a:cubicBezTo>
                  <a:cubicBezTo>
                    <a:pt x="19535" y="0"/>
                    <a:pt x="20005" y="409"/>
                    <a:pt x="20052" y="965"/>
                  </a:cubicBezTo>
                  <a:lnTo>
                    <a:pt x="20052" y="6639"/>
                  </a:lnTo>
                  <a:cubicBezTo>
                    <a:pt x="20943" y="6639"/>
                    <a:pt x="21600" y="7342"/>
                    <a:pt x="21600" y="8257"/>
                  </a:cubicBezTo>
                  <a:close/>
                  <a:moveTo>
                    <a:pt x="18503" y="2191"/>
                  </a:moveTo>
                  <a:cubicBezTo>
                    <a:pt x="15359" y="4742"/>
                    <a:pt x="13076" y="6132"/>
                    <a:pt x="10026" y="6524"/>
                  </a:cubicBezTo>
                  <a:lnTo>
                    <a:pt x="10026" y="9925"/>
                  </a:lnTo>
                  <a:cubicBezTo>
                    <a:pt x="13076" y="10318"/>
                    <a:pt x="15406" y="11707"/>
                    <a:pt x="18503" y="14193"/>
                  </a:cubicBezTo>
                  <a:lnTo>
                    <a:pt x="18503" y="2191"/>
                  </a:lnTo>
                  <a:close/>
                </a:path>
              </a:pathLst>
            </a:custGeom>
            <a:solidFill>
              <a:srgbClr val="355C7D"/>
            </a:solidFill>
            <a:ln w="3175" cap="flat">
              <a:solidFill>
                <a:schemeClr val="tx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1" name="Shape 2079"/>
            <p:cNvSpPr/>
            <p:nvPr/>
          </p:nvSpPr>
          <p:spPr>
            <a:xfrm>
              <a:off x="6805355" y="6913772"/>
              <a:ext cx="681351" cy="59937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470"/>
                  </a:moveTo>
                  <a:lnTo>
                    <a:pt x="21600" y="20146"/>
                  </a:lnTo>
                  <a:cubicBezTo>
                    <a:pt x="21600" y="20946"/>
                    <a:pt x="21026" y="21600"/>
                    <a:pt x="20322" y="21600"/>
                  </a:cubicBezTo>
                  <a:lnTo>
                    <a:pt x="1278" y="21600"/>
                  </a:lnTo>
                  <a:cubicBezTo>
                    <a:pt x="574" y="21600"/>
                    <a:pt x="0" y="20946"/>
                    <a:pt x="0" y="20146"/>
                  </a:cubicBezTo>
                  <a:lnTo>
                    <a:pt x="0" y="1470"/>
                  </a:lnTo>
                  <a:cubicBezTo>
                    <a:pt x="0" y="654"/>
                    <a:pt x="574" y="0"/>
                    <a:pt x="1278" y="0"/>
                  </a:cubicBezTo>
                  <a:lnTo>
                    <a:pt x="20322" y="0"/>
                  </a:lnTo>
                  <a:cubicBezTo>
                    <a:pt x="21026" y="0"/>
                    <a:pt x="21600" y="654"/>
                    <a:pt x="21600" y="1470"/>
                  </a:cubicBezTo>
                  <a:close/>
                  <a:moveTo>
                    <a:pt x="16186" y="1961"/>
                  </a:moveTo>
                  <a:cubicBezTo>
                    <a:pt x="16186" y="2484"/>
                    <a:pt x="16559" y="2925"/>
                    <a:pt x="17033" y="2925"/>
                  </a:cubicBezTo>
                  <a:cubicBezTo>
                    <a:pt x="17507" y="2925"/>
                    <a:pt x="17895" y="2484"/>
                    <a:pt x="17895" y="1961"/>
                  </a:cubicBezTo>
                  <a:cubicBezTo>
                    <a:pt x="17895" y="1421"/>
                    <a:pt x="17507" y="980"/>
                    <a:pt x="17033" y="980"/>
                  </a:cubicBezTo>
                  <a:cubicBezTo>
                    <a:pt x="16616" y="980"/>
                    <a:pt x="16186" y="1421"/>
                    <a:pt x="16186" y="1961"/>
                  </a:cubicBezTo>
                  <a:close/>
                  <a:moveTo>
                    <a:pt x="13802" y="1961"/>
                  </a:moveTo>
                  <a:cubicBezTo>
                    <a:pt x="13802" y="2484"/>
                    <a:pt x="14189" y="2925"/>
                    <a:pt x="14663" y="2925"/>
                  </a:cubicBezTo>
                  <a:cubicBezTo>
                    <a:pt x="15137" y="2925"/>
                    <a:pt x="15525" y="2484"/>
                    <a:pt x="15525" y="1961"/>
                  </a:cubicBezTo>
                  <a:cubicBezTo>
                    <a:pt x="15525" y="1421"/>
                    <a:pt x="15137" y="980"/>
                    <a:pt x="14663" y="980"/>
                  </a:cubicBezTo>
                  <a:cubicBezTo>
                    <a:pt x="14247" y="980"/>
                    <a:pt x="13802" y="1421"/>
                    <a:pt x="13802" y="1961"/>
                  </a:cubicBezTo>
                  <a:close/>
                  <a:moveTo>
                    <a:pt x="20322" y="3905"/>
                  </a:moveTo>
                  <a:lnTo>
                    <a:pt x="1278" y="3905"/>
                  </a:lnTo>
                  <a:lnTo>
                    <a:pt x="1278" y="20293"/>
                  </a:lnTo>
                  <a:lnTo>
                    <a:pt x="20322" y="20293"/>
                  </a:lnTo>
                  <a:lnTo>
                    <a:pt x="20322" y="3905"/>
                  </a:lnTo>
                  <a:close/>
                  <a:moveTo>
                    <a:pt x="20322" y="1961"/>
                  </a:moveTo>
                  <a:cubicBezTo>
                    <a:pt x="20322" y="1421"/>
                    <a:pt x="19934" y="980"/>
                    <a:pt x="19460" y="980"/>
                  </a:cubicBezTo>
                  <a:cubicBezTo>
                    <a:pt x="18986" y="980"/>
                    <a:pt x="18598" y="1421"/>
                    <a:pt x="18598" y="1961"/>
                  </a:cubicBezTo>
                  <a:cubicBezTo>
                    <a:pt x="18598" y="2484"/>
                    <a:pt x="18986" y="2925"/>
                    <a:pt x="19460" y="2925"/>
                  </a:cubicBezTo>
                  <a:cubicBezTo>
                    <a:pt x="19934" y="2925"/>
                    <a:pt x="20322" y="2484"/>
                    <a:pt x="20322" y="1961"/>
                  </a:cubicBezTo>
                  <a:close/>
                  <a:moveTo>
                    <a:pt x="8028" y="6862"/>
                  </a:moveTo>
                  <a:lnTo>
                    <a:pt x="8028" y="5457"/>
                  </a:lnTo>
                  <a:lnTo>
                    <a:pt x="14663" y="5457"/>
                  </a:lnTo>
                  <a:lnTo>
                    <a:pt x="14663" y="6862"/>
                  </a:lnTo>
                  <a:lnTo>
                    <a:pt x="8028" y="6862"/>
                  </a:lnTo>
                  <a:close/>
                  <a:moveTo>
                    <a:pt x="10628" y="10163"/>
                  </a:moveTo>
                  <a:lnTo>
                    <a:pt x="10628" y="8758"/>
                  </a:lnTo>
                  <a:lnTo>
                    <a:pt x="19044" y="8758"/>
                  </a:lnTo>
                  <a:lnTo>
                    <a:pt x="19044" y="10163"/>
                  </a:lnTo>
                  <a:lnTo>
                    <a:pt x="10628" y="10163"/>
                  </a:lnTo>
                  <a:close/>
                  <a:moveTo>
                    <a:pt x="10628" y="12973"/>
                  </a:moveTo>
                  <a:lnTo>
                    <a:pt x="10628" y="11552"/>
                  </a:lnTo>
                  <a:lnTo>
                    <a:pt x="19044" y="11552"/>
                  </a:lnTo>
                  <a:lnTo>
                    <a:pt x="19044" y="12973"/>
                  </a:lnTo>
                  <a:lnTo>
                    <a:pt x="10628" y="12973"/>
                  </a:lnTo>
                  <a:close/>
                  <a:moveTo>
                    <a:pt x="10628" y="15816"/>
                  </a:moveTo>
                  <a:lnTo>
                    <a:pt x="10628" y="14427"/>
                  </a:lnTo>
                  <a:lnTo>
                    <a:pt x="19044" y="14427"/>
                  </a:lnTo>
                  <a:lnTo>
                    <a:pt x="19044" y="15816"/>
                  </a:lnTo>
                  <a:lnTo>
                    <a:pt x="10628" y="15816"/>
                  </a:lnTo>
                  <a:close/>
                  <a:moveTo>
                    <a:pt x="2470" y="18692"/>
                  </a:moveTo>
                  <a:lnTo>
                    <a:pt x="2470" y="17270"/>
                  </a:lnTo>
                  <a:lnTo>
                    <a:pt x="19044" y="17270"/>
                  </a:lnTo>
                  <a:lnTo>
                    <a:pt x="19044" y="18692"/>
                  </a:lnTo>
                  <a:lnTo>
                    <a:pt x="2470" y="18692"/>
                  </a:lnTo>
                  <a:close/>
                  <a:moveTo>
                    <a:pt x="2470" y="15734"/>
                  </a:moveTo>
                  <a:lnTo>
                    <a:pt x="2470" y="8709"/>
                  </a:lnTo>
                  <a:lnTo>
                    <a:pt x="8387" y="8709"/>
                  </a:lnTo>
                  <a:lnTo>
                    <a:pt x="8387" y="15734"/>
                  </a:lnTo>
                  <a:lnTo>
                    <a:pt x="2470" y="15734"/>
                  </a:lnTo>
                  <a:close/>
                </a:path>
              </a:pathLst>
            </a:custGeom>
            <a:solidFill>
              <a:srgbClr val="355C7D"/>
            </a:solidFill>
            <a:ln w="3175" cap="flat">
              <a:solidFill>
                <a:schemeClr val="tx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3" name="Shape 2081"/>
            <p:cNvSpPr/>
            <p:nvPr/>
          </p:nvSpPr>
          <p:spPr>
            <a:xfrm>
              <a:off x="3197076" y="349899"/>
              <a:ext cx="3256059" cy="35765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cubicBezTo>
                    <a:pt x="9672" y="21600"/>
                    <a:pt x="11920" y="0"/>
                    <a:pt x="21600" y="0"/>
                  </a:cubicBezTo>
                </a:path>
              </a:pathLst>
            </a:custGeom>
            <a:noFill/>
            <a:ln w="25400" cap="flat">
              <a:solidFill>
                <a:schemeClr val="tx2"/>
              </a:solidFill>
              <a:prstDash val="solid"/>
              <a:miter lim="800000"/>
            </a:ln>
            <a:effectLst/>
          </p:spPr>
          <p:txBody>
            <a:bodyPr wrap="square" lIns="59013" tIns="59013" rIns="59013" bIns="59013" numCol="1" anchor="t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4" name="Shape 2082"/>
            <p:cNvSpPr/>
            <p:nvPr/>
          </p:nvSpPr>
          <p:spPr>
            <a:xfrm>
              <a:off x="6523402" y="273921"/>
              <a:ext cx="149504" cy="149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833"/>
                  </a:moveTo>
                  <a:cubicBezTo>
                    <a:pt x="21600" y="12856"/>
                    <a:pt x="21142" y="14487"/>
                    <a:pt x="20160" y="16184"/>
                  </a:cubicBezTo>
                  <a:cubicBezTo>
                    <a:pt x="19178" y="17946"/>
                    <a:pt x="17935" y="19185"/>
                    <a:pt x="16233" y="20164"/>
                  </a:cubicBezTo>
                  <a:cubicBezTo>
                    <a:pt x="14531" y="21143"/>
                    <a:pt x="12764" y="21600"/>
                    <a:pt x="10800" y="21600"/>
                  </a:cubicBezTo>
                  <a:cubicBezTo>
                    <a:pt x="8836" y="21600"/>
                    <a:pt x="7069" y="21143"/>
                    <a:pt x="5367" y="20164"/>
                  </a:cubicBezTo>
                  <a:cubicBezTo>
                    <a:pt x="3665" y="19185"/>
                    <a:pt x="2422" y="17946"/>
                    <a:pt x="1440" y="16184"/>
                  </a:cubicBezTo>
                  <a:cubicBezTo>
                    <a:pt x="458" y="14487"/>
                    <a:pt x="0" y="12856"/>
                    <a:pt x="0" y="10833"/>
                  </a:cubicBezTo>
                  <a:cubicBezTo>
                    <a:pt x="0" y="8875"/>
                    <a:pt x="458" y="7113"/>
                    <a:pt x="1440" y="5416"/>
                  </a:cubicBezTo>
                  <a:cubicBezTo>
                    <a:pt x="2422" y="3785"/>
                    <a:pt x="3665" y="2480"/>
                    <a:pt x="5367" y="1436"/>
                  </a:cubicBezTo>
                  <a:cubicBezTo>
                    <a:pt x="7069" y="457"/>
                    <a:pt x="8836" y="0"/>
                    <a:pt x="10800" y="0"/>
                  </a:cubicBezTo>
                  <a:cubicBezTo>
                    <a:pt x="12764" y="0"/>
                    <a:pt x="14531" y="457"/>
                    <a:pt x="16233" y="1436"/>
                  </a:cubicBezTo>
                  <a:cubicBezTo>
                    <a:pt x="17935" y="2480"/>
                    <a:pt x="19178" y="3785"/>
                    <a:pt x="20160" y="5416"/>
                  </a:cubicBezTo>
                  <a:cubicBezTo>
                    <a:pt x="21142" y="7113"/>
                    <a:pt x="21600" y="8875"/>
                    <a:pt x="21600" y="10833"/>
                  </a:cubicBezTo>
                </a:path>
              </a:pathLst>
            </a:custGeom>
            <a:solidFill>
              <a:srgbClr val="F8AD94"/>
            </a:solidFill>
            <a:ln w="3175" cap="flat">
              <a:solidFill>
                <a:schemeClr val="accent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7" name="Shape 2085"/>
            <p:cNvSpPr/>
            <p:nvPr/>
          </p:nvSpPr>
          <p:spPr>
            <a:xfrm>
              <a:off x="3197076" y="2613245"/>
              <a:ext cx="3256059" cy="13131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cubicBezTo>
                    <a:pt x="9672" y="21600"/>
                    <a:pt x="11920" y="0"/>
                    <a:pt x="21600" y="0"/>
                  </a:cubicBezTo>
                </a:path>
              </a:pathLst>
            </a:custGeom>
            <a:noFill/>
            <a:ln w="25400" cap="flat">
              <a:solidFill>
                <a:schemeClr val="tx2"/>
              </a:solidFill>
              <a:prstDash val="solid"/>
              <a:miter lim="800000"/>
            </a:ln>
            <a:effectLst/>
          </p:spPr>
          <p:txBody>
            <a:bodyPr wrap="square" lIns="59013" tIns="59013" rIns="59013" bIns="59013" numCol="1" anchor="t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8" name="Shape 2086"/>
            <p:cNvSpPr/>
            <p:nvPr/>
          </p:nvSpPr>
          <p:spPr>
            <a:xfrm>
              <a:off x="6523402" y="2539266"/>
              <a:ext cx="149504" cy="149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800"/>
                  </a:moveTo>
                  <a:cubicBezTo>
                    <a:pt x="21600" y="12764"/>
                    <a:pt x="21142" y="14400"/>
                    <a:pt x="20160" y="16167"/>
                  </a:cubicBezTo>
                  <a:cubicBezTo>
                    <a:pt x="19178" y="17869"/>
                    <a:pt x="17935" y="19113"/>
                    <a:pt x="16233" y="20160"/>
                  </a:cubicBezTo>
                  <a:cubicBezTo>
                    <a:pt x="14531" y="21142"/>
                    <a:pt x="12764" y="21600"/>
                    <a:pt x="10800" y="21600"/>
                  </a:cubicBezTo>
                  <a:cubicBezTo>
                    <a:pt x="8836" y="21600"/>
                    <a:pt x="7069" y="21142"/>
                    <a:pt x="5367" y="20160"/>
                  </a:cubicBezTo>
                  <a:cubicBezTo>
                    <a:pt x="3665" y="19113"/>
                    <a:pt x="2422" y="17869"/>
                    <a:pt x="1440" y="16167"/>
                  </a:cubicBezTo>
                  <a:cubicBezTo>
                    <a:pt x="458" y="14400"/>
                    <a:pt x="0" y="12764"/>
                    <a:pt x="0" y="10800"/>
                  </a:cubicBezTo>
                  <a:cubicBezTo>
                    <a:pt x="0" y="8771"/>
                    <a:pt x="458" y="7069"/>
                    <a:pt x="1440" y="5367"/>
                  </a:cubicBezTo>
                  <a:cubicBezTo>
                    <a:pt x="2422" y="3600"/>
                    <a:pt x="3665" y="2422"/>
                    <a:pt x="5367" y="1440"/>
                  </a:cubicBezTo>
                  <a:cubicBezTo>
                    <a:pt x="7069" y="458"/>
                    <a:pt x="8836" y="0"/>
                    <a:pt x="10800" y="0"/>
                  </a:cubicBezTo>
                  <a:cubicBezTo>
                    <a:pt x="12764" y="0"/>
                    <a:pt x="14531" y="458"/>
                    <a:pt x="16233" y="1440"/>
                  </a:cubicBezTo>
                  <a:cubicBezTo>
                    <a:pt x="17935" y="2422"/>
                    <a:pt x="19178" y="3600"/>
                    <a:pt x="20160" y="5367"/>
                  </a:cubicBezTo>
                  <a:cubicBezTo>
                    <a:pt x="21142" y="7069"/>
                    <a:pt x="21600" y="8771"/>
                    <a:pt x="21600" y="10800"/>
                  </a:cubicBezTo>
                </a:path>
              </a:pathLst>
            </a:custGeom>
            <a:solidFill>
              <a:srgbClr val="F8AD94"/>
            </a:solidFill>
            <a:ln w="3175" cap="flat">
              <a:solidFill>
                <a:schemeClr val="accent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1" name="Shape 2089"/>
            <p:cNvSpPr/>
            <p:nvPr/>
          </p:nvSpPr>
          <p:spPr>
            <a:xfrm>
              <a:off x="3197076" y="3926864"/>
              <a:ext cx="3256059" cy="94727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cubicBezTo>
                    <a:pt x="9672" y="0"/>
                    <a:pt x="11920" y="21600"/>
                    <a:pt x="21600" y="21600"/>
                  </a:cubicBezTo>
                </a:path>
              </a:pathLst>
            </a:custGeom>
            <a:noFill/>
            <a:ln w="25400" cap="flat">
              <a:solidFill>
                <a:schemeClr val="tx2"/>
              </a:solidFill>
              <a:prstDash val="solid"/>
              <a:miter lim="800000"/>
            </a:ln>
            <a:effectLst/>
          </p:spPr>
          <p:txBody>
            <a:bodyPr wrap="square" lIns="59013" tIns="59013" rIns="59013" bIns="59013" numCol="1" anchor="t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2" name="Shape 2090"/>
            <p:cNvSpPr/>
            <p:nvPr/>
          </p:nvSpPr>
          <p:spPr>
            <a:xfrm>
              <a:off x="6523402" y="4800614"/>
              <a:ext cx="149504" cy="149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800"/>
                  </a:moveTo>
                  <a:cubicBezTo>
                    <a:pt x="21600" y="12764"/>
                    <a:pt x="21142" y="14465"/>
                    <a:pt x="20160" y="16233"/>
                  </a:cubicBezTo>
                  <a:cubicBezTo>
                    <a:pt x="19178" y="17935"/>
                    <a:pt x="17935" y="19113"/>
                    <a:pt x="16233" y="20095"/>
                  </a:cubicBezTo>
                  <a:cubicBezTo>
                    <a:pt x="14531" y="21142"/>
                    <a:pt x="12764" y="21600"/>
                    <a:pt x="10800" y="21600"/>
                  </a:cubicBezTo>
                  <a:cubicBezTo>
                    <a:pt x="8836" y="21600"/>
                    <a:pt x="7069" y="21142"/>
                    <a:pt x="5367" y="20095"/>
                  </a:cubicBezTo>
                  <a:cubicBezTo>
                    <a:pt x="3665" y="19113"/>
                    <a:pt x="2422" y="17935"/>
                    <a:pt x="1440" y="16233"/>
                  </a:cubicBezTo>
                  <a:cubicBezTo>
                    <a:pt x="458" y="14465"/>
                    <a:pt x="0" y="12764"/>
                    <a:pt x="0" y="10800"/>
                  </a:cubicBezTo>
                  <a:cubicBezTo>
                    <a:pt x="0" y="8771"/>
                    <a:pt x="458" y="7135"/>
                    <a:pt x="1440" y="5433"/>
                  </a:cubicBezTo>
                  <a:cubicBezTo>
                    <a:pt x="2422" y="3665"/>
                    <a:pt x="3665" y="2422"/>
                    <a:pt x="5367" y="1440"/>
                  </a:cubicBezTo>
                  <a:cubicBezTo>
                    <a:pt x="7069" y="458"/>
                    <a:pt x="8836" y="0"/>
                    <a:pt x="10800" y="0"/>
                  </a:cubicBezTo>
                  <a:cubicBezTo>
                    <a:pt x="12764" y="0"/>
                    <a:pt x="14531" y="458"/>
                    <a:pt x="16233" y="1440"/>
                  </a:cubicBezTo>
                  <a:cubicBezTo>
                    <a:pt x="17935" y="2422"/>
                    <a:pt x="19178" y="3665"/>
                    <a:pt x="20160" y="5433"/>
                  </a:cubicBezTo>
                  <a:cubicBezTo>
                    <a:pt x="21142" y="7135"/>
                    <a:pt x="21600" y="8771"/>
                    <a:pt x="21600" y="10800"/>
                  </a:cubicBezTo>
                </a:path>
              </a:pathLst>
            </a:custGeom>
            <a:solidFill>
              <a:srgbClr val="F8AD94"/>
            </a:solidFill>
            <a:ln w="3175" cap="flat">
              <a:solidFill>
                <a:schemeClr val="accent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5" name="Shape 2093"/>
            <p:cNvSpPr/>
            <p:nvPr/>
          </p:nvSpPr>
          <p:spPr>
            <a:xfrm>
              <a:off x="3197076" y="3926864"/>
              <a:ext cx="3256059" cy="32106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cubicBezTo>
                    <a:pt x="9672" y="0"/>
                    <a:pt x="11920" y="21600"/>
                    <a:pt x="21600" y="21600"/>
                  </a:cubicBezTo>
                </a:path>
              </a:pathLst>
            </a:custGeom>
            <a:noFill/>
            <a:ln w="25400" cap="flat">
              <a:solidFill>
                <a:schemeClr val="tx2"/>
              </a:solidFill>
              <a:prstDash val="solid"/>
              <a:miter lim="800000"/>
            </a:ln>
            <a:effectLst/>
          </p:spPr>
          <p:txBody>
            <a:bodyPr wrap="square" lIns="59013" tIns="59013" rIns="59013" bIns="59013" numCol="1" anchor="t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6" name="Shape 2094"/>
            <p:cNvSpPr/>
            <p:nvPr/>
          </p:nvSpPr>
          <p:spPr>
            <a:xfrm>
              <a:off x="6552015" y="7061959"/>
              <a:ext cx="149504" cy="1515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865"/>
                  </a:moveTo>
                  <a:cubicBezTo>
                    <a:pt x="21600" y="12752"/>
                    <a:pt x="21142" y="14443"/>
                    <a:pt x="20160" y="16200"/>
                  </a:cubicBezTo>
                  <a:cubicBezTo>
                    <a:pt x="19178" y="17892"/>
                    <a:pt x="17935" y="19128"/>
                    <a:pt x="16233" y="20169"/>
                  </a:cubicBezTo>
                  <a:cubicBezTo>
                    <a:pt x="14531" y="21145"/>
                    <a:pt x="12764" y="21600"/>
                    <a:pt x="10800" y="21600"/>
                  </a:cubicBezTo>
                  <a:cubicBezTo>
                    <a:pt x="8836" y="21600"/>
                    <a:pt x="7069" y="21145"/>
                    <a:pt x="5367" y="20169"/>
                  </a:cubicBezTo>
                  <a:cubicBezTo>
                    <a:pt x="3665" y="19128"/>
                    <a:pt x="2422" y="17892"/>
                    <a:pt x="1440" y="16200"/>
                  </a:cubicBezTo>
                  <a:cubicBezTo>
                    <a:pt x="458" y="14443"/>
                    <a:pt x="0" y="12817"/>
                    <a:pt x="0" y="10865"/>
                  </a:cubicBezTo>
                  <a:cubicBezTo>
                    <a:pt x="0" y="8913"/>
                    <a:pt x="458" y="7157"/>
                    <a:pt x="1440" y="5465"/>
                  </a:cubicBezTo>
                  <a:cubicBezTo>
                    <a:pt x="2422" y="3708"/>
                    <a:pt x="3665" y="2472"/>
                    <a:pt x="5367" y="1496"/>
                  </a:cubicBezTo>
                  <a:cubicBezTo>
                    <a:pt x="7069" y="455"/>
                    <a:pt x="8836" y="0"/>
                    <a:pt x="10800" y="0"/>
                  </a:cubicBezTo>
                  <a:cubicBezTo>
                    <a:pt x="12764" y="0"/>
                    <a:pt x="14531" y="455"/>
                    <a:pt x="16233" y="1496"/>
                  </a:cubicBezTo>
                  <a:cubicBezTo>
                    <a:pt x="17935" y="2472"/>
                    <a:pt x="19178" y="3708"/>
                    <a:pt x="20160" y="5465"/>
                  </a:cubicBezTo>
                  <a:cubicBezTo>
                    <a:pt x="21142" y="7157"/>
                    <a:pt x="21600" y="8848"/>
                    <a:pt x="21600" y="10865"/>
                  </a:cubicBezTo>
                </a:path>
              </a:pathLst>
            </a:custGeom>
            <a:solidFill>
              <a:srgbClr val="F8AD94"/>
            </a:solidFill>
            <a:ln w="3175" cap="flat">
              <a:solidFill>
                <a:schemeClr val="accent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9" name="Shape 2097"/>
            <p:cNvSpPr/>
            <p:nvPr/>
          </p:nvSpPr>
          <p:spPr>
            <a:xfrm>
              <a:off x="3145091" y="3802901"/>
              <a:ext cx="239480" cy="2394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759"/>
                  </a:moveTo>
                  <a:cubicBezTo>
                    <a:pt x="21600" y="12764"/>
                    <a:pt x="21070" y="14441"/>
                    <a:pt x="20092" y="16159"/>
                  </a:cubicBezTo>
                  <a:cubicBezTo>
                    <a:pt x="19114" y="17877"/>
                    <a:pt x="17891" y="19145"/>
                    <a:pt x="16180" y="20127"/>
                  </a:cubicBezTo>
                  <a:cubicBezTo>
                    <a:pt x="14468" y="21150"/>
                    <a:pt x="12797" y="21600"/>
                    <a:pt x="10800" y="21600"/>
                  </a:cubicBezTo>
                  <a:cubicBezTo>
                    <a:pt x="8803" y="21600"/>
                    <a:pt x="7132" y="21150"/>
                    <a:pt x="5420" y="20127"/>
                  </a:cubicBezTo>
                  <a:cubicBezTo>
                    <a:pt x="3709" y="19145"/>
                    <a:pt x="2445" y="17877"/>
                    <a:pt x="1467" y="16159"/>
                  </a:cubicBezTo>
                  <a:cubicBezTo>
                    <a:pt x="448" y="14441"/>
                    <a:pt x="0" y="12764"/>
                    <a:pt x="0" y="10759"/>
                  </a:cubicBezTo>
                  <a:cubicBezTo>
                    <a:pt x="0" y="8755"/>
                    <a:pt x="448" y="7077"/>
                    <a:pt x="1467" y="5359"/>
                  </a:cubicBezTo>
                  <a:cubicBezTo>
                    <a:pt x="2445" y="3641"/>
                    <a:pt x="3709" y="2414"/>
                    <a:pt x="5420" y="1432"/>
                  </a:cubicBezTo>
                  <a:cubicBezTo>
                    <a:pt x="7132" y="409"/>
                    <a:pt x="8803" y="0"/>
                    <a:pt x="10800" y="0"/>
                  </a:cubicBezTo>
                  <a:cubicBezTo>
                    <a:pt x="12756" y="0"/>
                    <a:pt x="14468" y="409"/>
                    <a:pt x="16180" y="1432"/>
                  </a:cubicBezTo>
                  <a:cubicBezTo>
                    <a:pt x="17891" y="2414"/>
                    <a:pt x="19114" y="3641"/>
                    <a:pt x="20092" y="5359"/>
                  </a:cubicBezTo>
                  <a:cubicBezTo>
                    <a:pt x="21070" y="7077"/>
                    <a:pt x="21600" y="8795"/>
                    <a:pt x="21600" y="10759"/>
                  </a:cubicBezTo>
                </a:path>
              </a:pathLst>
            </a:custGeom>
            <a:solidFill>
              <a:schemeClr val="tx2"/>
            </a:solidFill>
            <a:ln w="3175" cap="flat">
              <a:solidFill>
                <a:schemeClr val="tx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80" name="Shape 2098"/>
            <p:cNvSpPr/>
            <p:nvPr/>
          </p:nvSpPr>
          <p:spPr>
            <a:xfrm>
              <a:off x="7700323" y="2378544"/>
              <a:ext cx="3490802" cy="322199"/>
            </a:xfrm>
            <a:prstGeom prst="rect">
              <a:avLst/>
            </a:prstGeom>
            <a:noFill/>
            <a:ln w="3175" cap="flat">
              <a:solidFill>
                <a:schemeClr val="bg1"/>
              </a:solidFill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noAutofit/>
            </a:bodyPr>
            <a:lstStyle>
              <a:lvl1pPr algn="l" defTabSz="590133">
                <a:lnSpc>
                  <a:spcPct val="93000"/>
                </a:lnSpc>
                <a:tabLst>
                  <a:tab pos="584200" algn="l"/>
                  <a:tab pos="1168400" algn="l"/>
                  <a:tab pos="1765300" algn="l"/>
                  <a:tab pos="2349500" algn="l"/>
                  <a:tab pos="2946400" algn="l"/>
                  <a:tab pos="3530600" algn="l"/>
                  <a:tab pos="4127500" algn="l"/>
                  <a:tab pos="4711700" algn="l"/>
                  <a:tab pos="5308600" algn="l"/>
                  <a:tab pos="5892800" algn="l"/>
                  <a:tab pos="6489700" algn="l"/>
                  <a:tab pos="7073900" algn="l"/>
                  <a:tab pos="7670800" algn="l"/>
                  <a:tab pos="8255000" algn="l"/>
                  <a:tab pos="8851900" algn="l"/>
                  <a:tab pos="9436100" algn="l"/>
                  <a:tab pos="10020300" algn="l"/>
                  <a:tab pos="10617200" algn="l"/>
                  <a:tab pos="11201400" algn="l"/>
                  <a:tab pos="11798300" algn="l"/>
                </a:tabLst>
                <a:defRPr sz="2200" b="1">
                  <a:solidFill>
                    <a:srgbClr val="726658"/>
                  </a:solidFill>
                  <a:latin typeface="'Roboto-Bold'"/>
                  <a:ea typeface="'Roboto-Bold'"/>
                  <a:cs typeface="'Roboto-Bold'"/>
                  <a:sym typeface="'Roboto-Bold'"/>
                </a:defRPr>
              </a:lvl1pPr>
            </a:lstStyle>
            <a:p>
              <a:pPr algn="ctr"/>
              <a:r>
                <a:rPr lang="en-US" b="0" dirty="0" smtClean="0"/>
                <a:t>Preparing for interviews</a:t>
              </a:r>
              <a:endParaRPr lang="en-US" b="0" dirty="0"/>
            </a:p>
          </p:txBody>
        </p:sp>
        <p:sp>
          <p:nvSpPr>
            <p:cNvPr id="86" name="Shape 2104"/>
            <p:cNvSpPr/>
            <p:nvPr/>
          </p:nvSpPr>
          <p:spPr>
            <a:xfrm>
              <a:off x="7790933" y="7006325"/>
              <a:ext cx="3252358" cy="322200"/>
            </a:xfrm>
            <a:prstGeom prst="rect">
              <a:avLst/>
            </a:prstGeom>
            <a:noFill/>
            <a:ln w="3175" cap="flat">
              <a:solidFill>
                <a:schemeClr val="bg1"/>
              </a:solidFill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noAutofit/>
            </a:bodyPr>
            <a:lstStyle>
              <a:lvl1pPr algn="l" defTabSz="590133">
                <a:lnSpc>
                  <a:spcPct val="93000"/>
                </a:lnSpc>
                <a:tabLst>
                  <a:tab pos="584200" algn="l"/>
                  <a:tab pos="1168400" algn="l"/>
                  <a:tab pos="1765300" algn="l"/>
                  <a:tab pos="2349500" algn="l"/>
                  <a:tab pos="2946400" algn="l"/>
                  <a:tab pos="3530600" algn="l"/>
                  <a:tab pos="4127500" algn="l"/>
                  <a:tab pos="4711700" algn="l"/>
                  <a:tab pos="5308600" algn="l"/>
                  <a:tab pos="5892800" algn="l"/>
                  <a:tab pos="6489700" algn="l"/>
                  <a:tab pos="7073900" algn="l"/>
                  <a:tab pos="7670800" algn="l"/>
                  <a:tab pos="8255000" algn="l"/>
                  <a:tab pos="8851900" algn="l"/>
                  <a:tab pos="9436100" algn="l"/>
                  <a:tab pos="10020300" algn="l"/>
                  <a:tab pos="10617200" algn="l"/>
                  <a:tab pos="11201400" algn="l"/>
                  <a:tab pos="11798300" algn="l"/>
                </a:tabLst>
                <a:defRPr sz="2200" b="1">
                  <a:solidFill>
                    <a:srgbClr val="726658"/>
                  </a:solidFill>
                  <a:latin typeface="'Roboto-Bold'"/>
                  <a:ea typeface="'Roboto-Bold'"/>
                  <a:cs typeface="'Roboto-Bold'"/>
                  <a:sym typeface="'Roboto-Bold'"/>
                </a:defRPr>
              </a:lvl1pPr>
            </a:lstStyle>
            <a:p>
              <a:r>
                <a:rPr lang="en-US" b="0" dirty="0" smtClean="0"/>
                <a:t>Questions to expect </a:t>
              </a:r>
              <a:endParaRPr lang="en-US" b="0" dirty="0"/>
            </a:p>
          </p:txBody>
        </p:sp>
        <p:sp>
          <p:nvSpPr>
            <p:cNvPr id="94" name="Shape 2112"/>
            <p:cNvSpPr/>
            <p:nvPr/>
          </p:nvSpPr>
          <p:spPr>
            <a:xfrm>
              <a:off x="62080" y="142702"/>
              <a:ext cx="2394249" cy="76095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05" h="21600" extrusionOk="0">
                  <a:moveTo>
                    <a:pt x="1474" y="0"/>
                  </a:moveTo>
                  <a:cubicBezTo>
                    <a:pt x="2299" y="56"/>
                    <a:pt x="3007" y="162"/>
                    <a:pt x="3508" y="335"/>
                  </a:cubicBezTo>
                  <a:cubicBezTo>
                    <a:pt x="3508" y="335"/>
                    <a:pt x="9262" y="649"/>
                    <a:pt x="10196" y="1724"/>
                  </a:cubicBezTo>
                  <a:cubicBezTo>
                    <a:pt x="10196" y="1724"/>
                    <a:pt x="13858" y="2530"/>
                    <a:pt x="11870" y="3246"/>
                  </a:cubicBezTo>
                  <a:cubicBezTo>
                    <a:pt x="11870" y="3246"/>
                    <a:pt x="15841" y="4770"/>
                    <a:pt x="15841" y="7905"/>
                  </a:cubicBezTo>
                  <a:cubicBezTo>
                    <a:pt x="15841" y="7905"/>
                    <a:pt x="16469" y="8666"/>
                    <a:pt x="15841" y="9066"/>
                  </a:cubicBezTo>
                  <a:cubicBezTo>
                    <a:pt x="15841" y="9066"/>
                    <a:pt x="14897" y="9425"/>
                    <a:pt x="16675" y="10412"/>
                  </a:cubicBezTo>
                  <a:lnTo>
                    <a:pt x="19537" y="11932"/>
                  </a:lnTo>
                  <a:cubicBezTo>
                    <a:pt x="19537" y="11932"/>
                    <a:pt x="21600" y="12690"/>
                    <a:pt x="17863" y="13258"/>
                  </a:cubicBezTo>
                  <a:cubicBezTo>
                    <a:pt x="17863" y="13258"/>
                    <a:pt x="17225" y="13546"/>
                    <a:pt x="17734" y="14363"/>
                  </a:cubicBezTo>
                  <a:cubicBezTo>
                    <a:pt x="17734" y="14363"/>
                    <a:pt x="18560" y="14522"/>
                    <a:pt x="17351" y="15041"/>
                  </a:cubicBezTo>
                  <a:cubicBezTo>
                    <a:pt x="17351" y="15041"/>
                    <a:pt x="18238" y="15361"/>
                    <a:pt x="17793" y="15769"/>
                  </a:cubicBezTo>
                  <a:cubicBezTo>
                    <a:pt x="17793" y="15769"/>
                    <a:pt x="17608" y="15886"/>
                    <a:pt x="16842" y="15995"/>
                  </a:cubicBezTo>
                  <a:cubicBezTo>
                    <a:pt x="16842" y="15995"/>
                    <a:pt x="15695" y="16563"/>
                    <a:pt x="16461" y="16972"/>
                  </a:cubicBezTo>
                  <a:cubicBezTo>
                    <a:pt x="16461" y="16972"/>
                    <a:pt x="18696" y="18356"/>
                    <a:pt x="14002" y="18983"/>
                  </a:cubicBezTo>
                  <a:cubicBezTo>
                    <a:pt x="14002" y="18983"/>
                    <a:pt x="11191" y="19172"/>
                    <a:pt x="8845" y="18983"/>
                  </a:cubicBezTo>
                  <a:cubicBezTo>
                    <a:pt x="8845" y="18983"/>
                    <a:pt x="6237" y="18837"/>
                    <a:pt x="4249" y="20270"/>
                  </a:cubicBezTo>
                  <a:cubicBezTo>
                    <a:pt x="4249" y="20270"/>
                    <a:pt x="3560" y="20768"/>
                    <a:pt x="3050" y="21600"/>
                  </a:cubicBezTo>
                  <a:lnTo>
                    <a:pt x="0" y="21600"/>
                  </a:lnTo>
                  <a:lnTo>
                    <a:pt x="0" y="0"/>
                  </a:lnTo>
                  <a:lnTo>
                    <a:pt x="1474" y="0"/>
                  </a:lnTo>
                </a:path>
              </a:pathLst>
            </a:custGeom>
            <a:solidFill>
              <a:schemeClr val="tx2"/>
            </a:solidFill>
            <a:ln w="3175" cap="flat">
              <a:solidFill>
                <a:schemeClr val="tx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sp>
        <p:nvSpPr>
          <p:cNvPr id="97" name="Shape 2098"/>
          <p:cNvSpPr/>
          <p:nvPr/>
        </p:nvSpPr>
        <p:spPr>
          <a:xfrm>
            <a:off x="5898828" y="4619792"/>
            <a:ext cx="2733864" cy="226546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t">
            <a:noAutofit/>
          </a:bodyPr>
          <a:lstStyle>
            <a:lvl1pPr algn="l"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2200" b="1">
                <a:solidFill>
                  <a:srgbClr val="726658"/>
                </a:solidFill>
                <a:latin typeface="'Roboto-Bold'"/>
                <a:ea typeface="'Roboto-Bold'"/>
                <a:cs typeface="'Roboto-Bold'"/>
                <a:sym typeface="'Roboto-Bold'"/>
              </a:defRPr>
            </a:lvl1pPr>
          </a:lstStyle>
          <a:p>
            <a:pPr algn="ctr"/>
            <a:r>
              <a:rPr lang="en-US" b="0" dirty="0"/>
              <a:t>How to behave in the Interview</a:t>
            </a:r>
            <a:endParaRPr lang="de-DE" b="0" dirty="0"/>
          </a:p>
        </p:txBody>
      </p:sp>
      <p:sp>
        <p:nvSpPr>
          <p:cNvPr id="99" name="Shape 2951"/>
          <p:cNvSpPr/>
          <p:nvPr/>
        </p:nvSpPr>
        <p:spPr>
          <a:xfrm>
            <a:off x="5366954" y="1536194"/>
            <a:ext cx="297469" cy="41027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12712" y="21600"/>
                </a:lnTo>
                <a:lnTo>
                  <a:pt x="12712" y="17381"/>
                </a:lnTo>
                <a:lnTo>
                  <a:pt x="8913" y="17381"/>
                </a:lnTo>
                <a:lnTo>
                  <a:pt x="8913" y="21600"/>
                </a:lnTo>
                <a:lnTo>
                  <a:pt x="0" y="21600"/>
                </a:lnTo>
                <a:lnTo>
                  <a:pt x="0" y="1454"/>
                </a:lnTo>
                <a:lnTo>
                  <a:pt x="5363" y="1454"/>
                </a:lnTo>
                <a:lnTo>
                  <a:pt x="5363" y="0"/>
                </a:lnTo>
                <a:lnTo>
                  <a:pt x="16262" y="0"/>
                </a:lnTo>
                <a:lnTo>
                  <a:pt x="16262" y="1454"/>
                </a:lnTo>
                <a:lnTo>
                  <a:pt x="21600" y="1454"/>
                </a:lnTo>
                <a:lnTo>
                  <a:pt x="21600" y="21600"/>
                </a:lnTo>
                <a:close/>
                <a:moveTo>
                  <a:pt x="7126" y="11725"/>
                </a:moveTo>
                <a:lnTo>
                  <a:pt x="3575" y="11725"/>
                </a:lnTo>
                <a:lnTo>
                  <a:pt x="3575" y="14292"/>
                </a:lnTo>
                <a:lnTo>
                  <a:pt x="7126" y="14292"/>
                </a:lnTo>
                <a:lnTo>
                  <a:pt x="7126" y="11725"/>
                </a:lnTo>
                <a:close/>
                <a:moveTo>
                  <a:pt x="7126" y="7882"/>
                </a:moveTo>
                <a:lnTo>
                  <a:pt x="3575" y="7882"/>
                </a:lnTo>
                <a:lnTo>
                  <a:pt x="3575" y="10450"/>
                </a:lnTo>
                <a:lnTo>
                  <a:pt x="7126" y="10450"/>
                </a:lnTo>
                <a:lnTo>
                  <a:pt x="7126" y="7882"/>
                </a:lnTo>
                <a:close/>
                <a:moveTo>
                  <a:pt x="7126" y="4040"/>
                </a:moveTo>
                <a:lnTo>
                  <a:pt x="3575" y="4040"/>
                </a:lnTo>
                <a:lnTo>
                  <a:pt x="3575" y="6607"/>
                </a:lnTo>
                <a:lnTo>
                  <a:pt x="7126" y="6607"/>
                </a:lnTo>
                <a:lnTo>
                  <a:pt x="7126" y="4040"/>
                </a:lnTo>
                <a:close/>
                <a:moveTo>
                  <a:pt x="12712" y="11725"/>
                </a:moveTo>
                <a:lnTo>
                  <a:pt x="8913" y="11725"/>
                </a:lnTo>
                <a:lnTo>
                  <a:pt x="8913" y="14292"/>
                </a:lnTo>
                <a:lnTo>
                  <a:pt x="12712" y="14292"/>
                </a:lnTo>
                <a:lnTo>
                  <a:pt x="12712" y="11725"/>
                </a:lnTo>
                <a:close/>
                <a:moveTo>
                  <a:pt x="12662" y="10450"/>
                </a:moveTo>
                <a:lnTo>
                  <a:pt x="12662" y="7882"/>
                </a:lnTo>
                <a:lnTo>
                  <a:pt x="8888" y="7882"/>
                </a:lnTo>
                <a:lnTo>
                  <a:pt x="8888" y="10450"/>
                </a:lnTo>
                <a:lnTo>
                  <a:pt x="12662" y="10450"/>
                </a:lnTo>
                <a:close/>
                <a:moveTo>
                  <a:pt x="12712" y="4040"/>
                </a:moveTo>
                <a:lnTo>
                  <a:pt x="8938" y="4040"/>
                </a:lnTo>
                <a:lnTo>
                  <a:pt x="8938" y="6607"/>
                </a:lnTo>
                <a:lnTo>
                  <a:pt x="12737" y="6607"/>
                </a:lnTo>
                <a:lnTo>
                  <a:pt x="12737" y="4040"/>
                </a:lnTo>
                <a:lnTo>
                  <a:pt x="12712" y="4040"/>
                </a:lnTo>
                <a:close/>
                <a:moveTo>
                  <a:pt x="18050" y="11725"/>
                </a:moveTo>
                <a:lnTo>
                  <a:pt x="14499" y="11725"/>
                </a:lnTo>
                <a:lnTo>
                  <a:pt x="14499" y="14292"/>
                </a:lnTo>
                <a:lnTo>
                  <a:pt x="18050" y="14292"/>
                </a:lnTo>
                <a:lnTo>
                  <a:pt x="18050" y="11725"/>
                </a:lnTo>
                <a:close/>
                <a:moveTo>
                  <a:pt x="18050" y="7882"/>
                </a:moveTo>
                <a:lnTo>
                  <a:pt x="14499" y="7882"/>
                </a:lnTo>
                <a:lnTo>
                  <a:pt x="14499" y="10450"/>
                </a:lnTo>
                <a:lnTo>
                  <a:pt x="18050" y="10450"/>
                </a:lnTo>
                <a:lnTo>
                  <a:pt x="18050" y="7882"/>
                </a:lnTo>
                <a:close/>
                <a:moveTo>
                  <a:pt x="18050" y="4040"/>
                </a:moveTo>
                <a:lnTo>
                  <a:pt x="14499" y="4040"/>
                </a:lnTo>
                <a:lnTo>
                  <a:pt x="14499" y="6607"/>
                </a:lnTo>
                <a:lnTo>
                  <a:pt x="18050" y="6607"/>
                </a:lnTo>
                <a:lnTo>
                  <a:pt x="18050" y="4040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00" name="Shape 2098"/>
          <p:cNvSpPr/>
          <p:nvPr/>
        </p:nvSpPr>
        <p:spPr>
          <a:xfrm>
            <a:off x="5764378" y="1503422"/>
            <a:ext cx="2733863" cy="226546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t">
            <a:noAutofit/>
          </a:bodyPr>
          <a:lstStyle>
            <a:lvl1pPr algn="l"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2200" b="1">
                <a:solidFill>
                  <a:srgbClr val="726658"/>
                </a:solidFill>
                <a:latin typeface="'Roboto-Bold'"/>
                <a:ea typeface="'Roboto-Bold'"/>
                <a:cs typeface="'Roboto-Bold'"/>
                <a:sym typeface="'Roboto-Bold'"/>
              </a:defRPr>
            </a:lvl1pPr>
          </a:lstStyle>
          <a:p>
            <a:pPr algn="ctr"/>
            <a:r>
              <a:rPr lang="en-US" b="0" dirty="0" smtClean="0"/>
              <a:t>Types Of Interviews</a:t>
            </a:r>
            <a:endParaRPr lang="en-US" b="0" dirty="0"/>
          </a:p>
        </p:txBody>
      </p:sp>
      <p:sp>
        <p:nvSpPr>
          <p:cNvPr id="26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Interview Training </a:t>
            </a:r>
          </a:p>
        </p:txBody>
      </p:sp>
    </p:spTree>
    <p:extLst>
      <p:ext uri="{BB962C8B-B14F-4D97-AF65-F5344CB8AC3E}">
        <p14:creationId xmlns:p14="http://schemas.microsoft.com/office/powerpoint/2010/main" val="1003436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hape 1148"/>
          <p:cNvSpPr/>
          <p:nvPr/>
        </p:nvSpPr>
        <p:spPr>
          <a:xfrm>
            <a:off x="2748209" y="1665038"/>
            <a:ext cx="3412167" cy="35893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790"/>
                  <a:pt x="21147" y="14478"/>
                  <a:pt x="20150" y="16202"/>
                </a:cubicBezTo>
                <a:cubicBezTo>
                  <a:pt x="19157" y="17922"/>
                  <a:pt x="17918" y="19161"/>
                  <a:pt x="16198" y="20154"/>
                </a:cubicBezTo>
                <a:cubicBezTo>
                  <a:pt x="14478" y="21147"/>
                  <a:pt x="12786" y="21600"/>
                  <a:pt x="10796" y="21600"/>
                </a:cubicBezTo>
                <a:cubicBezTo>
                  <a:pt x="8810" y="21600"/>
                  <a:pt x="7122" y="21147"/>
                  <a:pt x="5402" y="20154"/>
                </a:cubicBezTo>
                <a:cubicBezTo>
                  <a:pt x="3678" y="19161"/>
                  <a:pt x="2439" y="17922"/>
                  <a:pt x="1446" y="16202"/>
                </a:cubicBezTo>
                <a:cubicBezTo>
                  <a:pt x="449" y="14478"/>
                  <a:pt x="0" y="12786"/>
                  <a:pt x="0" y="10800"/>
                </a:cubicBezTo>
                <a:cubicBezTo>
                  <a:pt x="0" y="8810"/>
                  <a:pt x="449" y="7122"/>
                  <a:pt x="1446" y="5402"/>
                </a:cubicBezTo>
                <a:cubicBezTo>
                  <a:pt x="2439" y="3678"/>
                  <a:pt x="3678" y="2439"/>
                  <a:pt x="5402" y="1446"/>
                </a:cubicBezTo>
                <a:cubicBezTo>
                  <a:pt x="7122" y="449"/>
                  <a:pt x="8814" y="0"/>
                  <a:pt x="10796" y="0"/>
                </a:cubicBezTo>
                <a:cubicBezTo>
                  <a:pt x="12786" y="0"/>
                  <a:pt x="14478" y="449"/>
                  <a:pt x="16198" y="1446"/>
                </a:cubicBezTo>
                <a:cubicBezTo>
                  <a:pt x="17918" y="2439"/>
                  <a:pt x="19157" y="3678"/>
                  <a:pt x="20150" y="5402"/>
                </a:cubicBezTo>
                <a:cubicBezTo>
                  <a:pt x="21147" y="7122"/>
                  <a:pt x="21600" y="8814"/>
                  <a:pt x="21600" y="10800"/>
                </a:cubicBezTo>
              </a:path>
            </a:pathLst>
          </a:custGeom>
          <a:ln w="38100">
            <a:solidFill>
              <a:schemeClr val="tx2"/>
            </a:solidFill>
            <a:miter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pSp>
        <p:nvGrpSpPr>
          <p:cNvPr id="190" name="bcgIcons_LargeGroupMeeting">
            <a:extLst>
              <a:ext uri="{FF2B5EF4-FFF2-40B4-BE49-F238E27FC236}">
                <a16:creationId xmlns:a16="http://schemas.microsoft.com/office/drawing/2014/main" id="{A2FD7D8A-1B63-45BD-BCF6-3D772C394A2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067550" y="1909605"/>
            <a:ext cx="2551821" cy="2767035"/>
            <a:chOff x="1682" y="0"/>
            <a:chExt cx="4316" cy="4320"/>
          </a:xfrm>
        </p:grpSpPr>
        <p:sp>
          <p:nvSpPr>
            <p:cNvPr id="191" name="AutoShape 33">
              <a:extLst>
                <a:ext uri="{FF2B5EF4-FFF2-40B4-BE49-F238E27FC236}">
                  <a16:creationId xmlns:a16="http://schemas.microsoft.com/office/drawing/2014/main" id="{4AD8728A-3137-4D5E-94A2-7EE2495C153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2" name="Freeform 35">
              <a:extLst>
                <a:ext uri="{FF2B5EF4-FFF2-40B4-BE49-F238E27FC236}">
                  <a16:creationId xmlns:a16="http://schemas.microsoft.com/office/drawing/2014/main" id="{9E8BEE28-E024-4AD9-AECF-5DD9B0801C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9" y="2160"/>
              <a:ext cx="3833" cy="735"/>
            </a:xfrm>
            <a:custGeom>
              <a:avLst/>
              <a:gdLst>
                <a:gd name="T0" fmla="*/ 353 w 2046"/>
                <a:gd name="T1" fmla="*/ 382 h 392"/>
                <a:gd name="T2" fmla="*/ 561 w 2046"/>
                <a:gd name="T3" fmla="*/ 165 h 392"/>
                <a:gd name="T4" fmla="*/ 663 w 2046"/>
                <a:gd name="T5" fmla="*/ 197 h 392"/>
                <a:gd name="T6" fmla="*/ 762 w 2046"/>
                <a:gd name="T7" fmla="*/ 165 h 392"/>
                <a:gd name="T8" fmla="*/ 895 w 2046"/>
                <a:gd name="T9" fmla="*/ 188 h 392"/>
                <a:gd name="T10" fmla="*/ 963 w 2046"/>
                <a:gd name="T11" fmla="*/ 392 h 392"/>
                <a:gd name="T12" fmla="*/ 1679 w 2046"/>
                <a:gd name="T13" fmla="*/ 392 h 392"/>
                <a:gd name="T14" fmla="*/ 1612 w 2046"/>
                <a:gd name="T15" fmla="*/ 188 h 392"/>
                <a:gd name="T16" fmla="*/ 1479 w 2046"/>
                <a:gd name="T17" fmla="*/ 165 h 392"/>
                <a:gd name="T18" fmla="*/ 1380 w 2046"/>
                <a:gd name="T19" fmla="*/ 197 h 392"/>
                <a:gd name="T20" fmla="*/ 1278 w 2046"/>
                <a:gd name="T21" fmla="*/ 165 h 392"/>
                <a:gd name="T22" fmla="*/ 1070 w 2046"/>
                <a:gd name="T23" fmla="*/ 382 h 392"/>
                <a:gd name="T24" fmla="*/ 1679 w 2046"/>
                <a:gd name="T25" fmla="*/ 392 h 392"/>
                <a:gd name="T26" fmla="*/ 1262 w 2046"/>
                <a:gd name="T27" fmla="*/ 122 h 392"/>
                <a:gd name="T28" fmla="*/ 1238 w 2046"/>
                <a:gd name="T29" fmla="*/ 84 h 392"/>
                <a:gd name="T30" fmla="*/ 1187 w 2046"/>
                <a:gd name="T31" fmla="*/ 5 h 392"/>
                <a:gd name="T32" fmla="*/ 1120 w 2046"/>
                <a:gd name="T33" fmla="*/ 3 h 392"/>
                <a:gd name="T34" fmla="*/ 1126 w 2046"/>
                <a:gd name="T35" fmla="*/ 148 h 392"/>
                <a:gd name="T36" fmla="*/ 546 w 2046"/>
                <a:gd name="T37" fmla="*/ 122 h 392"/>
                <a:gd name="T38" fmla="*/ 522 w 2046"/>
                <a:gd name="T39" fmla="*/ 84 h 392"/>
                <a:gd name="T40" fmla="*/ 471 w 2046"/>
                <a:gd name="T41" fmla="*/ 5 h 392"/>
                <a:gd name="T42" fmla="*/ 304 w 2046"/>
                <a:gd name="T43" fmla="*/ 48 h 392"/>
                <a:gd name="T44" fmla="*/ 70 w 2046"/>
                <a:gd name="T45" fmla="*/ 23 h 392"/>
                <a:gd name="T46" fmla="*/ 363 w 2046"/>
                <a:gd name="T47" fmla="*/ 201 h 392"/>
                <a:gd name="T48" fmla="*/ 804 w 2046"/>
                <a:gd name="T49" fmla="*/ 78 h 392"/>
                <a:gd name="T50" fmla="*/ 793 w 2046"/>
                <a:gd name="T51" fmla="*/ 103 h 392"/>
                <a:gd name="T52" fmla="*/ 778 w 2046"/>
                <a:gd name="T53" fmla="*/ 122 h 392"/>
                <a:gd name="T54" fmla="*/ 945 w 2046"/>
                <a:gd name="T55" fmla="*/ 175 h 392"/>
                <a:gd name="T56" fmla="*/ 917 w 2046"/>
                <a:gd name="T57" fmla="*/ 0 h 392"/>
                <a:gd name="T58" fmla="*/ 804 w 2046"/>
                <a:gd name="T59" fmla="*/ 78 h 392"/>
                <a:gd name="T60" fmla="*/ 1970 w 2046"/>
                <a:gd name="T61" fmla="*/ 23 h 392"/>
                <a:gd name="T62" fmla="*/ 1836 w 2046"/>
                <a:gd name="T63" fmla="*/ 3 h 392"/>
                <a:gd name="T64" fmla="*/ 1728 w 2046"/>
                <a:gd name="T65" fmla="*/ 105 h 392"/>
                <a:gd name="T66" fmla="*/ 1633 w 2046"/>
                <a:gd name="T67" fmla="*/ 0 h 392"/>
                <a:gd name="T68" fmla="*/ 1520 w 2046"/>
                <a:gd name="T69" fmla="*/ 78 h 392"/>
                <a:gd name="T70" fmla="*/ 1509 w 2046"/>
                <a:gd name="T71" fmla="*/ 103 h 392"/>
                <a:gd name="T72" fmla="*/ 1494 w 2046"/>
                <a:gd name="T73" fmla="*/ 122 h 392"/>
                <a:gd name="T74" fmla="*/ 1686 w 2046"/>
                <a:gd name="T75" fmla="*/ 222 h 392"/>
                <a:gd name="T76" fmla="*/ 1784 w 2046"/>
                <a:gd name="T77" fmla="*/ 222 h 392"/>
                <a:gd name="T78" fmla="*/ 2045 w 2046"/>
                <a:gd name="T79" fmla="*/ 21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046" h="392">
                  <a:moveTo>
                    <a:pt x="361" y="392"/>
                  </a:moveTo>
                  <a:cubicBezTo>
                    <a:pt x="355" y="392"/>
                    <a:pt x="352" y="387"/>
                    <a:pt x="353" y="382"/>
                  </a:cubicBezTo>
                  <a:cubicBezTo>
                    <a:pt x="363" y="357"/>
                    <a:pt x="390" y="205"/>
                    <a:pt x="428" y="188"/>
                  </a:cubicBezTo>
                  <a:cubicBezTo>
                    <a:pt x="475" y="166"/>
                    <a:pt x="561" y="165"/>
                    <a:pt x="561" y="165"/>
                  </a:cubicBezTo>
                  <a:cubicBezTo>
                    <a:pt x="561" y="165"/>
                    <a:pt x="561" y="165"/>
                    <a:pt x="561" y="165"/>
                  </a:cubicBezTo>
                  <a:cubicBezTo>
                    <a:pt x="561" y="165"/>
                    <a:pt x="596" y="197"/>
                    <a:pt x="663" y="197"/>
                  </a:cubicBezTo>
                  <a:cubicBezTo>
                    <a:pt x="660" y="197"/>
                    <a:pt x="660" y="197"/>
                    <a:pt x="660" y="197"/>
                  </a:cubicBezTo>
                  <a:cubicBezTo>
                    <a:pt x="728" y="197"/>
                    <a:pt x="762" y="165"/>
                    <a:pt x="762" y="165"/>
                  </a:cubicBezTo>
                  <a:cubicBezTo>
                    <a:pt x="762" y="165"/>
                    <a:pt x="762" y="165"/>
                    <a:pt x="762" y="165"/>
                  </a:cubicBezTo>
                  <a:cubicBezTo>
                    <a:pt x="762" y="165"/>
                    <a:pt x="849" y="166"/>
                    <a:pt x="895" y="188"/>
                  </a:cubicBezTo>
                  <a:cubicBezTo>
                    <a:pt x="933" y="205"/>
                    <a:pt x="961" y="357"/>
                    <a:pt x="970" y="382"/>
                  </a:cubicBezTo>
                  <a:cubicBezTo>
                    <a:pt x="972" y="387"/>
                    <a:pt x="968" y="392"/>
                    <a:pt x="963" y="392"/>
                  </a:cubicBezTo>
                  <a:lnTo>
                    <a:pt x="361" y="392"/>
                  </a:lnTo>
                  <a:close/>
                  <a:moveTo>
                    <a:pt x="1679" y="392"/>
                  </a:moveTo>
                  <a:cubicBezTo>
                    <a:pt x="1685" y="392"/>
                    <a:pt x="1688" y="387"/>
                    <a:pt x="1687" y="382"/>
                  </a:cubicBezTo>
                  <a:cubicBezTo>
                    <a:pt x="1677" y="357"/>
                    <a:pt x="1650" y="205"/>
                    <a:pt x="1612" y="188"/>
                  </a:cubicBezTo>
                  <a:cubicBezTo>
                    <a:pt x="1565" y="166"/>
                    <a:pt x="1479" y="165"/>
                    <a:pt x="1479" y="165"/>
                  </a:cubicBezTo>
                  <a:cubicBezTo>
                    <a:pt x="1479" y="165"/>
                    <a:pt x="1479" y="165"/>
                    <a:pt x="1479" y="165"/>
                  </a:cubicBezTo>
                  <a:cubicBezTo>
                    <a:pt x="1479" y="165"/>
                    <a:pt x="1444" y="197"/>
                    <a:pt x="1377" y="197"/>
                  </a:cubicBezTo>
                  <a:cubicBezTo>
                    <a:pt x="1380" y="197"/>
                    <a:pt x="1380" y="197"/>
                    <a:pt x="1380" y="197"/>
                  </a:cubicBezTo>
                  <a:cubicBezTo>
                    <a:pt x="1312" y="197"/>
                    <a:pt x="1278" y="165"/>
                    <a:pt x="1278" y="165"/>
                  </a:cubicBezTo>
                  <a:cubicBezTo>
                    <a:pt x="1278" y="165"/>
                    <a:pt x="1278" y="165"/>
                    <a:pt x="1278" y="165"/>
                  </a:cubicBezTo>
                  <a:cubicBezTo>
                    <a:pt x="1278" y="165"/>
                    <a:pt x="1191" y="166"/>
                    <a:pt x="1145" y="188"/>
                  </a:cubicBezTo>
                  <a:cubicBezTo>
                    <a:pt x="1107" y="205"/>
                    <a:pt x="1079" y="357"/>
                    <a:pt x="1070" y="382"/>
                  </a:cubicBezTo>
                  <a:cubicBezTo>
                    <a:pt x="1068" y="387"/>
                    <a:pt x="1072" y="392"/>
                    <a:pt x="1077" y="392"/>
                  </a:cubicBezTo>
                  <a:lnTo>
                    <a:pt x="1679" y="392"/>
                  </a:lnTo>
                  <a:close/>
                  <a:moveTo>
                    <a:pt x="1126" y="148"/>
                  </a:moveTo>
                  <a:cubicBezTo>
                    <a:pt x="1169" y="128"/>
                    <a:pt x="1233" y="123"/>
                    <a:pt x="1262" y="122"/>
                  </a:cubicBezTo>
                  <a:cubicBezTo>
                    <a:pt x="1257" y="117"/>
                    <a:pt x="1253" y="112"/>
                    <a:pt x="1250" y="108"/>
                  </a:cubicBezTo>
                  <a:cubicBezTo>
                    <a:pt x="1244" y="99"/>
                    <a:pt x="1241" y="94"/>
                    <a:pt x="1238" y="84"/>
                  </a:cubicBezTo>
                  <a:cubicBezTo>
                    <a:pt x="1237" y="82"/>
                    <a:pt x="1237" y="80"/>
                    <a:pt x="1235" y="76"/>
                  </a:cubicBezTo>
                  <a:cubicBezTo>
                    <a:pt x="1219" y="59"/>
                    <a:pt x="1199" y="30"/>
                    <a:pt x="1187" y="5"/>
                  </a:cubicBezTo>
                  <a:cubicBezTo>
                    <a:pt x="1158" y="1"/>
                    <a:pt x="1132" y="0"/>
                    <a:pt x="1123" y="0"/>
                  </a:cubicBezTo>
                  <a:cubicBezTo>
                    <a:pt x="1122" y="0"/>
                    <a:pt x="1120" y="1"/>
                    <a:pt x="1120" y="3"/>
                  </a:cubicBezTo>
                  <a:cubicBezTo>
                    <a:pt x="1095" y="175"/>
                    <a:pt x="1095" y="175"/>
                    <a:pt x="1095" y="175"/>
                  </a:cubicBezTo>
                  <a:cubicBezTo>
                    <a:pt x="1104" y="162"/>
                    <a:pt x="1114" y="153"/>
                    <a:pt x="1126" y="148"/>
                  </a:cubicBezTo>
                  <a:close/>
                  <a:moveTo>
                    <a:pt x="410" y="148"/>
                  </a:moveTo>
                  <a:cubicBezTo>
                    <a:pt x="453" y="128"/>
                    <a:pt x="517" y="123"/>
                    <a:pt x="546" y="122"/>
                  </a:cubicBezTo>
                  <a:cubicBezTo>
                    <a:pt x="541" y="117"/>
                    <a:pt x="537" y="112"/>
                    <a:pt x="534" y="108"/>
                  </a:cubicBezTo>
                  <a:cubicBezTo>
                    <a:pt x="527" y="99"/>
                    <a:pt x="525" y="94"/>
                    <a:pt x="522" y="84"/>
                  </a:cubicBezTo>
                  <a:cubicBezTo>
                    <a:pt x="521" y="82"/>
                    <a:pt x="520" y="80"/>
                    <a:pt x="519" y="76"/>
                  </a:cubicBezTo>
                  <a:cubicBezTo>
                    <a:pt x="503" y="59"/>
                    <a:pt x="482" y="30"/>
                    <a:pt x="471" y="5"/>
                  </a:cubicBezTo>
                  <a:cubicBezTo>
                    <a:pt x="436" y="0"/>
                    <a:pt x="404" y="0"/>
                    <a:pt x="404" y="0"/>
                  </a:cubicBezTo>
                  <a:cubicBezTo>
                    <a:pt x="404" y="0"/>
                    <a:pt x="370" y="47"/>
                    <a:pt x="304" y="48"/>
                  </a:cubicBezTo>
                  <a:cubicBezTo>
                    <a:pt x="237" y="47"/>
                    <a:pt x="203" y="0"/>
                    <a:pt x="203" y="0"/>
                  </a:cubicBezTo>
                  <a:cubicBezTo>
                    <a:pt x="203" y="0"/>
                    <a:pt x="117" y="1"/>
                    <a:pt x="70" y="23"/>
                  </a:cubicBezTo>
                  <a:cubicBezTo>
                    <a:pt x="37" y="38"/>
                    <a:pt x="12" y="154"/>
                    <a:pt x="0" y="201"/>
                  </a:cubicBezTo>
                  <a:cubicBezTo>
                    <a:pt x="363" y="201"/>
                    <a:pt x="363" y="201"/>
                    <a:pt x="363" y="201"/>
                  </a:cubicBezTo>
                  <a:cubicBezTo>
                    <a:pt x="376" y="174"/>
                    <a:pt x="391" y="157"/>
                    <a:pt x="410" y="148"/>
                  </a:cubicBezTo>
                  <a:close/>
                  <a:moveTo>
                    <a:pt x="804" y="78"/>
                  </a:moveTo>
                  <a:cubicBezTo>
                    <a:pt x="803" y="81"/>
                    <a:pt x="802" y="83"/>
                    <a:pt x="802" y="84"/>
                  </a:cubicBezTo>
                  <a:cubicBezTo>
                    <a:pt x="799" y="92"/>
                    <a:pt x="798" y="95"/>
                    <a:pt x="793" y="103"/>
                  </a:cubicBezTo>
                  <a:cubicBezTo>
                    <a:pt x="792" y="105"/>
                    <a:pt x="792" y="105"/>
                    <a:pt x="792" y="105"/>
                  </a:cubicBezTo>
                  <a:cubicBezTo>
                    <a:pt x="789" y="110"/>
                    <a:pt x="784" y="116"/>
                    <a:pt x="778" y="122"/>
                  </a:cubicBezTo>
                  <a:cubicBezTo>
                    <a:pt x="807" y="123"/>
                    <a:pt x="871" y="128"/>
                    <a:pt x="914" y="148"/>
                  </a:cubicBezTo>
                  <a:cubicBezTo>
                    <a:pt x="926" y="153"/>
                    <a:pt x="936" y="162"/>
                    <a:pt x="945" y="175"/>
                  </a:cubicBezTo>
                  <a:cubicBezTo>
                    <a:pt x="920" y="3"/>
                    <a:pt x="920" y="3"/>
                    <a:pt x="920" y="3"/>
                  </a:cubicBezTo>
                  <a:cubicBezTo>
                    <a:pt x="920" y="1"/>
                    <a:pt x="918" y="0"/>
                    <a:pt x="917" y="0"/>
                  </a:cubicBezTo>
                  <a:cubicBezTo>
                    <a:pt x="908" y="0"/>
                    <a:pt x="882" y="1"/>
                    <a:pt x="853" y="5"/>
                  </a:cubicBezTo>
                  <a:cubicBezTo>
                    <a:pt x="842" y="28"/>
                    <a:pt x="823" y="59"/>
                    <a:pt x="804" y="78"/>
                  </a:cubicBezTo>
                  <a:close/>
                  <a:moveTo>
                    <a:pt x="2045" y="212"/>
                  </a:moveTo>
                  <a:cubicBezTo>
                    <a:pt x="2035" y="186"/>
                    <a:pt x="2008" y="40"/>
                    <a:pt x="1970" y="23"/>
                  </a:cubicBezTo>
                  <a:cubicBezTo>
                    <a:pt x="1928" y="3"/>
                    <a:pt x="1855" y="0"/>
                    <a:pt x="1839" y="0"/>
                  </a:cubicBezTo>
                  <a:cubicBezTo>
                    <a:pt x="1838" y="0"/>
                    <a:pt x="1836" y="1"/>
                    <a:pt x="1836" y="3"/>
                  </a:cubicBezTo>
                  <a:cubicBezTo>
                    <a:pt x="1744" y="105"/>
                    <a:pt x="1744" y="105"/>
                    <a:pt x="1744" y="105"/>
                  </a:cubicBezTo>
                  <a:cubicBezTo>
                    <a:pt x="1740" y="111"/>
                    <a:pt x="1732" y="111"/>
                    <a:pt x="1728" y="105"/>
                  </a:cubicBezTo>
                  <a:cubicBezTo>
                    <a:pt x="1636" y="3"/>
                    <a:pt x="1636" y="3"/>
                    <a:pt x="1636" y="3"/>
                  </a:cubicBezTo>
                  <a:cubicBezTo>
                    <a:pt x="1636" y="1"/>
                    <a:pt x="1635" y="0"/>
                    <a:pt x="1633" y="0"/>
                  </a:cubicBezTo>
                  <a:cubicBezTo>
                    <a:pt x="1625" y="0"/>
                    <a:pt x="1598" y="1"/>
                    <a:pt x="1569" y="5"/>
                  </a:cubicBezTo>
                  <a:cubicBezTo>
                    <a:pt x="1559" y="28"/>
                    <a:pt x="1539" y="59"/>
                    <a:pt x="1520" y="78"/>
                  </a:cubicBezTo>
                  <a:cubicBezTo>
                    <a:pt x="1519" y="81"/>
                    <a:pt x="1519" y="83"/>
                    <a:pt x="1518" y="84"/>
                  </a:cubicBezTo>
                  <a:cubicBezTo>
                    <a:pt x="1515" y="92"/>
                    <a:pt x="1514" y="95"/>
                    <a:pt x="1509" y="103"/>
                  </a:cubicBezTo>
                  <a:cubicBezTo>
                    <a:pt x="1508" y="105"/>
                    <a:pt x="1508" y="105"/>
                    <a:pt x="1508" y="105"/>
                  </a:cubicBezTo>
                  <a:cubicBezTo>
                    <a:pt x="1505" y="110"/>
                    <a:pt x="1500" y="116"/>
                    <a:pt x="1494" y="122"/>
                  </a:cubicBezTo>
                  <a:cubicBezTo>
                    <a:pt x="1524" y="123"/>
                    <a:pt x="1588" y="128"/>
                    <a:pt x="1630" y="148"/>
                  </a:cubicBezTo>
                  <a:cubicBezTo>
                    <a:pt x="1653" y="159"/>
                    <a:pt x="1670" y="183"/>
                    <a:pt x="1686" y="222"/>
                  </a:cubicBezTo>
                  <a:cubicBezTo>
                    <a:pt x="1688" y="222"/>
                    <a:pt x="1688" y="222"/>
                    <a:pt x="1688" y="222"/>
                  </a:cubicBezTo>
                  <a:cubicBezTo>
                    <a:pt x="1784" y="222"/>
                    <a:pt x="1784" y="222"/>
                    <a:pt x="1784" y="222"/>
                  </a:cubicBezTo>
                  <a:cubicBezTo>
                    <a:pt x="2038" y="222"/>
                    <a:pt x="2038" y="222"/>
                    <a:pt x="2038" y="222"/>
                  </a:cubicBezTo>
                  <a:cubicBezTo>
                    <a:pt x="2043" y="222"/>
                    <a:pt x="2046" y="217"/>
                    <a:pt x="2045" y="212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3" name="Freeform 36">
              <a:extLst>
                <a:ext uri="{FF2B5EF4-FFF2-40B4-BE49-F238E27FC236}">
                  <a16:creationId xmlns:a16="http://schemas.microsoft.com/office/drawing/2014/main" id="{E74F14F1-CFDF-47CE-B213-4A6E4774DF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36" y="1279"/>
              <a:ext cx="4025" cy="1427"/>
            </a:xfrm>
            <a:custGeom>
              <a:avLst/>
              <a:gdLst>
                <a:gd name="T0" fmla="*/ 1233 w 2149"/>
                <a:gd name="T1" fmla="*/ 232 h 761"/>
                <a:gd name="T2" fmla="*/ 1201 w 2149"/>
                <a:gd name="T3" fmla="*/ 259 h 761"/>
                <a:gd name="T4" fmla="*/ 977 w 2149"/>
                <a:gd name="T5" fmla="*/ 139 h 761"/>
                <a:gd name="T6" fmla="*/ 925 w 2149"/>
                <a:gd name="T7" fmla="*/ 255 h 761"/>
                <a:gd name="T8" fmla="*/ 908 w 2149"/>
                <a:gd name="T9" fmla="*/ 234 h 761"/>
                <a:gd name="T10" fmla="*/ 1070 w 2149"/>
                <a:gd name="T11" fmla="*/ 0 h 761"/>
                <a:gd name="T12" fmla="*/ 1233 w 2149"/>
                <a:gd name="T13" fmla="*/ 232 h 761"/>
                <a:gd name="T14" fmla="*/ 354 w 2149"/>
                <a:gd name="T15" fmla="*/ 0 h 761"/>
                <a:gd name="T16" fmla="*/ 192 w 2149"/>
                <a:gd name="T17" fmla="*/ 234 h 761"/>
                <a:gd name="T18" fmla="*/ 208 w 2149"/>
                <a:gd name="T19" fmla="*/ 255 h 761"/>
                <a:gd name="T20" fmla="*/ 261 w 2149"/>
                <a:gd name="T21" fmla="*/ 139 h 761"/>
                <a:gd name="T22" fmla="*/ 485 w 2149"/>
                <a:gd name="T23" fmla="*/ 259 h 761"/>
                <a:gd name="T24" fmla="*/ 516 w 2149"/>
                <a:gd name="T25" fmla="*/ 232 h 761"/>
                <a:gd name="T26" fmla="*/ 523 w 2149"/>
                <a:gd name="T27" fmla="*/ 173 h 761"/>
                <a:gd name="T28" fmla="*/ 712 w 2149"/>
                <a:gd name="T29" fmla="*/ 218 h 761"/>
                <a:gd name="T30" fmla="*/ 554 w 2149"/>
                <a:gd name="T31" fmla="*/ 440 h 761"/>
                <a:gd name="T32" fmla="*/ 607 w 2149"/>
                <a:gd name="T33" fmla="*/ 522 h 761"/>
                <a:gd name="T34" fmla="*/ 712 w 2149"/>
                <a:gd name="T35" fmla="*/ 597 h 761"/>
                <a:gd name="T36" fmla="*/ 817 w 2149"/>
                <a:gd name="T37" fmla="*/ 522 h 761"/>
                <a:gd name="T38" fmla="*/ 868 w 2149"/>
                <a:gd name="T39" fmla="*/ 445 h 761"/>
                <a:gd name="T40" fmla="*/ 1056 w 2149"/>
                <a:gd name="T41" fmla="*/ 535 h 761"/>
                <a:gd name="T42" fmla="*/ 1033 w 2149"/>
                <a:gd name="T43" fmla="*/ 671 h 761"/>
                <a:gd name="T44" fmla="*/ 1084 w 2149"/>
                <a:gd name="T45" fmla="*/ 538 h 761"/>
                <a:gd name="T46" fmla="*/ 1106 w 2149"/>
                <a:gd name="T47" fmla="*/ 500 h 761"/>
                <a:gd name="T48" fmla="*/ 1071 w 2149"/>
                <a:gd name="T49" fmla="*/ 491 h 761"/>
                <a:gd name="T50" fmla="*/ 1034 w 2149"/>
                <a:gd name="T51" fmla="*/ 500 h 761"/>
                <a:gd name="T52" fmla="*/ 1597 w 2149"/>
                <a:gd name="T53" fmla="*/ 391 h 761"/>
                <a:gd name="T54" fmla="*/ 1259 w 2149"/>
                <a:gd name="T55" fmla="*/ 391 h 761"/>
                <a:gd name="T56" fmla="*/ 1271 w 2149"/>
                <a:gd name="T57" fmla="*/ 442 h 761"/>
                <a:gd name="T58" fmla="*/ 1336 w 2149"/>
                <a:gd name="T59" fmla="*/ 553 h 761"/>
                <a:gd name="T60" fmla="*/ 1520 w 2149"/>
                <a:gd name="T61" fmla="*/ 553 h 761"/>
                <a:gd name="T62" fmla="*/ 1584 w 2149"/>
                <a:gd name="T63" fmla="*/ 446 h 761"/>
                <a:gd name="T64" fmla="*/ 1597 w 2149"/>
                <a:gd name="T65" fmla="*/ 391 h 761"/>
                <a:gd name="T66" fmla="*/ 1786 w 2149"/>
                <a:gd name="T67" fmla="*/ 0 h 761"/>
                <a:gd name="T68" fmla="*/ 1624 w 2149"/>
                <a:gd name="T69" fmla="*/ 246 h 761"/>
                <a:gd name="T70" fmla="*/ 1691 w 2149"/>
                <a:gd name="T71" fmla="*/ 140 h 761"/>
                <a:gd name="T72" fmla="*/ 1919 w 2149"/>
                <a:gd name="T73" fmla="*/ 260 h 761"/>
                <a:gd name="T74" fmla="*/ 1931 w 2149"/>
                <a:gd name="T75" fmla="*/ 261 h 761"/>
                <a:gd name="T76" fmla="*/ 1952 w 2149"/>
                <a:gd name="T77" fmla="*/ 233 h 761"/>
                <a:gd name="T78" fmla="*/ 1958 w 2149"/>
                <a:gd name="T79" fmla="*/ 175 h 761"/>
                <a:gd name="T80" fmla="*/ 22 w 2149"/>
                <a:gd name="T81" fmla="*/ 717 h 761"/>
                <a:gd name="T82" fmla="*/ 22 w 2149"/>
                <a:gd name="T83" fmla="*/ 761 h 761"/>
                <a:gd name="T84" fmla="*/ 395 w 2149"/>
                <a:gd name="T85" fmla="*/ 717 h 761"/>
                <a:gd name="T86" fmla="*/ 1745 w 2149"/>
                <a:gd name="T87" fmla="*/ 717 h 761"/>
                <a:gd name="T88" fmla="*/ 2127 w 2149"/>
                <a:gd name="T89" fmla="*/ 761 h 761"/>
                <a:gd name="T90" fmla="*/ 2127 w 2149"/>
                <a:gd name="T91" fmla="*/ 717 h 761"/>
                <a:gd name="T92" fmla="*/ 1029 w 2149"/>
                <a:gd name="T93" fmla="*/ 717 h 761"/>
                <a:gd name="T94" fmla="*/ 1098 w 2149"/>
                <a:gd name="T95" fmla="*/ 761 h 761"/>
                <a:gd name="T96" fmla="*/ 1644 w 2149"/>
                <a:gd name="T97" fmla="*/ 449 h 761"/>
                <a:gd name="T98" fmla="*/ 1686 w 2149"/>
                <a:gd name="T99" fmla="*/ 445 h 761"/>
                <a:gd name="T100" fmla="*/ 1636 w 2149"/>
                <a:gd name="T101" fmla="*/ 304 h 761"/>
                <a:gd name="T102" fmla="*/ 1641 w 2149"/>
                <a:gd name="T103" fmla="*/ 391 h 761"/>
                <a:gd name="T104" fmla="*/ 1644 w 2149"/>
                <a:gd name="T105" fmla="*/ 449 h 761"/>
                <a:gd name="T106" fmla="*/ 1929 w 2149"/>
                <a:gd name="T107" fmla="*/ 449 h 761"/>
                <a:gd name="T108" fmla="*/ 1936 w 2149"/>
                <a:gd name="T109" fmla="*/ 304 h 761"/>
                <a:gd name="T110" fmla="*/ 1887 w 2149"/>
                <a:gd name="T111" fmla="*/ 445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49" h="761">
                  <a:moveTo>
                    <a:pt x="1233" y="232"/>
                  </a:moveTo>
                  <a:cubicBezTo>
                    <a:pt x="1233" y="232"/>
                    <a:pt x="1233" y="232"/>
                    <a:pt x="1233" y="232"/>
                  </a:cubicBezTo>
                  <a:cubicBezTo>
                    <a:pt x="1232" y="232"/>
                    <a:pt x="1229" y="241"/>
                    <a:pt x="1214" y="259"/>
                  </a:cubicBezTo>
                  <a:cubicBezTo>
                    <a:pt x="1214" y="259"/>
                    <a:pt x="1214" y="259"/>
                    <a:pt x="1201" y="259"/>
                  </a:cubicBezTo>
                  <a:cubicBezTo>
                    <a:pt x="1201" y="259"/>
                    <a:pt x="1201" y="252"/>
                    <a:pt x="1200" y="131"/>
                  </a:cubicBezTo>
                  <a:cubicBezTo>
                    <a:pt x="1180" y="228"/>
                    <a:pt x="977" y="139"/>
                    <a:pt x="977" y="139"/>
                  </a:cubicBezTo>
                  <a:cubicBezTo>
                    <a:pt x="927" y="155"/>
                    <a:pt x="936" y="256"/>
                    <a:pt x="936" y="256"/>
                  </a:cubicBezTo>
                  <a:cubicBezTo>
                    <a:pt x="936" y="256"/>
                    <a:pt x="936" y="256"/>
                    <a:pt x="925" y="255"/>
                  </a:cubicBezTo>
                  <a:cubicBezTo>
                    <a:pt x="925" y="255"/>
                    <a:pt x="925" y="249"/>
                    <a:pt x="908" y="234"/>
                  </a:cubicBezTo>
                  <a:cubicBezTo>
                    <a:pt x="908" y="234"/>
                    <a:pt x="908" y="234"/>
                    <a:pt x="908" y="234"/>
                  </a:cubicBezTo>
                  <a:cubicBezTo>
                    <a:pt x="901" y="215"/>
                    <a:pt x="901" y="195"/>
                    <a:pt x="901" y="173"/>
                  </a:cubicBezTo>
                  <a:cubicBezTo>
                    <a:pt x="901" y="78"/>
                    <a:pt x="974" y="0"/>
                    <a:pt x="1070" y="0"/>
                  </a:cubicBezTo>
                  <a:cubicBezTo>
                    <a:pt x="1166" y="0"/>
                    <a:pt x="1239" y="78"/>
                    <a:pt x="1239" y="173"/>
                  </a:cubicBezTo>
                  <a:cubicBezTo>
                    <a:pt x="1239" y="194"/>
                    <a:pt x="1239" y="214"/>
                    <a:pt x="1233" y="232"/>
                  </a:cubicBezTo>
                  <a:close/>
                  <a:moveTo>
                    <a:pt x="523" y="173"/>
                  </a:moveTo>
                  <a:cubicBezTo>
                    <a:pt x="523" y="78"/>
                    <a:pt x="449" y="0"/>
                    <a:pt x="354" y="0"/>
                  </a:cubicBezTo>
                  <a:cubicBezTo>
                    <a:pt x="258" y="0"/>
                    <a:pt x="185" y="78"/>
                    <a:pt x="185" y="173"/>
                  </a:cubicBezTo>
                  <a:cubicBezTo>
                    <a:pt x="185" y="195"/>
                    <a:pt x="185" y="215"/>
                    <a:pt x="192" y="234"/>
                  </a:cubicBezTo>
                  <a:cubicBezTo>
                    <a:pt x="192" y="234"/>
                    <a:pt x="192" y="234"/>
                    <a:pt x="192" y="234"/>
                  </a:cubicBezTo>
                  <a:cubicBezTo>
                    <a:pt x="208" y="249"/>
                    <a:pt x="208" y="255"/>
                    <a:pt x="208" y="255"/>
                  </a:cubicBezTo>
                  <a:cubicBezTo>
                    <a:pt x="220" y="256"/>
                    <a:pt x="220" y="256"/>
                    <a:pt x="220" y="256"/>
                  </a:cubicBezTo>
                  <a:cubicBezTo>
                    <a:pt x="220" y="256"/>
                    <a:pt x="211" y="155"/>
                    <a:pt x="261" y="139"/>
                  </a:cubicBezTo>
                  <a:cubicBezTo>
                    <a:pt x="261" y="139"/>
                    <a:pt x="464" y="228"/>
                    <a:pt x="483" y="131"/>
                  </a:cubicBezTo>
                  <a:cubicBezTo>
                    <a:pt x="485" y="252"/>
                    <a:pt x="485" y="259"/>
                    <a:pt x="485" y="259"/>
                  </a:cubicBezTo>
                  <a:cubicBezTo>
                    <a:pt x="497" y="259"/>
                    <a:pt x="497" y="259"/>
                    <a:pt x="497" y="259"/>
                  </a:cubicBezTo>
                  <a:cubicBezTo>
                    <a:pt x="513" y="241"/>
                    <a:pt x="516" y="232"/>
                    <a:pt x="516" y="232"/>
                  </a:cubicBezTo>
                  <a:cubicBezTo>
                    <a:pt x="516" y="232"/>
                    <a:pt x="516" y="232"/>
                    <a:pt x="517" y="232"/>
                  </a:cubicBezTo>
                  <a:cubicBezTo>
                    <a:pt x="523" y="214"/>
                    <a:pt x="523" y="194"/>
                    <a:pt x="523" y="173"/>
                  </a:cubicBezTo>
                  <a:close/>
                  <a:moveTo>
                    <a:pt x="881" y="391"/>
                  </a:moveTo>
                  <a:cubicBezTo>
                    <a:pt x="881" y="296"/>
                    <a:pt x="807" y="218"/>
                    <a:pt x="712" y="218"/>
                  </a:cubicBezTo>
                  <a:cubicBezTo>
                    <a:pt x="616" y="218"/>
                    <a:pt x="543" y="296"/>
                    <a:pt x="543" y="391"/>
                  </a:cubicBezTo>
                  <a:cubicBezTo>
                    <a:pt x="543" y="408"/>
                    <a:pt x="551" y="425"/>
                    <a:pt x="554" y="440"/>
                  </a:cubicBezTo>
                  <a:cubicBezTo>
                    <a:pt x="555" y="441"/>
                    <a:pt x="554" y="441"/>
                    <a:pt x="555" y="442"/>
                  </a:cubicBezTo>
                  <a:cubicBezTo>
                    <a:pt x="557" y="459"/>
                    <a:pt x="594" y="513"/>
                    <a:pt x="607" y="522"/>
                  </a:cubicBezTo>
                  <a:cubicBezTo>
                    <a:pt x="617" y="548"/>
                    <a:pt x="612" y="541"/>
                    <a:pt x="620" y="553"/>
                  </a:cubicBezTo>
                  <a:cubicBezTo>
                    <a:pt x="630" y="568"/>
                    <a:pt x="680" y="597"/>
                    <a:pt x="712" y="597"/>
                  </a:cubicBezTo>
                  <a:cubicBezTo>
                    <a:pt x="744" y="597"/>
                    <a:pt x="795" y="569"/>
                    <a:pt x="804" y="553"/>
                  </a:cubicBezTo>
                  <a:cubicBezTo>
                    <a:pt x="812" y="538"/>
                    <a:pt x="806" y="548"/>
                    <a:pt x="817" y="522"/>
                  </a:cubicBezTo>
                  <a:cubicBezTo>
                    <a:pt x="836" y="509"/>
                    <a:pt x="867" y="454"/>
                    <a:pt x="868" y="446"/>
                  </a:cubicBezTo>
                  <a:cubicBezTo>
                    <a:pt x="868" y="445"/>
                    <a:pt x="868" y="445"/>
                    <a:pt x="868" y="445"/>
                  </a:cubicBezTo>
                  <a:cubicBezTo>
                    <a:pt x="873" y="428"/>
                    <a:pt x="881" y="410"/>
                    <a:pt x="881" y="391"/>
                  </a:cubicBezTo>
                  <a:close/>
                  <a:moveTo>
                    <a:pt x="1056" y="535"/>
                  </a:moveTo>
                  <a:cubicBezTo>
                    <a:pt x="1056" y="536"/>
                    <a:pt x="1056" y="537"/>
                    <a:pt x="1056" y="538"/>
                  </a:cubicBezTo>
                  <a:cubicBezTo>
                    <a:pt x="1033" y="671"/>
                    <a:pt x="1033" y="671"/>
                    <a:pt x="1033" y="671"/>
                  </a:cubicBezTo>
                  <a:cubicBezTo>
                    <a:pt x="1105" y="671"/>
                    <a:pt x="1105" y="671"/>
                    <a:pt x="1105" y="671"/>
                  </a:cubicBezTo>
                  <a:cubicBezTo>
                    <a:pt x="1084" y="538"/>
                    <a:pt x="1084" y="538"/>
                    <a:pt x="1084" y="538"/>
                  </a:cubicBezTo>
                  <a:cubicBezTo>
                    <a:pt x="1084" y="537"/>
                    <a:pt x="1084" y="536"/>
                    <a:pt x="1084" y="535"/>
                  </a:cubicBezTo>
                  <a:cubicBezTo>
                    <a:pt x="1106" y="500"/>
                    <a:pt x="1106" y="500"/>
                    <a:pt x="1106" y="500"/>
                  </a:cubicBezTo>
                  <a:cubicBezTo>
                    <a:pt x="1107" y="498"/>
                    <a:pt x="1106" y="496"/>
                    <a:pt x="1104" y="496"/>
                  </a:cubicBezTo>
                  <a:cubicBezTo>
                    <a:pt x="1097" y="494"/>
                    <a:pt x="1083" y="491"/>
                    <a:pt x="1071" y="491"/>
                  </a:cubicBezTo>
                  <a:cubicBezTo>
                    <a:pt x="1059" y="491"/>
                    <a:pt x="1044" y="494"/>
                    <a:pt x="1036" y="496"/>
                  </a:cubicBezTo>
                  <a:cubicBezTo>
                    <a:pt x="1034" y="496"/>
                    <a:pt x="1033" y="499"/>
                    <a:pt x="1034" y="500"/>
                  </a:cubicBezTo>
                  <a:lnTo>
                    <a:pt x="1056" y="535"/>
                  </a:lnTo>
                  <a:close/>
                  <a:moveTo>
                    <a:pt x="1597" y="391"/>
                  </a:moveTo>
                  <a:cubicBezTo>
                    <a:pt x="1597" y="296"/>
                    <a:pt x="1524" y="218"/>
                    <a:pt x="1428" y="218"/>
                  </a:cubicBezTo>
                  <a:cubicBezTo>
                    <a:pt x="1333" y="218"/>
                    <a:pt x="1259" y="296"/>
                    <a:pt x="1259" y="391"/>
                  </a:cubicBezTo>
                  <a:cubicBezTo>
                    <a:pt x="1259" y="408"/>
                    <a:pt x="1267" y="425"/>
                    <a:pt x="1271" y="440"/>
                  </a:cubicBezTo>
                  <a:cubicBezTo>
                    <a:pt x="1271" y="441"/>
                    <a:pt x="1271" y="441"/>
                    <a:pt x="1271" y="442"/>
                  </a:cubicBezTo>
                  <a:cubicBezTo>
                    <a:pt x="1274" y="459"/>
                    <a:pt x="1310" y="513"/>
                    <a:pt x="1323" y="522"/>
                  </a:cubicBezTo>
                  <a:cubicBezTo>
                    <a:pt x="1333" y="548"/>
                    <a:pt x="1328" y="541"/>
                    <a:pt x="1336" y="553"/>
                  </a:cubicBezTo>
                  <a:cubicBezTo>
                    <a:pt x="1346" y="568"/>
                    <a:pt x="1396" y="597"/>
                    <a:pt x="1428" y="597"/>
                  </a:cubicBezTo>
                  <a:cubicBezTo>
                    <a:pt x="1460" y="597"/>
                    <a:pt x="1511" y="569"/>
                    <a:pt x="1520" y="553"/>
                  </a:cubicBezTo>
                  <a:cubicBezTo>
                    <a:pt x="1529" y="538"/>
                    <a:pt x="1523" y="548"/>
                    <a:pt x="1533" y="522"/>
                  </a:cubicBezTo>
                  <a:cubicBezTo>
                    <a:pt x="1552" y="509"/>
                    <a:pt x="1583" y="454"/>
                    <a:pt x="1584" y="446"/>
                  </a:cubicBezTo>
                  <a:cubicBezTo>
                    <a:pt x="1584" y="445"/>
                    <a:pt x="1584" y="445"/>
                    <a:pt x="1584" y="445"/>
                  </a:cubicBezTo>
                  <a:cubicBezTo>
                    <a:pt x="1589" y="428"/>
                    <a:pt x="1597" y="410"/>
                    <a:pt x="1597" y="391"/>
                  </a:cubicBezTo>
                  <a:close/>
                  <a:moveTo>
                    <a:pt x="1958" y="175"/>
                  </a:moveTo>
                  <a:cubicBezTo>
                    <a:pt x="1958" y="78"/>
                    <a:pt x="1883" y="0"/>
                    <a:pt x="1786" y="0"/>
                  </a:cubicBezTo>
                  <a:cubicBezTo>
                    <a:pt x="1689" y="0"/>
                    <a:pt x="1614" y="78"/>
                    <a:pt x="1614" y="175"/>
                  </a:cubicBezTo>
                  <a:cubicBezTo>
                    <a:pt x="1614" y="196"/>
                    <a:pt x="1617" y="227"/>
                    <a:pt x="1624" y="246"/>
                  </a:cubicBezTo>
                  <a:cubicBezTo>
                    <a:pt x="1624" y="246"/>
                    <a:pt x="1624" y="246"/>
                    <a:pt x="1624" y="246"/>
                  </a:cubicBezTo>
                  <a:cubicBezTo>
                    <a:pt x="1641" y="261"/>
                    <a:pt x="1641" y="157"/>
                    <a:pt x="1691" y="140"/>
                  </a:cubicBezTo>
                  <a:cubicBezTo>
                    <a:pt x="1692" y="140"/>
                    <a:pt x="1692" y="140"/>
                    <a:pt x="1693" y="141"/>
                  </a:cubicBezTo>
                  <a:cubicBezTo>
                    <a:pt x="1919" y="260"/>
                    <a:pt x="1919" y="260"/>
                    <a:pt x="1919" y="260"/>
                  </a:cubicBezTo>
                  <a:cubicBezTo>
                    <a:pt x="1920" y="261"/>
                    <a:pt x="1920" y="261"/>
                    <a:pt x="1920" y="261"/>
                  </a:cubicBezTo>
                  <a:cubicBezTo>
                    <a:pt x="1931" y="261"/>
                    <a:pt x="1931" y="261"/>
                    <a:pt x="1931" y="261"/>
                  </a:cubicBezTo>
                  <a:cubicBezTo>
                    <a:pt x="1932" y="261"/>
                    <a:pt x="1933" y="260"/>
                    <a:pt x="1933" y="260"/>
                  </a:cubicBezTo>
                  <a:cubicBezTo>
                    <a:pt x="1949" y="242"/>
                    <a:pt x="1951" y="234"/>
                    <a:pt x="1952" y="233"/>
                  </a:cubicBezTo>
                  <a:cubicBezTo>
                    <a:pt x="1952" y="233"/>
                    <a:pt x="1952" y="234"/>
                    <a:pt x="1952" y="234"/>
                  </a:cubicBezTo>
                  <a:cubicBezTo>
                    <a:pt x="1959" y="215"/>
                    <a:pt x="1958" y="195"/>
                    <a:pt x="1958" y="175"/>
                  </a:cubicBezTo>
                  <a:close/>
                  <a:moveTo>
                    <a:pt x="395" y="717"/>
                  </a:moveTo>
                  <a:cubicBezTo>
                    <a:pt x="22" y="717"/>
                    <a:pt x="22" y="717"/>
                    <a:pt x="22" y="717"/>
                  </a:cubicBezTo>
                  <a:cubicBezTo>
                    <a:pt x="9" y="717"/>
                    <a:pt x="0" y="727"/>
                    <a:pt x="0" y="739"/>
                  </a:cubicBezTo>
                  <a:cubicBezTo>
                    <a:pt x="0" y="752"/>
                    <a:pt x="9" y="761"/>
                    <a:pt x="22" y="761"/>
                  </a:cubicBezTo>
                  <a:cubicBezTo>
                    <a:pt x="382" y="761"/>
                    <a:pt x="382" y="761"/>
                    <a:pt x="382" y="761"/>
                  </a:cubicBezTo>
                  <a:cubicBezTo>
                    <a:pt x="386" y="745"/>
                    <a:pt x="391" y="731"/>
                    <a:pt x="395" y="717"/>
                  </a:cubicBezTo>
                  <a:close/>
                  <a:moveTo>
                    <a:pt x="2127" y="717"/>
                  </a:moveTo>
                  <a:cubicBezTo>
                    <a:pt x="1745" y="717"/>
                    <a:pt x="1745" y="717"/>
                    <a:pt x="1745" y="717"/>
                  </a:cubicBezTo>
                  <a:cubicBezTo>
                    <a:pt x="1749" y="731"/>
                    <a:pt x="1754" y="745"/>
                    <a:pt x="1758" y="761"/>
                  </a:cubicBezTo>
                  <a:cubicBezTo>
                    <a:pt x="2127" y="761"/>
                    <a:pt x="2127" y="761"/>
                    <a:pt x="2127" y="761"/>
                  </a:cubicBezTo>
                  <a:cubicBezTo>
                    <a:pt x="2139" y="761"/>
                    <a:pt x="2149" y="752"/>
                    <a:pt x="2149" y="739"/>
                  </a:cubicBezTo>
                  <a:cubicBezTo>
                    <a:pt x="2149" y="727"/>
                    <a:pt x="2139" y="717"/>
                    <a:pt x="2127" y="717"/>
                  </a:cubicBezTo>
                  <a:close/>
                  <a:moveTo>
                    <a:pt x="1111" y="717"/>
                  </a:moveTo>
                  <a:cubicBezTo>
                    <a:pt x="1029" y="717"/>
                    <a:pt x="1029" y="717"/>
                    <a:pt x="1029" y="717"/>
                  </a:cubicBezTo>
                  <a:cubicBezTo>
                    <a:pt x="1033" y="731"/>
                    <a:pt x="1037" y="745"/>
                    <a:pt x="1042" y="761"/>
                  </a:cubicBezTo>
                  <a:cubicBezTo>
                    <a:pt x="1098" y="761"/>
                    <a:pt x="1098" y="761"/>
                    <a:pt x="1098" y="761"/>
                  </a:cubicBezTo>
                  <a:cubicBezTo>
                    <a:pt x="1103" y="745"/>
                    <a:pt x="1107" y="731"/>
                    <a:pt x="1111" y="717"/>
                  </a:cubicBezTo>
                  <a:close/>
                  <a:moveTo>
                    <a:pt x="1644" y="449"/>
                  </a:moveTo>
                  <a:cubicBezTo>
                    <a:pt x="1662" y="447"/>
                    <a:pt x="1676" y="447"/>
                    <a:pt x="1682" y="447"/>
                  </a:cubicBezTo>
                  <a:cubicBezTo>
                    <a:pt x="1684" y="446"/>
                    <a:pt x="1686" y="445"/>
                    <a:pt x="1686" y="445"/>
                  </a:cubicBezTo>
                  <a:cubicBezTo>
                    <a:pt x="1686" y="412"/>
                    <a:pt x="1686" y="412"/>
                    <a:pt x="1686" y="412"/>
                  </a:cubicBezTo>
                  <a:cubicBezTo>
                    <a:pt x="1686" y="412"/>
                    <a:pt x="1643" y="333"/>
                    <a:pt x="1636" y="304"/>
                  </a:cubicBezTo>
                  <a:cubicBezTo>
                    <a:pt x="1633" y="304"/>
                    <a:pt x="1633" y="314"/>
                    <a:pt x="1632" y="328"/>
                  </a:cubicBezTo>
                  <a:cubicBezTo>
                    <a:pt x="1638" y="348"/>
                    <a:pt x="1641" y="369"/>
                    <a:pt x="1641" y="391"/>
                  </a:cubicBezTo>
                  <a:cubicBezTo>
                    <a:pt x="1641" y="412"/>
                    <a:pt x="1635" y="430"/>
                    <a:pt x="1630" y="445"/>
                  </a:cubicBezTo>
                  <a:cubicBezTo>
                    <a:pt x="1635" y="447"/>
                    <a:pt x="1640" y="448"/>
                    <a:pt x="1644" y="449"/>
                  </a:cubicBezTo>
                  <a:close/>
                  <a:moveTo>
                    <a:pt x="1891" y="447"/>
                  </a:moveTo>
                  <a:cubicBezTo>
                    <a:pt x="1898" y="447"/>
                    <a:pt x="1912" y="447"/>
                    <a:pt x="1929" y="449"/>
                  </a:cubicBezTo>
                  <a:cubicBezTo>
                    <a:pt x="1944" y="446"/>
                    <a:pt x="1963" y="438"/>
                    <a:pt x="1982" y="418"/>
                  </a:cubicBezTo>
                  <a:cubicBezTo>
                    <a:pt x="1928" y="413"/>
                    <a:pt x="1946" y="304"/>
                    <a:pt x="1936" y="304"/>
                  </a:cubicBezTo>
                  <a:cubicBezTo>
                    <a:pt x="1929" y="335"/>
                    <a:pt x="1887" y="412"/>
                    <a:pt x="1887" y="412"/>
                  </a:cubicBezTo>
                  <a:cubicBezTo>
                    <a:pt x="1887" y="445"/>
                    <a:pt x="1887" y="445"/>
                    <a:pt x="1887" y="445"/>
                  </a:cubicBezTo>
                  <a:cubicBezTo>
                    <a:pt x="1887" y="445"/>
                    <a:pt x="1889" y="446"/>
                    <a:pt x="1891" y="44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2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uccessful Workplace Communication</a:t>
            </a:r>
          </a:p>
        </p:txBody>
      </p:sp>
    </p:spTree>
    <p:extLst>
      <p:ext uri="{BB962C8B-B14F-4D97-AF65-F5344CB8AC3E}">
        <p14:creationId xmlns:p14="http://schemas.microsoft.com/office/powerpoint/2010/main" val="97435459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146"/>
          <p:cNvSpPr/>
          <p:nvPr/>
        </p:nvSpPr>
        <p:spPr>
          <a:xfrm>
            <a:off x="4635093" y="3620164"/>
            <a:ext cx="3664006" cy="71701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0" y="10800"/>
                  <a:pt x="21600" y="10800"/>
                  <a:pt x="21600" y="21600"/>
                </a:cubicBezTo>
              </a:path>
            </a:pathLst>
          </a:custGeom>
          <a:ln w="381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>
              <a:solidFill>
                <a:schemeClr val="tx2"/>
              </a:solidFill>
            </a:endParaRPr>
          </a:p>
        </p:txBody>
      </p:sp>
      <p:sp>
        <p:nvSpPr>
          <p:cNvPr id="18" name="Shape 1147"/>
          <p:cNvSpPr/>
          <p:nvPr/>
        </p:nvSpPr>
        <p:spPr>
          <a:xfrm>
            <a:off x="8261304" y="4511456"/>
            <a:ext cx="99088" cy="990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35"/>
                </a:moveTo>
                <a:cubicBezTo>
                  <a:pt x="21600" y="12818"/>
                  <a:pt x="21175" y="14518"/>
                  <a:pt x="20184" y="16218"/>
                </a:cubicBezTo>
                <a:cubicBezTo>
                  <a:pt x="19192" y="17917"/>
                  <a:pt x="17917" y="19192"/>
                  <a:pt x="16218" y="20184"/>
                </a:cubicBezTo>
                <a:cubicBezTo>
                  <a:pt x="14518" y="21175"/>
                  <a:pt x="12818" y="21600"/>
                  <a:pt x="10835" y="21600"/>
                </a:cubicBezTo>
                <a:cubicBezTo>
                  <a:pt x="8852" y="21600"/>
                  <a:pt x="7153" y="21175"/>
                  <a:pt x="5382" y="20184"/>
                </a:cubicBezTo>
                <a:cubicBezTo>
                  <a:pt x="3683" y="19192"/>
                  <a:pt x="2479" y="17917"/>
                  <a:pt x="1487" y="16218"/>
                </a:cubicBezTo>
                <a:cubicBezTo>
                  <a:pt x="496" y="14518"/>
                  <a:pt x="0" y="12818"/>
                  <a:pt x="0" y="10835"/>
                </a:cubicBezTo>
                <a:cubicBezTo>
                  <a:pt x="0" y="8852"/>
                  <a:pt x="496" y="7224"/>
                  <a:pt x="1487" y="5453"/>
                </a:cubicBezTo>
                <a:cubicBezTo>
                  <a:pt x="2479" y="3753"/>
                  <a:pt x="3683" y="2479"/>
                  <a:pt x="5382" y="1487"/>
                </a:cubicBezTo>
                <a:cubicBezTo>
                  <a:pt x="7153" y="496"/>
                  <a:pt x="8852" y="0"/>
                  <a:pt x="10835" y="0"/>
                </a:cubicBezTo>
                <a:cubicBezTo>
                  <a:pt x="12818" y="0"/>
                  <a:pt x="14518" y="496"/>
                  <a:pt x="16218" y="1487"/>
                </a:cubicBezTo>
                <a:cubicBezTo>
                  <a:pt x="17917" y="2479"/>
                  <a:pt x="19192" y="3753"/>
                  <a:pt x="20184" y="5453"/>
                </a:cubicBezTo>
                <a:cubicBezTo>
                  <a:pt x="21175" y="7224"/>
                  <a:pt x="21600" y="8852"/>
                  <a:pt x="21600" y="10835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9" name="Shape 1148"/>
          <p:cNvSpPr/>
          <p:nvPr/>
        </p:nvSpPr>
        <p:spPr>
          <a:xfrm>
            <a:off x="3554491" y="1484784"/>
            <a:ext cx="2157088" cy="21350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790"/>
                  <a:pt x="21147" y="14478"/>
                  <a:pt x="20150" y="16202"/>
                </a:cubicBezTo>
                <a:cubicBezTo>
                  <a:pt x="19157" y="17922"/>
                  <a:pt x="17918" y="19161"/>
                  <a:pt x="16198" y="20154"/>
                </a:cubicBezTo>
                <a:cubicBezTo>
                  <a:pt x="14478" y="21147"/>
                  <a:pt x="12786" y="21600"/>
                  <a:pt x="10796" y="21600"/>
                </a:cubicBezTo>
                <a:cubicBezTo>
                  <a:pt x="8810" y="21600"/>
                  <a:pt x="7122" y="21147"/>
                  <a:pt x="5402" y="20154"/>
                </a:cubicBezTo>
                <a:cubicBezTo>
                  <a:pt x="3678" y="19161"/>
                  <a:pt x="2439" y="17922"/>
                  <a:pt x="1446" y="16202"/>
                </a:cubicBezTo>
                <a:cubicBezTo>
                  <a:pt x="449" y="14478"/>
                  <a:pt x="0" y="12786"/>
                  <a:pt x="0" y="10800"/>
                </a:cubicBezTo>
                <a:cubicBezTo>
                  <a:pt x="0" y="8810"/>
                  <a:pt x="449" y="7122"/>
                  <a:pt x="1446" y="5402"/>
                </a:cubicBezTo>
                <a:cubicBezTo>
                  <a:pt x="2439" y="3678"/>
                  <a:pt x="3678" y="2439"/>
                  <a:pt x="5402" y="1446"/>
                </a:cubicBezTo>
                <a:cubicBezTo>
                  <a:pt x="7122" y="449"/>
                  <a:pt x="8814" y="0"/>
                  <a:pt x="10796" y="0"/>
                </a:cubicBezTo>
                <a:cubicBezTo>
                  <a:pt x="12786" y="0"/>
                  <a:pt x="14478" y="449"/>
                  <a:pt x="16198" y="1446"/>
                </a:cubicBezTo>
                <a:cubicBezTo>
                  <a:pt x="17918" y="2439"/>
                  <a:pt x="19157" y="3678"/>
                  <a:pt x="20150" y="5402"/>
                </a:cubicBezTo>
                <a:cubicBezTo>
                  <a:pt x="21147" y="7122"/>
                  <a:pt x="21600" y="8814"/>
                  <a:pt x="21600" y="10800"/>
                </a:cubicBezTo>
              </a:path>
            </a:pathLst>
          </a:custGeom>
          <a:ln w="38100">
            <a:solidFill>
              <a:schemeClr val="tx2"/>
            </a:solidFill>
            <a:miter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>
              <a:solidFill>
                <a:schemeClr val="tx2"/>
              </a:solidFill>
            </a:endParaRPr>
          </a:p>
        </p:txBody>
      </p:sp>
      <p:sp>
        <p:nvSpPr>
          <p:cNvPr id="175" name="Shape 1304"/>
          <p:cNvSpPr/>
          <p:nvPr/>
        </p:nvSpPr>
        <p:spPr>
          <a:xfrm>
            <a:off x="7445380" y="5345871"/>
            <a:ext cx="1714976" cy="915892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20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algn="ctr"/>
            <a:r>
              <a:rPr lang="en-US" sz="1600" b="1" dirty="0"/>
              <a:t>The Communication Process – Basic Model</a:t>
            </a:r>
            <a:endParaRPr sz="1600" b="1" dirty="0"/>
          </a:p>
        </p:txBody>
      </p:sp>
      <p:grpSp>
        <p:nvGrpSpPr>
          <p:cNvPr id="190" name="bcgIcons_LargeGroupMeeting">
            <a:extLst>
              <a:ext uri="{FF2B5EF4-FFF2-40B4-BE49-F238E27FC236}">
                <a16:creationId xmlns:a16="http://schemas.microsoft.com/office/drawing/2014/main" id="{A2FD7D8A-1B63-45BD-BCF6-3D772C394A2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73832" y="1729351"/>
            <a:ext cx="1517904" cy="1645920"/>
            <a:chOff x="1682" y="0"/>
            <a:chExt cx="4316" cy="4320"/>
          </a:xfrm>
        </p:grpSpPr>
        <p:sp>
          <p:nvSpPr>
            <p:cNvPr id="191" name="AutoShape 33">
              <a:extLst>
                <a:ext uri="{FF2B5EF4-FFF2-40B4-BE49-F238E27FC236}">
                  <a16:creationId xmlns:a16="http://schemas.microsoft.com/office/drawing/2014/main" id="{4AD8728A-3137-4D5E-94A2-7EE2495C153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92" name="Freeform 35">
              <a:extLst>
                <a:ext uri="{FF2B5EF4-FFF2-40B4-BE49-F238E27FC236}">
                  <a16:creationId xmlns:a16="http://schemas.microsoft.com/office/drawing/2014/main" id="{9E8BEE28-E024-4AD9-AECF-5DD9B0801C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9" y="2160"/>
              <a:ext cx="3833" cy="735"/>
            </a:xfrm>
            <a:custGeom>
              <a:avLst/>
              <a:gdLst>
                <a:gd name="T0" fmla="*/ 353 w 2046"/>
                <a:gd name="T1" fmla="*/ 382 h 392"/>
                <a:gd name="T2" fmla="*/ 561 w 2046"/>
                <a:gd name="T3" fmla="*/ 165 h 392"/>
                <a:gd name="T4" fmla="*/ 663 w 2046"/>
                <a:gd name="T5" fmla="*/ 197 h 392"/>
                <a:gd name="T6" fmla="*/ 762 w 2046"/>
                <a:gd name="T7" fmla="*/ 165 h 392"/>
                <a:gd name="T8" fmla="*/ 895 w 2046"/>
                <a:gd name="T9" fmla="*/ 188 h 392"/>
                <a:gd name="T10" fmla="*/ 963 w 2046"/>
                <a:gd name="T11" fmla="*/ 392 h 392"/>
                <a:gd name="T12" fmla="*/ 1679 w 2046"/>
                <a:gd name="T13" fmla="*/ 392 h 392"/>
                <a:gd name="T14" fmla="*/ 1612 w 2046"/>
                <a:gd name="T15" fmla="*/ 188 h 392"/>
                <a:gd name="T16" fmla="*/ 1479 w 2046"/>
                <a:gd name="T17" fmla="*/ 165 h 392"/>
                <a:gd name="T18" fmla="*/ 1380 w 2046"/>
                <a:gd name="T19" fmla="*/ 197 h 392"/>
                <a:gd name="T20" fmla="*/ 1278 w 2046"/>
                <a:gd name="T21" fmla="*/ 165 h 392"/>
                <a:gd name="T22" fmla="*/ 1070 w 2046"/>
                <a:gd name="T23" fmla="*/ 382 h 392"/>
                <a:gd name="T24" fmla="*/ 1679 w 2046"/>
                <a:gd name="T25" fmla="*/ 392 h 392"/>
                <a:gd name="T26" fmla="*/ 1262 w 2046"/>
                <a:gd name="T27" fmla="*/ 122 h 392"/>
                <a:gd name="T28" fmla="*/ 1238 w 2046"/>
                <a:gd name="T29" fmla="*/ 84 h 392"/>
                <a:gd name="T30" fmla="*/ 1187 w 2046"/>
                <a:gd name="T31" fmla="*/ 5 h 392"/>
                <a:gd name="T32" fmla="*/ 1120 w 2046"/>
                <a:gd name="T33" fmla="*/ 3 h 392"/>
                <a:gd name="T34" fmla="*/ 1126 w 2046"/>
                <a:gd name="T35" fmla="*/ 148 h 392"/>
                <a:gd name="T36" fmla="*/ 546 w 2046"/>
                <a:gd name="T37" fmla="*/ 122 h 392"/>
                <a:gd name="T38" fmla="*/ 522 w 2046"/>
                <a:gd name="T39" fmla="*/ 84 h 392"/>
                <a:gd name="T40" fmla="*/ 471 w 2046"/>
                <a:gd name="T41" fmla="*/ 5 h 392"/>
                <a:gd name="T42" fmla="*/ 304 w 2046"/>
                <a:gd name="T43" fmla="*/ 48 h 392"/>
                <a:gd name="T44" fmla="*/ 70 w 2046"/>
                <a:gd name="T45" fmla="*/ 23 h 392"/>
                <a:gd name="T46" fmla="*/ 363 w 2046"/>
                <a:gd name="T47" fmla="*/ 201 h 392"/>
                <a:gd name="T48" fmla="*/ 804 w 2046"/>
                <a:gd name="T49" fmla="*/ 78 h 392"/>
                <a:gd name="T50" fmla="*/ 793 w 2046"/>
                <a:gd name="T51" fmla="*/ 103 h 392"/>
                <a:gd name="T52" fmla="*/ 778 w 2046"/>
                <a:gd name="T53" fmla="*/ 122 h 392"/>
                <a:gd name="T54" fmla="*/ 945 w 2046"/>
                <a:gd name="T55" fmla="*/ 175 h 392"/>
                <a:gd name="T56" fmla="*/ 917 w 2046"/>
                <a:gd name="T57" fmla="*/ 0 h 392"/>
                <a:gd name="T58" fmla="*/ 804 w 2046"/>
                <a:gd name="T59" fmla="*/ 78 h 392"/>
                <a:gd name="T60" fmla="*/ 1970 w 2046"/>
                <a:gd name="T61" fmla="*/ 23 h 392"/>
                <a:gd name="T62" fmla="*/ 1836 w 2046"/>
                <a:gd name="T63" fmla="*/ 3 h 392"/>
                <a:gd name="T64" fmla="*/ 1728 w 2046"/>
                <a:gd name="T65" fmla="*/ 105 h 392"/>
                <a:gd name="T66" fmla="*/ 1633 w 2046"/>
                <a:gd name="T67" fmla="*/ 0 h 392"/>
                <a:gd name="T68" fmla="*/ 1520 w 2046"/>
                <a:gd name="T69" fmla="*/ 78 h 392"/>
                <a:gd name="T70" fmla="*/ 1509 w 2046"/>
                <a:gd name="T71" fmla="*/ 103 h 392"/>
                <a:gd name="T72" fmla="*/ 1494 w 2046"/>
                <a:gd name="T73" fmla="*/ 122 h 392"/>
                <a:gd name="T74" fmla="*/ 1686 w 2046"/>
                <a:gd name="T75" fmla="*/ 222 h 392"/>
                <a:gd name="T76" fmla="*/ 1784 w 2046"/>
                <a:gd name="T77" fmla="*/ 222 h 392"/>
                <a:gd name="T78" fmla="*/ 2045 w 2046"/>
                <a:gd name="T79" fmla="*/ 21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046" h="392">
                  <a:moveTo>
                    <a:pt x="361" y="392"/>
                  </a:moveTo>
                  <a:cubicBezTo>
                    <a:pt x="355" y="392"/>
                    <a:pt x="352" y="387"/>
                    <a:pt x="353" y="382"/>
                  </a:cubicBezTo>
                  <a:cubicBezTo>
                    <a:pt x="363" y="357"/>
                    <a:pt x="390" y="205"/>
                    <a:pt x="428" y="188"/>
                  </a:cubicBezTo>
                  <a:cubicBezTo>
                    <a:pt x="475" y="166"/>
                    <a:pt x="561" y="165"/>
                    <a:pt x="561" y="165"/>
                  </a:cubicBezTo>
                  <a:cubicBezTo>
                    <a:pt x="561" y="165"/>
                    <a:pt x="561" y="165"/>
                    <a:pt x="561" y="165"/>
                  </a:cubicBezTo>
                  <a:cubicBezTo>
                    <a:pt x="561" y="165"/>
                    <a:pt x="596" y="197"/>
                    <a:pt x="663" y="197"/>
                  </a:cubicBezTo>
                  <a:cubicBezTo>
                    <a:pt x="660" y="197"/>
                    <a:pt x="660" y="197"/>
                    <a:pt x="660" y="197"/>
                  </a:cubicBezTo>
                  <a:cubicBezTo>
                    <a:pt x="728" y="197"/>
                    <a:pt x="762" y="165"/>
                    <a:pt x="762" y="165"/>
                  </a:cubicBezTo>
                  <a:cubicBezTo>
                    <a:pt x="762" y="165"/>
                    <a:pt x="762" y="165"/>
                    <a:pt x="762" y="165"/>
                  </a:cubicBezTo>
                  <a:cubicBezTo>
                    <a:pt x="762" y="165"/>
                    <a:pt x="849" y="166"/>
                    <a:pt x="895" y="188"/>
                  </a:cubicBezTo>
                  <a:cubicBezTo>
                    <a:pt x="933" y="205"/>
                    <a:pt x="961" y="357"/>
                    <a:pt x="970" y="382"/>
                  </a:cubicBezTo>
                  <a:cubicBezTo>
                    <a:pt x="972" y="387"/>
                    <a:pt x="968" y="392"/>
                    <a:pt x="963" y="392"/>
                  </a:cubicBezTo>
                  <a:lnTo>
                    <a:pt x="361" y="392"/>
                  </a:lnTo>
                  <a:close/>
                  <a:moveTo>
                    <a:pt x="1679" y="392"/>
                  </a:moveTo>
                  <a:cubicBezTo>
                    <a:pt x="1685" y="392"/>
                    <a:pt x="1688" y="387"/>
                    <a:pt x="1687" y="382"/>
                  </a:cubicBezTo>
                  <a:cubicBezTo>
                    <a:pt x="1677" y="357"/>
                    <a:pt x="1650" y="205"/>
                    <a:pt x="1612" y="188"/>
                  </a:cubicBezTo>
                  <a:cubicBezTo>
                    <a:pt x="1565" y="166"/>
                    <a:pt x="1479" y="165"/>
                    <a:pt x="1479" y="165"/>
                  </a:cubicBezTo>
                  <a:cubicBezTo>
                    <a:pt x="1479" y="165"/>
                    <a:pt x="1479" y="165"/>
                    <a:pt x="1479" y="165"/>
                  </a:cubicBezTo>
                  <a:cubicBezTo>
                    <a:pt x="1479" y="165"/>
                    <a:pt x="1444" y="197"/>
                    <a:pt x="1377" y="197"/>
                  </a:cubicBezTo>
                  <a:cubicBezTo>
                    <a:pt x="1380" y="197"/>
                    <a:pt x="1380" y="197"/>
                    <a:pt x="1380" y="197"/>
                  </a:cubicBezTo>
                  <a:cubicBezTo>
                    <a:pt x="1312" y="197"/>
                    <a:pt x="1278" y="165"/>
                    <a:pt x="1278" y="165"/>
                  </a:cubicBezTo>
                  <a:cubicBezTo>
                    <a:pt x="1278" y="165"/>
                    <a:pt x="1278" y="165"/>
                    <a:pt x="1278" y="165"/>
                  </a:cubicBezTo>
                  <a:cubicBezTo>
                    <a:pt x="1278" y="165"/>
                    <a:pt x="1191" y="166"/>
                    <a:pt x="1145" y="188"/>
                  </a:cubicBezTo>
                  <a:cubicBezTo>
                    <a:pt x="1107" y="205"/>
                    <a:pt x="1079" y="357"/>
                    <a:pt x="1070" y="382"/>
                  </a:cubicBezTo>
                  <a:cubicBezTo>
                    <a:pt x="1068" y="387"/>
                    <a:pt x="1072" y="392"/>
                    <a:pt x="1077" y="392"/>
                  </a:cubicBezTo>
                  <a:lnTo>
                    <a:pt x="1679" y="392"/>
                  </a:lnTo>
                  <a:close/>
                  <a:moveTo>
                    <a:pt x="1126" y="148"/>
                  </a:moveTo>
                  <a:cubicBezTo>
                    <a:pt x="1169" y="128"/>
                    <a:pt x="1233" y="123"/>
                    <a:pt x="1262" y="122"/>
                  </a:cubicBezTo>
                  <a:cubicBezTo>
                    <a:pt x="1257" y="117"/>
                    <a:pt x="1253" y="112"/>
                    <a:pt x="1250" y="108"/>
                  </a:cubicBezTo>
                  <a:cubicBezTo>
                    <a:pt x="1244" y="99"/>
                    <a:pt x="1241" y="94"/>
                    <a:pt x="1238" y="84"/>
                  </a:cubicBezTo>
                  <a:cubicBezTo>
                    <a:pt x="1237" y="82"/>
                    <a:pt x="1237" y="80"/>
                    <a:pt x="1235" y="76"/>
                  </a:cubicBezTo>
                  <a:cubicBezTo>
                    <a:pt x="1219" y="59"/>
                    <a:pt x="1199" y="30"/>
                    <a:pt x="1187" y="5"/>
                  </a:cubicBezTo>
                  <a:cubicBezTo>
                    <a:pt x="1158" y="1"/>
                    <a:pt x="1132" y="0"/>
                    <a:pt x="1123" y="0"/>
                  </a:cubicBezTo>
                  <a:cubicBezTo>
                    <a:pt x="1122" y="0"/>
                    <a:pt x="1120" y="1"/>
                    <a:pt x="1120" y="3"/>
                  </a:cubicBezTo>
                  <a:cubicBezTo>
                    <a:pt x="1095" y="175"/>
                    <a:pt x="1095" y="175"/>
                    <a:pt x="1095" y="175"/>
                  </a:cubicBezTo>
                  <a:cubicBezTo>
                    <a:pt x="1104" y="162"/>
                    <a:pt x="1114" y="153"/>
                    <a:pt x="1126" y="148"/>
                  </a:cubicBezTo>
                  <a:close/>
                  <a:moveTo>
                    <a:pt x="410" y="148"/>
                  </a:moveTo>
                  <a:cubicBezTo>
                    <a:pt x="453" y="128"/>
                    <a:pt x="517" y="123"/>
                    <a:pt x="546" y="122"/>
                  </a:cubicBezTo>
                  <a:cubicBezTo>
                    <a:pt x="541" y="117"/>
                    <a:pt x="537" y="112"/>
                    <a:pt x="534" y="108"/>
                  </a:cubicBezTo>
                  <a:cubicBezTo>
                    <a:pt x="527" y="99"/>
                    <a:pt x="525" y="94"/>
                    <a:pt x="522" y="84"/>
                  </a:cubicBezTo>
                  <a:cubicBezTo>
                    <a:pt x="521" y="82"/>
                    <a:pt x="520" y="80"/>
                    <a:pt x="519" y="76"/>
                  </a:cubicBezTo>
                  <a:cubicBezTo>
                    <a:pt x="503" y="59"/>
                    <a:pt x="482" y="30"/>
                    <a:pt x="471" y="5"/>
                  </a:cubicBezTo>
                  <a:cubicBezTo>
                    <a:pt x="436" y="0"/>
                    <a:pt x="404" y="0"/>
                    <a:pt x="404" y="0"/>
                  </a:cubicBezTo>
                  <a:cubicBezTo>
                    <a:pt x="404" y="0"/>
                    <a:pt x="370" y="47"/>
                    <a:pt x="304" y="48"/>
                  </a:cubicBezTo>
                  <a:cubicBezTo>
                    <a:pt x="237" y="47"/>
                    <a:pt x="203" y="0"/>
                    <a:pt x="203" y="0"/>
                  </a:cubicBezTo>
                  <a:cubicBezTo>
                    <a:pt x="203" y="0"/>
                    <a:pt x="117" y="1"/>
                    <a:pt x="70" y="23"/>
                  </a:cubicBezTo>
                  <a:cubicBezTo>
                    <a:pt x="37" y="38"/>
                    <a:pt x="12" y="154"/>
                    <a:pt x="0" y="201"/>
                  </a:cubicBezTo>
                  <a:cubicBezTo>
                    <a:pt x="363" y="201"/>
                    <a:pt x="363" y="201"/>
                    <a:pt x="363" y="201"/>
                  </a:cubicBezTo>
                  <a:cubicBezTo>
                    <a:pt x="376" y="174"/>
                    <a:pt x="391" y="157"/>
                    <a:pt x="410" y="148"/>
                  </a:cubicBezTo>
                  <a:close/>
                  <a:moveTo>
                    <a:pt x="804" y="78"/>
                  </a:moveTo>
                  <a:cubicBezTo>
                    <a:pt x="803" y="81"/>
                    <a:pt x="802" y="83"/>
                    <a:pt x="802" y="84"/>
                  </a:cubicBezTo>
                  <a:cubicBezTo>
                    <a:pt x="799" y="92"/>
                    <a:pt x="798" y="95"/>
                    <a:pt x="793" y="103"/>
                  </a:cubicBezTo>
                  <a:cubicBezTo>
                    <a:pt x="792" y="105"/>
                    <a:pt x="792" y="105"/>
                    <a:pt x="792" y="105"/>
                  </a:cubicBezTo>
                  <a:cubicBezTo>
                    <a:pt x="789" y="110"/>
                    <a:pt x="784" y="116"/>
                    <a:pt x="778" y="122"/>
                  </a:cubicBezTo>
                  <a:cubicBezTo>
                    <a:pt x="807" y="123"/>
                    <a:pt x="871" y="128"/>
                    <a:pt x="914" y="148"/>
                  </a:cubicBezTo>
                  <a:cubicBezTo>
                    <a:pt x="926" y="153"/>
                    <a:pt x="936" y="162"/>
                    <a:pt x="945" y="175"/>
                  </a:cubicBezTo>
                  <a:cubicBezTo>
                    <a:pt x="920" y="3"/>
                    <a:pt x="920" y="3"/>
                    <a:pt x="920" y="3"/>
                  </a:cubicBezTo>
                  <a:cubicBezTo>
                    <a:pt x="920" y="1"/>
                    <a:pt x="918" y="0"/>
                    <a:pt x="917" y="0"/>
                  </a:cubicBezTo>
                  <a:cubicBezTo>
                    <a:pt x="908" y="0"/>
                    <a:pt x="882" y="1"/>
                    <a:pt x="853" y="5"/>
                  </a:cubicBezTo>
                  <a:cubicBezTo>
                    <a:pt x="842" y="28"/>
                    <a:pt x="823" y="59"/>
                    <a:pt x="804" y="78"/>
                  </a:cubicBezTo>
                  <a:close/>
                  <a:moveTo>
                    <a:pt x="2045" y="212"/>
                  </a:moveTo>
                  <a:cubicBezTo>
                    <a:pt x="2035" y="186"/>
                    <a:pt x="2008" y="40"/>
                    <a:pt x="1970" y="23"/>
                  </a:cubicBezTo>
                  <a:cubicBezTo>
                    <a:pt x="1928" y="3"/>
                    <a:pt x="1855" y="0"/>
                    <a:pt x="1839" y="0"/>
                  </a:cubicBezTo>
                  <a:cubicBezTo>
                    <a:pt x="1838" y="0"/>
                    <a:pt x="1836" y="1"/>
                    <a:pt x="1836" y="3"/>
                  </a:cubicBezTo>
                  <a:cubicBezTo>
                    <a:pt x="1744" y="105"/>
                    <a:pt x="1744" y="105"/>
                    <a:pt x="1744" y="105"/>
                  </a:cubicBezTo>
                  <a:cubicBezTo>
                    <a:pt x="1740" y="111"/>
                    <a:pt x="1732" y="111"/>
                    <a:pt x="1728" y="105"/>
                  </a:cubicBezTo>
                  <a:cubicBezTo>
                    <a:pt x="1636" y="3"/>
                    <a:pt x="1636" y="3"/>
                    <a:pt x="1636" y="3"/>
                  </a:cubicBezTo>
                  <a:cubicBezTo>
                    <a:pt x="1636" y="1"/>
                    <a:pt x="1635" y="0"/>
                    <a:pt x="1633" y="0"/>
                  </a:cubicBezTo>
                  <a:cubicBezTo>
                    <a:pt x="1625" y="0"/>
                    <a:pt x="1598" y="1"/>
                    <a:pt x="1569" y="5"/>
                  </a:cubicBezTo>
                  <a:cubicBezTo>
                    <a:pt x="1559" y="28"/>
                    <a:pt x="1539" y="59"/>
                    <a:pt x="1520" y="78"/>
                  </a:cubicBezTo>
                  <a:cubicBezTo>
                    <a:pt x="1519" y="81"/>
                    <a:pt x="1519" y="83"/>
                    <a:pt x="1518" y="84"/>
                  </a:cubicBezTo>
                  <a:cubicBezTo>
                    <a:pt x="1515" y="92"/>
                    <a:pt x="1514" y="95"/>
                    <a:pt x="1509" y="103"/>
                  </a:cubicBezTo>
                  <a:cubicBezTo>
                    <a:pt x="1508" y="105"/>
                    <a:pt x="1508" y="105"/>
                    <a:pt x="1508" y="105"/>
                  </a:cubicBezTo>
                  <a:cubicBezTo>
                    <a:pt x="1505" y="110"/>
                    <a:pt x="1500" y="116"/>
                    <a:pt x="1494" y="122"/>
                  </a:cubicBezTo>
                  <a:cubicBezTo>
                    <a:pt x="1524" y="123"/>
                    <a:pt x="1588" y="128"/>
                    <a:pt x="1630" y="148"/>
                  </a:cubicBezTo>
                  <a:cubicBezTo>
                    <a:pt x="1653" y="159"/>
                    <a:pt x="1670" y="183"/>
                    <a:pt x="1686" y="222"/>
                  </a:cubicBezTo>
                  <a:cubicBezTo>
                    <a:pt x="1688" y="222"/>
                    <a:pt x="1688" y="222"/>
                    <a:pt x="1688" y="222"/>
                  </a:cubicBezTo>
                  <a:cubicBezTo>
                    <a:pt x="1784" y="222"/>
                    <a:pt x="1784" y="222"/>
                    <a:pt x="1784" y="222"/>
                  </a:cubicBezTo>
                  <a:cubicBezTo>
                    <a:pt x="2038" y="222"/>
                    <a:pt x="2038" y="222"/>
                    <a:pt x="2038" y="222"/>
                  </a:cubicBezTo>
                  <a:cubicBezTo>
                    <a:pt x="2043" y="222"/>
                    <a:pt x="2046" y="217"/>
                    <a:pt x="2045" y="212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93" name="Freeform 36">
              <a:extLst>
                <a:ext uri="{FF2B5EF4-FFF2-40B4-BE49-F238E27FC236}">
                  <a16:creationId xmlns:a16="http://schemas.microsoft.com/office/drawing/2014/main" id="{E74F14F1-CFDF-47CE-B213-4A6E4774DF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36" y="1279"/>
              <a:ext cx="4025" cy="1427"/>
            </a:xfrm>
            <a:custGeom>
              <a:avLst/>
              <a:gdLst>
                <a:gd name="T0" fmla="*/ 1233 w 2149"/>
                <a:gd name="T1" fmla="*/ 232 h 761"/>
                <a:gd name="T2" fmla="*/ 1201 w 2149"/>
                <a:gd name="T3" fmla="*/ 259 h 761"/>
                <a:gd name="T4" fmla="*/ 977 w 2149"/>
                <a:gd name="T5" fmla="*/ 139 h 761"/>
                <a:gd name="T6" fmla="*/ 925 w 2149"/>
                <a:gd name="T7" fmla="*/ 255 h 761"/>
                <a:gd name="T8" fmla="*/ 908 w 2149"/>
                <a:gd name="T9" fmla="*/ 234 h 761"/>
                <a:gd name="T10" fmla="*/ 1070 w 2149"/>
                <a:gd name="T11" fmla="*/ 0 h 761"/>
                <a:gd name="T12" fmla="*/ 1233 w 2149"/>
                <a:gd name="T13" fmla="*/ 232 h 761"/>
                <a:gd name="T14" fmla="*/ 354 w 2149"/>
                <a:gd name="T15" fmla="*/ 0 h 761"/>
                <a:gd name="T16" fmla="*/ 192 w 2149"/>
                <a:gd name="T17" fmla="*/ 234 h 761"/>
                <a:gd name="T18" fmla="*/ 208 w 2149"/>
                <a:gd name="T19" fmla="*/ 255 h 761"/>
                <a:gd name="T20" fmla="*/ 261 w 2149"/>
                <a:gd name="T21" fmla="*/ 139 h 761"/>
                <a:gd name="T22" fmla="*/ 485 w 2149"/>
                <a:gd name="T23" fmla="*/ 259 h 761"/>
                <a:gd name="T24" fmla="*/ 516 w 2149"/>
                <a:gd name="T25" fmla="*/ 232 h 761"/>
                <a:gd name="T26" fmla="*/ 523 w 2149"/>
                <a:gd name="T27" fmla="*/ 173 h 761"/>
                <a:gd name="T28" fmla="*/ 712 w 2149"/>
                <a:gd name="T29" fmla="*/ 218 h 761"/>
                <a:gd name="T30" fmla="*/ 554 w 2149"/>
                <a:gd name="T31" fmla="*/ 440 h 761"/>
                <a:gd name="T32" fmla="*/ 607 w 2149"/>
                <a:gd name="T33" fmla="*/ 522 h 761"/>
                <a:gd name="T34" fmla="*/ 712 w 2149"/>
                <a:gd name="T35" fmla="*/ 597 h 761"/>
                <a:gd name="T36" fmla="*/ 817 w 2149"/>
                <a:gd name="T37" fmla="*/ 522 h 761"/>
                <a:gd name="T38" fmla="*/ 868 w 2149"/>
                <a:gd name="T39" fmla="*/ 445 h 761"/>
                <a:gd name="T40" fmla="*/ 1056 w 2149"/>
                <a:gd name="T41" fmla="*/ 535 h 761"/>
                <a:gd name="T42" fmla="*/ 1033 w 2149"/>
                <a:gd name="T43" fmla="*/ 671 h 761"/>
                <a:gd name="T44" fmla="*/ 1084 w 2149"/>
                <a:gd name="T45" fmla="*/ 538 h 761"/>
                <a:gd name="T46" fmla="*/ 1106 w 2149"/>
                <a:gd name="T47" fmla="*/ 500 h 761"/>
                <a:gd name="T48" fmla="*/ 1071 w 2149"/>
                <a:gd name="T49" fmla="*/ 491 h 761"/>
                <a:gd name="T50" fmla="*/ 1034 w 2149"/>
                <a:gd name="T51" fmla="*/ 500 h 761"/>
                <a:gd name="T52" fmla="*/ 1597 w 2149"/>
                <a:gd name="T53" fmla="*/ 391 h 761"/>
                <a:gd name="T54" fmla="*/ 1259 w 2149"/>
                <a:gd name="T55" fmla="*/ 391 h 761"/>
                <a:gd name="T56" fmla="*/ 1271 w 2149"/>
                <a:gd name="T57" fmla="*/ 442 h 761"/>
                <a:gd name="T58" fmla="*/ 1336 w 2149"/>
                <a:gd name="T59" fmla="*/ 553 h 761"/>
                <a:gd name="T60" fmla="*/ 1520 w 2149"/>
                <a:gd name="T61" fmla="*/ 553 h 761"/>
                <a:gd name="T62" fmla="*/ 1584 w 2149"/>
                <a:gd name="T63" fmla="*/ 446 h 761"/>
                <a:gd name="T64" fmla="*/ 1597 w 2149"/>
                <a:gd name="T65" fmla="*/ 391 h 761"/>
                <a:gd name="T66" fmla="*/ 1786 w 2149"/>
                <a:gd name="T67" fmla="*/ 0 h 761"/>
                <a:gd name="T68" fmla="*/ 1624 w 2149"/>
                <a:gd name="T69" fmla="*/ 246 h 761"/>
                <a:gd name="T70" fmla="*/ 1691 w 2149"/>
                <a:gd name="T71" fmla="*/ 140 h 761"/>
                <a:gd name="T72" fmla="*/ 1919 w 2149"/>
                <a:gd name="T73" fmla="*/ 260 h 761"/>
                <a:gd name="T74" fmla="*/ 1931 w 2149"/>
                <a:gd name="T75" fmla="*/ 261 h 761"/>
                <a:gd name="T76" fmla="*/ 1952 w 2149"/>
                <a:gd name="T77" fmla="*/ 233 h 761"/>
                <a:gd name="T78" fmla="*/ 1958 w 2149"/>
                <a:gd name="T79" fmla="*/ 175 h 761"/>
                <a:gd name="T80" fmla="*/ 22 w 2149"/>
                <a:gd name="T81" fmla="*/ 717 h 761"/>
                <a:gd name="T82" fmla="*/ 22 w 2149"/>
                <a:gd name="T83" fmla="*/ 761 h 761"/>
                <a:gd name="T84" fmla="*/ 395 w 2149"/>
                <a:gd name="T85" fmla="*/ 717 h 761"/>
                <a:gd name="T86" fmla="*/ 1745 w 2149"/>
                <a:gd name="T87" fmla="*/ 717 h 761"/>
                <a:gd name="T88" fmla="*/ 2127 w 2149"/>
                <a:gd name="T89" fmla="*/ 761 h 761"/>
                <a:gd name="T90" fmla="*/ 2127 w 2149"/>
                <a:gd name="T91" fmla="*/ 717 h 761"/>
                <a:gd name="T92" fmla="*/ 1029 w 2149"/>
                <a:gd name="T93" fmla="*/ 717 h 761"/>
                <a:gd name="T94" fmla="*/ 1098 w 2149"/>
                <a:gd name="T95" fmla="*/ 761 h 761"/>
                <a:gd name="T96" fmla="*/ 1644 w 2149"/>
                <a:gd name="T97" fmla="*/ 449 h 761"/>
                <a:gd name="T98" fmla="*/ 1686 w 2149"/>
                <a:gd name="T99" fmla="*/ 445 h 761"/>
                <a:gd name="T100" fmla="*/ 1636 w 2149"/>
                <a:gd name="T101" fmla="*/ 304 h 761"/>
                <a:gd name="T102" fmla="*/ 1641 w 2149"/>
                <a:gd name="T103" fmla="*/ 391 h 761"/>
                <a:gd name="T104" fmla="*/ 1644 w 2149"/>
                <a:gd name="T105" fmla="*/ 449 h 761"/>
                <a:gd name="T106" fmla="*/ 1929 w 2149"/>
                <a:gd name="T107" fmla="*/ 449 h 761"/>
                <a:gd name="T108" fmla="*/ 1936 w 2149"/>
                <a:gd name="T109" fmla="*/ 304 h 761"/>
                <a:gd name="T110" fmla="*/ 1887 w 2149"/>
                <a:gd name="T111" fmla="*/ 445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49" h="761">
                  <a:moveTo>
                    <a:pt x="1233" y="232"/>
                  </a:moveTo>
                  <a:cubicBezTo>
                    <a:pt x="1233" y="232"/>
                    <a:pt x="1233" y="232"/>
                    <a:pt x="1233" y="232"/>
                  </a:cubicBezTo>
                  <a:cubicBezTo>
                    <a:pt x="1232" y="232"/>
                    <a:pt x="1229" y="241"/>
                    <a:pt x="1214" y="259"/>
                  </a:cubicBezTo>
                  <a:cubicBezTo>
                    <a:pt x="1214" y="259"/>
                    <a:pt x="1214" y="259"/>
                    <a:pt x="1201" y="259"/>
                  </a:cubicBezTo>
                  <a:cubicBezTo>
                    <a:pt x="1201" y="259"/>
                    <a:pt x="1201" y="252"/>
                    <a:pt x="1200" y="131"/>
                  </a:cubicBezTo>
                  <a:cubicBezTo>
                    <a:pt x="1180" y="228"/>
                    <a:pt x="977" y="139"/>
                    <a:pt x="977" y="139"/>
                  </a:cubicBezTo>
                  <a:cubicBezTo>
                    <a:pt x="927" y="155"/>
                    <a:pt x="936" y="256"/>
                    <a:pt x="936" y="256"/>
                  </a:cubicBezTo>
                  <a:cubicBezTo>
                    <a:pt x="936" y="256"/>
                    <a:pt x="936" y="256"/>
                    <a:pt x="925" y="255"/>
                  </a:cubicBezTo>
                  <a:cubicBezTo>
                    <a:pt x="925" y="255"/>
                    <a:pt x="925" y="249"/>
                    <a:pt x="908" y="234"/>
                  </a:cubicBezTo>
                  <a:cubicBezTo>
                    <a:pt x="908" y="234"/>
                    <a:pt x="908" y="234"/>
                    <a:pt x="908" y="234"/>
                  </a:cubicBezTo>
                  <a:cubicBezTo>
                    <a:pt x="901" y="215"/>
                    <a:pt x="901" y="195"/>
                    <a:pt x="901" y="173"/>
                  </a:cubicBezTo>
                  <a:cubicBezTo>
                    <a:pt x="901" y="78"/>
                    <a:pt x="974" y="0"/>
                    <a:pt x="1070" y="0"/>
                  </a:cubicBezTo>
                  <a:cubicBezTo>
                    <a:pt x="1166" y="0"/>
                    <a:pt x="1239" y="78"/>
                    <a:pt x="1239" y="173"/>
                  </a:cubicBezTo>
                  <a:cubicBezTo>
                    <a:pt x="1239" y="194"/>
                    <a:pt x="1239" y="214"/>
                    <a:pt x="1233" y="232"/>
                  </a:cubicBezTo>
                  <a:close/>
                  <a:moveTo>
                    <a:pt x="523" y="173"/>
                  </a:moveTo>
                  <a:cubicBezTo>
                    <a:pt x="523" y="78"/>
                    <a:pt x="449" y="0"/>
                    <a:pt x="354" y="0"/>
                  </a:cubicBezTo>
                  <a:cubicBezTo>
                    <a:pt x="258" y="0"/>
                    <a:pt x="185" y="78"/>
                    <a:pt x="185" y="173"/>
                  </a:cubicBezTo>
                  <a:cubicBezTo>
                    <a:pt x="185" y="195"/>
                    <a:pt x="185" y="215"/>
                    <a:pt x="192" y="234"/>
                  </a:cubicBezTo>
                  <a:cubicBezTo>
                    <a:pt x="192" y="234"/>
                    <a:pt x="192" y="234"/>
                    <a:pt x="192" y="234"/>
                  </a:cubicBezTo>
                  <a:cubicBezTo>
                    <a:pt x="208" y="249"/>
                    <a:pt x="208" y="255"/>
                    <a:pt x="208" y="255"/>
                  </a:cubicBezTo>
                  <a:cubicBezTo>
                    <a:pt x="220" y="256"/>
                    <a:pt x="220" y="256"/>
                    <a:pt x="220" y="256"/>
                  </a:cubicBezTo>
                  <a:cubicBezTo>
                    <a:pt x="220" y="256"/>
                    <a:pt x="211" y="155"/>
                    <a:pt x="261" y="139"/>
                  </a:cubicBezTo>
                  <a:cubicBezTo>
                    <a:pt x="261" y="139"/>
                    <a:pt x="464" y="228"/>
                    <a:pt x="483" y="131"/>
                  </a:cubicBezTo>
                  <a:cubicBezTo>
                    <a:pt x="485" y="252"/>
                    <a:pt x="485" y="259"/>
                    <a:pt x="485" y="259"/>
                  </a:cubicBezTo>
                  <a:cubicBezTo>
                    <a:pt x="497" y="259"/>
                    <a:pt x="497" y="259"/>
                    <a:pt x="497" y="259"/>
                  </a:cubicBezTo>
                  <a:cubicBezTo>
                    <a:pt x="513" y="241"/>
                    <a:pt x="516" y="232"/>
                    <a:pt x="516" y="232"/>
                  </a:cubicBezTo>
                  <a:cubicBezTo>
                    <a:pt x="516" y="232"/>
                    <a:pt x="516" y="232"/>
                    <a:pt x="517" y="232"/>
                  </a:cubicBezTo>
                  <a:cubicBezTo>
                    <a:pt x="523" y="214"/>
                    <a:pt x="523" y="194"/>
                    <a:pt x="523" y="173"/>
                  </a:cubicBezTo>
                  <a:close/>
                  <a:moveTo>
                    <a:pt x="881" y="391"/>
                  </a:moveTo>
                  <a:cubicBezTo>
                    <a:pt x="881" y="296"/>
                    <a:pt x="807" y="218"/>
                    <a:pt x="712" y="218"/>
                  </a:cubicBezTo>
                  <a:cubicBezTo>
                    <a:pt x="616" y="218"/>
                    <a:pt x="543" y="296"/>
                    <a:pt x="543" y="391"/>
                  </a:cubicBezTo>
                  <a:cubicBezTo>
                    <a:pt x="543" y="408"/>
                    <a:pt x="551" y="425"/>
                    <a:pt x="554" y="440"/>
                  </a:cubicBezTo>
                  <a:cubicBezTo>
                    <a:pt x="555" y="441"/>
                    <a:pt x="554" y="441"/>
                    <a:pt x="555" y="442"/>
                  </a:cubicBezTo>
                  <a:cubicBezTo>
                    <a:pt x="557" y="459"/>
                    <a:pt x="594" y="513"/>
                    <a:pt x="607" y="522"/>
                  </a:cubicBezTo>
                  <a:cubicBezTo>
                    <a:pt x="617" y="548"/>
                    <a:pt x="612" y="541"/>
                    <a:pt x="620" y="553"/>
                  </a:cubicBezTo>
                  <a:cubicBezTo>
                    <a:pt x="630" y="568"/>
                    <a:pt x="680" y="597"/>
                    <a:pt x="712" y="597"/>
                  </a:cubicBezTo>
                  <a:cubicBezTo>
                    <a:pt x="744" y="597"/>
                    <a:pt x="795" y="569"/>
                    <a:pt x="804" y="553"/>
                  </a:cubicBezTo>
                  <a:cubicBezTo>
                    <a:pt x="812" y="538"/>
                    <a:pt x="806" y="548"/>
                    <a:pt x="817" y="522"/>
                  </a:cubicBezTo>
                  <a:cubicBezTo>
                    <a:pt x="836" y="509"/>
                    <a:pt x="867" y="454"/>
                    <a:pt x="868" y="446"/>
                  </a:cubicBezTo>
                  <a:cubicBezTo>
                    <a:pt x="868" y="445"/>
                    <a:pt x="868" y="445"/>
                    <a:pt x="868" y="445"/>
                  </a:cubicBezTo>
                  <a:cubicBezTo>
                    <a:pt x="873" y="428"/>
                    <a:pt x="881" y="410"/>
                    <a:pt x="881" y="391"/>
                  </a:cubicBezTo>
                  <a:close/>
                  <a:moveTo>
                    <a:pt x="1056" y="535"/>
                  </a:moveTo>
                  <a:cubicBezTo>
                    <a:pt x="1056" y="536"/>
                    <a:pt x="1056" y="537"/>
                    <a:pt x="1056" y="538"/>
                  </a:cubicBezTo>
                  <a:cubicBezTo>
                    <a:pt x="1033" y="671"/>
                    <a:pt x="1033" y="671"/>
                    <a:pt x="1033" y="671"/>
                  </a:cubicBezTo>
                  <a:cubicBezTo>
                    <a:pt x="1105" y="671"/>
                    <a:pt x="1105" y="671"/>
                    <a:pt x="1105" y="671"/>
                  </a:cubicBezTo>
                  <a:cubicBezTo>
                    <a:pt x="1084" y="538"/>
                    <a:pt x="1084" y="538"/>
                    <a:pt x="1084" y="538"/>
                  </a:cubicBezTo>
                  <a:cubicBezTo>
                    <a:pt x="1084" y="537"/>
                    <a:pt x="1084" y="536"/>
                    <a:pt x="1084" y="535"/>
                  </a:cubicBezTo>
                  <a:cubicBezTo>
                    <a:pt x="1106" y="500"/>
                    <a:pt x="1106" y="500"/>
                    <a:pt x="1106" y="500"/>
                  </a:cubicBezTo>
                  <a:cubicBezTo>
                    <a:pt x="1107" y="498"/>
                    <a:pt x="1106" y="496"/>
                    <a:pt x="1104" y="496"/>
                  </a:cubicBezTo>
                  <a:cubicBezTo>
                    <a:pt x="1097" y="494"/>
                    <a:pt x="1083" y="491"/>
                    <a:pt x="1071" y="491"/>
                  </a:cubicBezTo>
                  <a:cubicBezTo>
                    <a:pt x="1059" y="491"/>
                    <a:pt x="1044" y="494"/>
                    <a:pt x="1036" y="496"/>
                  </a:cubicBezTo>
                  <a:cubicBezTo>
                    <a:pt x="1034" y="496"/>
                    <a:pt x="1033" y="499"/>
                    <a:pt x="1034" y="500"/>
                  </a:cubicBezTo>
                  <a:lnTo>
                    <a:pt x="1056" y="535"/>
                  </a:lnTo>
                  <a:close/>
                  <a:moveTo>
                    <a:pt x="1597" y="391"/>
                  </a:moveTo>
                  <a:cubicBezTo>
                    <a:pt x="1597" y="296"/>
                    <a:pt x="1524" y="218"/>
                    <a:pt x="1428" y="218"/>
                  </a:cubicBezTo>
                  <a:cubicBezTo>
                    <a:pt x="1333" y="218"/>
                    <a:pt x="1259" y="296"/>
                    <a:pt x="1259" y="391"/>
                  </a:cubicBezTo>
                  <a:cubicBezTo>
                    <a:pt x="1259" y="408"/>
                    <a:pt x="1267" y="425"/>
                    <a:pt x="1271" y="440"/>
                  </a:cubicBezTo>
                  <a:cubicBezTo>
                    <a:pt x="1271" y="441"/>
                    <a:pt x="1271" y="441"/>
                    <a:pt x="1271" y="442"/>
                  </a:cubicBezTo>
                  <a:cubicBezTo>
                    <a:pt x="1274" y="459"/>
                    <a:pt x="1310" y="513"/>
                    <a:pt x="1323" y="522"/>
                  </a:cubicBezTo>
                  <a:cubicBezTo>
                    <a:pt x="1333" y="548"/>
                    <a:pt x="1328" y="541"/>
                    <a:pt x="1336" y="553"/>
                  </a:cubicBezTo>
                  <a:cubicBezTo>
                    <a:pt x="1346" y="568"/>
                    <a:pt x="1396" y="597"/>
                    <a:pt x="1428" y="597"/>
                  </a:cubicBezTo>
                  <a:cubicBezTo>
                    <a:pt x="1460" y="597"/>
                    <a:pt x="1511" y="569"/>
                    <a:pt x="1520" y="553"/>
                  </a:cubicBezTo>
                  <a:cubicBezTo>
                    <a:pt x="1529" y="538"/>
                    <a:pt x="1523" y="548"/>
                    <a:pt x="1533" y="522"/>
                  </a:cubicBezTo>
                  <a:cubicBezTo>
                    <a:pt x="1552" y="509"/>
                    <a:pt x="1583" y="454"/>
                    <a:pt x="1584" y="446"/>
                  </a:cubicBezTo>
                  <a:cubicBezTo>
                    <a:pt x="1584" y="445"/>
                    <a:pt x="1584" y="445"/>
                    <a:pt x="1584" y="445"/>
                  </a:cubicBezTo>
                  <a:cubicBezTo>
                    <a:pt x="1589" y="428"/>
                    <a:pt x="1597" y="410"/>
                    <a:pt x="1597" y="391"/>
                  </a:cubicBezTo>
                  <a:close/>
                  <a:moveTo>
                    <a:pt x="1958" y="175"/>
                  </a:moveTo>
                  <a:cubicBezTo>
                    <a:pt x="1958" y="78"/>
                    <a:pt x="1883" y="0"/>
                    <a:pt x="1786" y="0"/>
                  </a:cubicBezTo>
                  <a:cubicBezTo>
                    <a:pt x="1689" y="0"/>
                    <a:pt x="1614" y="78"/>
                    <a:pt x="1614" y="175"/>
                  </a:cubicBezTo>
                  <a:cubicBezTo>
                    <a:pt x="1614" y="196"/>
                    <a:pt x="1617" y="227"/>
                    <a:pt x="1624" y="246"/>
                  </a:cubicBezTo>
                  <a:cubicBezTo>
                    <a:pt x="1624" y="246"/>
                    <a:pt x="1624" y="246"/>
                    <a:pt x="1624" y="246"/>
                  </a:cubicBezTo>
                  <a:cubicBezTo>
                    <a:pt x="1641" y="261"/>
                    <a:pt x="1641" y="157"/>
                    <a:pt x="1691" y="140"/>
                  </a:cubicBezTo>
                  <a:cubicBezTo>
                    <a:pt x="1692" y="140"/>
                    <a:pt x="1692" y="140"/>
                    <a:pt x="1693" y="141"/>
                  </a:cubicBezTo>
                  <a:cubicBezTo>
                    <a:pt x="1919" y="260"/>
                    <a:pt x="1919" y="260"/>
                    <a:pt x="1919" y="260"/>
                  </a:cubicBezTo>
                  <a:cubicBezTo>
                    <a:pt x="1920" y="261"/>
                    <a:pt x="1920" y="261"/>
                    <a:pt x="1920" y="261"/>
                  </a:cubicBezTo>
                  <a:cubicBezTo>
                    <a:pt x="1931" y="261"/>
                    <a:pt x="1931" y="261"/>
                    <a:pt x="1931" y="261"/>
                  </a:cubicBezTo>
                  <a:cubicBezTo>
                    <a:pt x="1932" y="261"/>
                    <a:pt x="1933" y="260"/>
                    <a:pt x="1933" y="260"/>
                  </a:cubicBezTo>
                  <a:cubicBezTo>
                    <a:pt x="1949" y="242"/>
                    <a:pt x="1951" y="234"/>
                    <a:pt x="1952" y="233"/>
                  </a:cubicBezTo>
                  <a:cubicBezTo>
                    <a:pt x="1952" y="233"/>
                    <a:pt x="1952" y="234"/>
                    <a:pt x="1952" y="234"/>
                  </a:cubicBezTo>
                  <a:cubicBezTo>
                    <a:pt x="1959" y="215"/>
                    <a:pt x="1958" y="195"/>
                    <a:pt x="1958" y="175"/>
                  </a:cubicBezTo>
                  <a:close/>
                  <a:moveTo>
                    <a:pt x="395" y="717"/>
                  </a:moveTo>
                  <a:cubicBezTo>
                    <a:pt x="22" y="717"/>
                    <a:pt x="22" y="717"/>
                    <a:pt x="22" y="717"/>
                  </a:cubicBezTo>
                  <a:cubicBezTo>
                    <a:pt x="9" y="717"/>
                    <a:pt x="0" y="727"/>
                    <a:pt x="0" y="739"/>
                  </a:cubicBezTo>
                  <a:cubicBezTo>
                    <a:pt x="0" y="752"/>
                    <a:pt x="9" y="761"/>
                    <a:pt x="22" y="761"/>
                  </a:cubicBezTo>
                  <a:cubicBezTo>
                    <a:pt x="382" y="761"/>
                    <a:pt x="382" y="761"/>
                    <a:pt x="382" y="761"/>
                  </a:cubicBezTo>
                  <a:cubicBezTo>
                    <a:pt x="386" y="745"/>
                    <a:pt x="391" y="731"/>
                    <a:pt x="395" y="717"/>
                  </a:cubicBezTo>
                  <a:close/>
                  <a:moveTo>
                    <a:pt x="2127" y="717"/>
                  </a:moveTo>
                  <a:cubicBezTo>
                    <a:pt x="1745" y="717"/>
                    <a:pt x="1745" y="717"/>
                    <a:pt x="1745" y="717"/>
                  </a:cubicBezTo>
                  <a:cubicBezTo>
                    <a:pt x="1749" y="731"/>
                    <a:pt x="1754" y="745"/>
                    <a:pt x="1758" y="761"/>
                  </a:cubicBezTo>
                  <a:cubicBezTo>
                    <a:pt x="2127" y="761"/>
                    <a:pt x="2127" y="761"/>
                    <a:pt x="2127" y="761"/>
                  </a:cubicBezTo>
                  <a:cubicBezTo>
                    <a:pt x="2139" y="761"/>
                    <a:pt x="2149" y="752"/>
                    <a:pt x="2149" y="739"/>
                  </a:cubicBezTo>
                  <a:cubicBezTo>
                    <a:pt x="2149" y="727"/>
                    <a:pt x="2139" y="717"/>
                    <a:pt x="2127" y="717"/>
                  </a:cubicBezTo>
                  <a:close/>
                  <a:moveTo>
                    <a:pt x="1111" y="717"/>
                  </a:moveTo>
                  <a:cubicBezTo>
                    <a:pt x="1029" y="717"/>
                    <a:pt x="1029" y="717"/>
                    <a:pt x="1029" y="717"/>
                  </a:cubicBezTo>
                  <a:cubicBezTo>
                    <a:pt x="1033" y="731"/>
                    <a:pt x="1037" y="745"/>
                    <a:pt x="1042" y="761"/>
                  </a:cubicBezTo>
                  <a:cubicBezTo>
                    <a:pt x="1098" y="761"/>
                    <a:pt x="1098" y="761"/>
                    <a:pt x="1098" y="761"/>
                  </a:cubicBezTo>
                  <a:cubicBezTo>
                    <a:pt x="1103" y="745"/>
                    <a:pt x="1107" y="731"/>
                    <a:pt x="1111" y="717"/>
                  </a:cubicBezTo>
                  <a:close/>
                  <a:moveTo>
                    <a:pt x="1644" y="449"/>
                  </a:moveTo>
                  <a:cubicBezTo>
                    <a:pt x="1662" y="447"/>
                    <a:pt x="1676" y="447"/>
                    <a:pt x="1682" y="447"/>
                  </a:cubicBezTo>
                  <a:cubicBezTo>
                    <a:pt x="1684" y="446"/>
                    <a:pt x="1686" y="445"/>
                    <a:pt x="1686" y="445"/>
                  </a:cubicBezTo>
                  <a:cubicBezTo>
                    <a:pt x="1686" y="412"/>
                    <a:pt x="1686" y="412"/>
                    <a:pt x="1686" y="412"/>
                  </a:cubicBezTo>
                  <a:cubicBezTo>
                    <a:pt x="1686" y="412"/>
                    <a:pt x="1643" y="333"/>
                    <a:pt x="1636" y="304"/>
                  </a:cubicBezTo>
                  <a:cubicBezTo>
                    <a:pt x="1633" y="304"/>
                    <a:pt x="1633" y="314"/>
                    <a:pt x="1632" y="328"/>
                  </a:cubicBezTo>
                  <a:cubicBezTo>
                    <a:pt x="1638" y="348"/>
                    <a:pt x="1641" y="369"/>
                    <a:pt x="1641" y="391"/>
                  </a:cubicBezTo>
                  <a:cubicBezTo>
                    <a:pt x="1641" y="412"/>
                    <a:pt x="1635" y="430"/>
                    <a:pt x="1630" y="445"/>
                  </a:cubicBezTo>
                  <a:cubicBezTo>
                    <a:pt x="1635" y="447"/>
                    <a:pt x="1640" y="448"/>
                    <a:pt x="1644" y="449"/>
                  </a:cubicBezTo>
                  <a:close/>
                  <a:moveTo>
                    <a:pt x="1891" y="447"/>
                  </a:moveTo>
                  <a:cubicBezTo>
                    <a:pt x="1898" y="447"/>
                    <a:pt x="1912" y="447"/>
                    <a:pt x="1929" y="449"/>
                  </a:cubicBezTo>
                  <a:cubicBezTo>
                    <a:pt x="1944" y="446"/>
                    <a:pt x="1963" y="438"/>
                    <a:pt x="1982" y="418"/>
                  </a:cubicBezTo>
                  <a:cubicBezTo>
                    <a:pt x="1928" y="413"/>
                    <a:pt x="1946" y="304"/>
                    <a:pt x="1936" y="304"/>
                  </a:cubicBezTo>
                  <a:cubicBezTo>
                    <a:pt x="1929" y="335"/>
                    <a:pt x="1887" y="412"/>
                    <a:pt x="1887" y="412"/>
                  </a:cubicBezTo>
                  <a:cubicBezTo>
                    <a:pt x="1887" y="445"/>
                    <a:pt x="1887" y="445"/>
                    <a:pt x="1887" y="445"/>
                  </a:cubicBezTo>
                  <a:cubicBezTo>
                    <a:pt x="1887" y="445"/>
                    <a:pt x="1889" y="446"/>
                    <a:pt x="1891" y="44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</p:grpSp>
      <p:sp>
        <p:nvSpPr>
          <p:cNvPr id="202" name="Shape 2991"/>
          <p:cNvSpPr/>
          <p:nvPr/>
        </p:nvSpPr>
        <p:spPr>
          <a:xfrm>
            <a:off x="8105818" y="4723058"/>
            <a:ext cx="410059" cy="4099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9" h="21583" extrusionOk="0">
                <a:moveTo>
                  <a:pt x="19131" y="18476"/>
                </a:moveTo>
                <a:cubicBezTo>
                  <a:pt x="19149" y="18709"/>
                  <a:pt x="19131" y="18997"/>
                  <a:pt x="19059" y="19248"/>
                </a:cubicBezTo>
                <a:lnTo>
                  <a:pt x="16817" y="17183"/>
                </a:lnTo>
                <a:lnTo>
                  <a:pt x="14790" y="19392"/>
                </a:lnTo>
                <a:lnTo>
                  <a:pt x="17068" y="21438"/>
                </a:lnTo>
                <a:cubicBezTo>
                  <a:pt x="16799" y="21528"/>
                  <a:pt x="16548" y="21582"/>
                  <a:pt x="16279" y="21582"/>
                </a:cubicBezTo>
                <a:cubicBezTo>
                  <a:pt x="15507" y="21600"/>
                  <a:pt x="14843" y="21367"/>
                  <a:pt x="14251" y="20846"/>
                </a:cubicBezTo>
                <a:cubicBezTo>
                  <a:pt x="13677" y="20307"/>
                  <a:pt x="13372" y="19661"/>
                  <a:pt x="13354" y="18889"/>
                </a:cubicBezTo>
                <a:cubicBezTo>
                  <a:pt x="13354" y="18601"/>
                  <a:pt x="13372" y="18296"/>
                  <a:pt x="13444" y="18045"/>
                </a:cubicBezTo>
                <a:lnTo>
                  <a:pt x="12888" y="17524"/>
                </a:lnTo>
                <a:lnTo>
                  <a:pt x="9641" y="14544"/>
                </a:lnTo>
                <a:lnTo>
                  <a:pt x="4115" y="20630"/>
                </a:lnTo>
                <a:cubicBezTo>
                  <a:pt x="3774" y="21097"/>
                  <a:pt x="3254" y="21385"/>
                  <a:pt x="2662" y="21385"/>
                </a:cubicBezTo>
                <a:cubicBezTo>
                  <a:pt x="1693" y="21385"/>
                  <a:pt x="922" y="20612"/>
                  <a:pt x="922" y="19643"/>
                </a:cubicBezTo>
                <a:cubicBezTo>
                  <a:pt x="922" y="19122"/>
                  <a:pt x="1119" y="18655"/>
                  <a:pt x="1532" y="18296"/>
                </a:cubicBezTo>
                <a:lnTo>
                  <a:pt x="7273" y="12335"/>
                </a:lnTo>
                <a:lnTo>
                  <a:pt x="3792" y="9175"/>
                </a:lnTo>
                <a:cubicBezTo>
                  <a:pt x="3505" y="9301"/>
                  <a:pt x="3200" y="9373"/>
                  <a:pt x="2949" y="9373"/>
                </a:cubicBezTo>
                <a:cubicBezTo>
                  <a:pt x="2178" y="9391"/>
                  <a:pt x="1496" y="9139"/>
                  <a:pt x="922" y="8636"/>
                </a:cubicBezTo>
                <a:cubicBezTo>
                  <a:pt x="330" y="8116"/>
                  <a:pt x="43" y="7487"/>
                  <a:pt x="7" y="6679"/>
                </a:cubicBezTo>
                <a:cubicBezTo>
                  <a:pt x="-11" y="6446"/>
                  <a:pt x="7" y="6177"/>
                  <a:pt x="79" y="5907"/>
                </a:cubicBezTo>
                <a:lnTo>
                  <a:pt x="2339" y="7954"/>
                </a:lnTo>
                <a:lnTo>
                  <a:pt x="4348" y="5764"/>
                </a:lnTo>
                <a:lnTo>
                  <a:pt x="2088" y="3699"/>
                </a:lnTo>
                <a:cubicBezTo>
                  <a:pt x="2321" y="3627"/>
                  <a:pt x="2608" y="3555"/>
                  <a:pt x="2859" y="3555"/>
                </a:cubicBezTo>
                <a:cubicBezTo>
                  <a:pt x="3631" y="3537"/>
                  <a:pt x="4313" y="3771"/>
                  <a:pt x="4887" y="4291"/>
                </a:cubicBezTo>
                <a:cubicBezTo>
                  <a:pt x="5479" y="4812"/>
                  <a:pt x="5784" y="5476"/>
                  <a:pt x="5802" y="6248"/>
                </a:cubicBezTo>
                <a:cubicBezTo>
                  <a:pt x="5820" y="6518"/>
                  <a:pt x="5802" y="6769"/>
                  <a:pt x="5730" y="7038"/>
                </a:cubicBezTo>
                <a:lnTo>
                  <a:pt x="9318" y="10306"/>
                </a:lnTo>
                <a:lnTo>
                  <a:pt x="11919" y="7487"/>
                </a:lnTo>
                <a:lnTo>
                  <a:pt x="8026" y="4022"/>
                </a:lnTo>
                <a:lnTo>
                  <a:pt x="11560" y="0"/>
                </a:lnTo>
                <a:lnTo>
                  <a:pt x="21589" y="8852"/>
                </a:lnTo>
                <a:lnTo>
                  <a:pt x="18055" y="12892"/>
                </a:lnTo>
                <a:lnTo>
                  <a:pt x="14036" y="9337"/>
                </a:lnTo>
                <a:lnTo>
                  <a:pt x="11507" y="12317"/>
                </a:lnTo>
                <a:lnTo>
                  <a:pt x="15436" y="15908"/>
                </a:lnTo>
                <a:cubicBezTo>
                  <a:pt x="15705" y="15818"/>
                  <a:pt x="15956" y="15765"/>
                  <a:pt x="16225" y="15765"/>
                </a:cubicBezTo>
                <a:cubicBezTo>
                  <a:pt x="16996" y="15729"/>
                  <a:pt x="17660" y="15980"/>
                  <a:pt x="18252" y="16483"/>
                </a:cubicBezTo>
                <a:cubicBezTo>
                  <a:pt x="18808" y="17021"/>
                  <a:pt x="19113" y="17686"/>
                  <a:pt x="19131" y="18476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4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uccessful Workplace Communication</a:t>
            </a:r>
          </a:p>
        </p:txBody>
      </p:sp>
    </p:spTree>
    <p:extLst>
      <p:ext uri="{BB962C8B-B14F-4D97-AF65-F5344CB8AC3E}">
        <p14:creationId xmlns:p14="http://schemas.microsoft.com/office/powerpoint/2010/main" val="84390122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hape 1144"/>
          <p:cNvSpPr/>
          <p:nvPr/>
        </p:nvSpPr>
        <p:spPr>
          <a:xfrm>
            <a:off x="4635092" y="3620164"/>
            <a:ext cx="1755053" cy="71701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0" y="10800"/>
                  <a:pt x="21600" y="10800"/>
                  <a:pt x="21600" y="21600"/>
                </a:cubicBezTo>
              </a:path>
            </a:pathLst>
          </a:custGeom>
          <a:ln w="381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>
              <a:solidFill>
                <a:schemeClr val="tx2"/>
              </a:solidFill>
            </a:endParaRPr>
          </a:p>
        </p:txBody>
      </p:sp>
      <p:sp>
        <p:nvSpPr>
          <p:cNvPr id="16" name="Shape 1145"/>
          <p:cNvSpPr/>
          <p:nvPr/>
        </p:nvSpPr>
        <p:spPr>
          <a:xfrm>
            <a:off x="6327680" y="4511456"/>
            <a:ext cx="99088" cy="990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35"/>
                </a:moveTo>
                <a:cubicBezTo>
                  <a:pt x="21600" y="12818"/>
                  <a:pt x="21175" y="14518"/>
                  <a:pt x="20113" y="16218"/>
                </a:cubicBezTo>
                <a:cubicBezTo>
                  <a:pt x="19121" y="17917"/>
                  <a:pt x="17988" y="19192"/>
                  <a:pt x="16218" y="20184"/>
                </a:cubicBezTo>
                <a:cubicBezTo>
                  <a:pt x="14518" y="21175"/>
                  <a:pt x="12889" y="21600"/>
                  <a:pt x="10835" y="21600"/>
                </a:cubicBezTo>
                <a:cubicBezTo>
                  <a:pt x="8852" y="21600"/>
                  <a:pt x="7153" y="21175"/>
                  <a:pt x="5382" y="20184"/>
                </a:cubicBezTo>
                <a:cubicBezTo>
                  <a:pt x="3683" y="19192"/>
                  <a:pt x="2479" y="17917"/>
                  <a:pt x="1487" y="16218"/>
                </a:cubicBezTo>
                <a:cubicBezTo>
                  <a:pt x="496" y="14518"/>
                  <a:pt x="0" y="12818"/>
                  <a:pt x="0" y="10835"/>
                </a:cubicBezTo>
                <a:cubicBezTo>
                  <a:pt x="0" y="8852"/>
                  <a:pt x="496" y="7224"/>
                  <a:pt x="1487" y="5453"/>
                </a:cubicBezTo>
                <a:cubicBezTo>
                  <a:pt x="2479" y="3753"/>
                  <a:pt x="3683" y="2479"/>
                  <a:pt x="5382" y="1487"/>
                </a:cubicBezTo>
                <a:cubicBezTo>
                  <a:pt x="7153" y="496"/>
                  <a:pt x="8782" y="0"/>
                  <a:pt x="10835" y="0"/>
                </a:cubicBezTo>
                <a:cubicBezTo>
                  <a:pt x="12818" y="0"/>
                  <a:pt x="14518" y="496"/>
                  <a:pt x="16218" y="1487"/>
                </a:cubicBezTo>
                <a:cubicBezTo>
                  <a:pt x="17988" y="2479"/>
                  <a:pt x="19121" y="3753"/>
                  <a:pt x="20113" y="5453"/>
                </a:cubicBezTo>
                <a:cubicBezTo>
                  <a:pt x="21175" y="7224"/>
                  <a:pt x="21600" y="8852"/>
                  <a:pt x="21600" y="10835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" name="Shape 1146"/>
          <p:cNvSpPr/>
          <p:nvPr/>
        </p:nvSpPr>
        <p:spPr>
          <a:xfrm>
            <a:off x="4635093" y="3620164"/>
            <a:ext cx="3664006" cy="71701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0" y="10800"/>
                  <a:pt x="21600" y="10800"/>
                  <a:pt x="21600" y="21600"/>
                </a:cubicBezTo>
              </a:path>
            </a:pathLst>
          </a:custGeom>
          <a:ln w="381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>
              <a:solidFill>
                <a:schemeClr val="tx2"/>
              </a:solidFill>
            </a:endParaRPr>
          </a:p>
        </p:txBody>
      </p:sp>
      <p:sp>
        <p:nvSpPr>
          <p:cNvPr id="18" name="Shape 1147"/>
          <p:cNvSpPr/>
          <p:nvPr/>
        </p:nvSpPr>
        <p:spPr>
          <a:xfrm>
            <a:off x="8261304" y="4511456"/>
            <a:ext cx="99088" cy="990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35"/>
                </a:moveTo>
                <a:cubicBezTo>
                  <a:pt x="21600" y="12818"/>
                  <a:pt x="21175" y="14518"/>
                  <a:pt x="20184" y="16218"/>
                </a:cubicBezTo>
                <a:cubicBezTo>
                  <a:pt x="19192" y="17917"/>
                  <a:pt x="17917" y="19192"/>
                  <a:pt x="16218" y="20184"/>
                </a:cubicBezTo>
                <a:cubicBezTo>
                  <a:pt x="14518" y="21175"/>
                  <a:pt x="12818" y="21600"/>
                  <a:pt x="10835" y="21600"/>
                </a:cubicBezTo>
                <a:cubicBezTo>
                  <a:pt x="8852" y="21600"/>
                  <a:pt x="7153" y="21175"/>
                  <a:pt x="5382" y="20184"/>
                </a:cubicBezTo>
                <a:cubicBezTo>
                  <a:pt x="3683" y="19192"/>
                  <a:pt x="2479" y="17917"/>
                  <a:pt x="1487" y="16218"/>
                </a:cubicBezTo>
                <a:cubicBezTo>
                  <a:pt x="496" y="14518"/>
                  <a:pt x="0" y="12818"/>
                  <a:pt x="0" y="10835"/>
                </a:cubicBezTo>
                <a:cubicBezTo>
                  <a:pt x="0" y="8852"/>
                  <a:pt x="496" y="7224"/>
                  <a:pt x="1487" y="5453"/>
                </a:cubicBezTo>
                <a:cubicBezTo>
                  <a:pt x="2479" y="3753"/>
                  <a:pt x="3683" y="2479"/>
                  <a:pt x="5382" y="1487"/>
                </a:cubicBezTo>
                <a:cubicBezTo>
                  <a:pt x="7153" y="496"/>
                  <a:pt x="8852" y="0"/>
                  <a:pt x="10835" y="0"/>
                </a:cubicBezTo>
                <a:cubicBezTo>
                  <a:pt x="12818" y="0"/>
                  <a:pt x="14518" y="496"/>
                  <a:pt x="16218" y="1487"/>
                </a:cubicBezTo>
                <a:cubicBezTo>
                  <a:pt x="17917" y="2479"/>
                  <a:pt x="19192" y="3753"/>
                  <a:pt x="20184" y="5453"/>
                </a:cubicBezTo>
                <a:cubicBezTo>
                  <a:pt x="21175" y="7224"/>
                  <a:pt x="21600" y="8852"/>
                  <a:pt x="21600" y="10835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9" name="Shape 1148"/>
          <p:cNvSpPr/>
          <p:nvPr/>
        </p:nvSpPr>
        <p:spPr>
          <a:xfrm>
            <a:off x="3554491" y="1484784"/>
            <a:ext cx="2157088" cy="21350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790"/>
                  <a:pt x="21147" y="14478"/>
                  <a:pt x="20150" y="16202"/>
                </a:cubicBezTo>
                <a:cubicBezTo>
                  <a:pt x="19157" y="17922"/>
                  <a:pt x="17918" y="19161"/>
                  <a:pt x="16198" y="20154"/>
                </a:cubicBezTo>
                <a:cubicBezTo>
                  <a:pt x="14478" y="21147"/>
                  <a:pt x="12786" y="21600"/>
                  <a:pt x="10796" y="21600"/>
                </a:cubicBezTo>
                <a:cubicBezTo>
                  <a:pt x="8810" y="21600"/>
                  <a:pt x="7122" y="21147"/>
                  <a:pt x="5402" y="20154"/>
                </a:cubicBezTo>
                <a:cubicBezTo>
                  <a:pt x="3678" y="19161"/>
                  <a:pt x="2439" y="17922"/>
                  <a:pt x="1446" y="16202"/>
                </a:cubicBezTo>
                <a:cubicBezTo>
                  <a:pt x="449" y="14478"/>
                  <a:pt x="0" y="12786"/>
                  <a:pt x="0" y="10800"/>
                </a:cubicBezTo>
                <a:cubicBezTo>
                  <a:pt x="0" y="8810"/>
                  <a:pt x="449" y="7122"/>
                  <a:pt x="1446" y="5402"/>
                </a:cubicBezTo>
                <a:cubicBezTo>
                  <a:pt x="2439" y="3678"/>
                  <a:pt x="3678" y="2439"/>
                  <a:pt x="5402" y="1446"/>
                </a:cubicBezTo>
                <a:cubicBezTo>
                  <a:pt x="7122" y="449"/>
                  <a:pt x="8814" y="0"/>
                  <a:pt x="10796" y="0"/>
                </a:cubicBezTo>
                <a:cubicBezTo>
                  <a:pt x="12786" y="0"/>
                  <a:pt x="14478" y="449"/>
                  <a:pt x="16198" y="1446"/>
                </a:cubicBezTo>
                <a:cubicBezTo>
                  <a:pt x="17918" y="2439"/>
                  <a:pt x="19157" y="3678"/>
                  <a:pt x="20150" y="5402"/>
                </a:cubicBezTo>
                <a:cubicBezTo>
                  <a:pt x="21147" y="7122"/>
                  <a:pt x="21600" y="8814"/>
                  <a:pt x="21600" y="10800"/>
                </a:cubicBezTo>
              </a:path>
            </a:pathLst>
          </a:custGeom>
          <a:ln w="38100">
            <a:solidFill>
              <a:schemeClr val="tx2"/>
            </a:solidFill>
            <a:miter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>
              <a:solidFill>
                <a:schemeClr val="tx2"/>
              </a:solidFill>
            </a:endParaRPr>
          </a:p>
        </p:txBody>
      </p:sp>
      <p:sp>
        <p:nvSpPr>
          <p:cNvPr id="175" name="Shape 1304"/>
          <p:cNvSpPr/>
          <p:nvPr/>
        </p:nvSpPr>
        <p:spPr>
          <a:xfrm>
            <a:off x="7445380" y="5345871"/>
            <a:ext cx="1714976" cy="915892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20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algn="ctr"/>
            <a:r>
              <a:rPr lang="en-US" sz="1600" b="1" dirty="0"/>
              <a:t>The Communication Process – Basic Model</a:t>
            </a:r>
            <a:endParaRPr sz="1600" b="1" dirty="0"/>
          </a:p>
        </p:txBody>
      </p:sp>
      <p:sp>
        <p:nvSpPr>
          <p:cNvPr id="185" name="Shape 1308"/>
          <p:cNvSpPr/>
          <p:nvPr/>
        </p:nvSpPr>
        <p:spPr>
          <a:xfrm>
            <a:off x="5579139" y="5345871"/>
            <a:ext cx="1694807" cy="915892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20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algn="ctr"/>
            <a:r>
              <a:rPr lang="en-US" sz="1600" b="1" dirty="0"/>
              <a:t>Understanding</a:t>
            </a:r>
            <a:r>
              <a:rPr lang="en-US" sz="1600" dirty="0" smtClean="0"/>
              <a:t> </a:t>
            </a:r>
            <a:r>
              <a:rPr lang="en-US" sz="1600" b="1" dirty="0"/>
              <a:t>Vs</a:t>
            </a:r>
            <a:r>
              <a:rPr lang="en-US" sz="1600" dirty="0" smtClean="0"/>
              <a:t>. </a:t>
            </a:r>
            <a:r>
              <a:rPr lang="en-US" sz="1600" b="1" dirty="0" smtClean="0"/>
              <a:t>Misunderstanding</a:t>
            </a:r>
            <a:r>
              <a:rPr lang="en-US" sz="1600" dirty="0" smtClean="0"/>
              <a:t> </a:t>
            </a:r>
            <a:endParaRPr sz="1600" dirty="0"/>
          </a:p>
        </p:txBody>
      </p:sp>
      <p:sp>
        <p:nvSpPr>
          <p:cNvPr id="186" name="Shape 1134"/>
          <p:cNvSpPr/>
          <p:nvPr/>
        </p:nvSpPr>
        <p:spPr>
          <a:xfrm>
            <a:off x="5755108" y="5993157"/>
            <a:ext cx="1407437" cy="515141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200">
                <a:solidFill>
                  <a:srgbClr val="726658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pPr algn="ctr"/>
            <a:r>
              <a:rPr lang="en-US" altLang="de-DE" dirty="0"/>
              <a:t>Factors </a:t>
            </a:r>
            <a:endParaRPr lang="en-US" altLang="de-DE" dirty="0" smtClean="0"/>
          </a:p>
          <a:p>
            <a:pPr algn="ctr"/>
            <a:r>
              <a:rPr lang="en-US" dirty="0" smtClean="0"/>
              <a:t>Barriers</a:t>
            </a:r>
          </a:p>
          <a:p>
            <a:pPr algn="ctr"/>
            <a:r>
              <a:rPr lang="en-US" dirty="0"/>
              <a:t>Overcoming </a:t>
            </a:r>
            <a:r>
              <a:rPr lang="en-US" dirty="0" smtClean="0"/>
              <a:t>Barriers</a:t>
            </a:r>
            <a:endParaRPr lang="en-US" altLang="de-DE" dirty="0"/>
          </a:p>
        </p:txBody>
      </p:sp>
      <p:grpSp>
        <p:nvGrpSpPr>
          <p:cNvPr id="190" name="bcgIcons_LargeGroupMeeting">
            <a:extLst>
              <a:ext uri="{FF2B5EF4-FFF2-40B4-BE49-F238E27FC236}">
                <a16:creationId xmlns:a16="http://schemas.microsoft.com/office/drawing/2014/main" id="{A2FD7D8A-1B63-45BD-BCF6-3D772C394A2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73832" y="1729351"/>
            <a:ext cx="1517904" cy="1645920"/>
            <a:chOff x="1682" y="0"/>
            <a:chExt cx="4316" cy="4320"/>
          </a:xfrm>
        </p:grpSpPr>
        <p:sp>
          <p:nvSpPr>
            <p:cNvPr id="191" name="AutoShape 33">
              <a:extLst>
                <a:ext uri="{FF2B5EF4-FFF2-40B4-BE49-F238E27FC236}">
                  <a16:creationId xmlns:a16="http://schemas.microsoft.com/office/drawing/2014/main" id="{4AD8728A-3137-4D5E-94A2-7EE2495C153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92" name="Freeform 35">
              <a:extLst>
                <a:ext uri="{FF2B5EF4-FFF2-40B4-BE49-F238E27FC236}">
                  <a16:creationId xmlns:a16="http://schemas.microsoft.com/office/drawing/2014/main" id="{9E8BEE28-E024-4AD9-AECF-5DD9B0801C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9" y="2160"/>
              <a:ext cx="3833" cy="735"/>
            </a:xfrm>
            <a:custGeom>
              <a:avLst/>
              <a:gdLst>
                <a:gd name="T0" fmla="*/ 353 w 2046"/>
                <a:gd name="T1" fmla="*/ 382 h 392"/>
                <a:gd name="T2" fmla="*/ 561 w 2046"/>
                <a:gd name="T3" fmla="*/ 165 h 392"/>
                <a:gd name="T4" fmla="*/ 663 w 2046"/>
                <a:gd name="T5" fmla="*/ 197 h 392"/>
                <a:gd name="T6" fmla="*/ 762 w 2046"/>
                <a:gd name="T7" fmla="*/ 165 h 392"/>
                <a:gd name="T8" fmla="*/ 895 w 2046"/>
                <a:gd name="T9" fmla="*/ 188 h 392"/>
                <a:gd name="T10" fmla="*/ 963 w 2046"/>
                <a:gd name="T11" fmla="*/ 392 h 392"/>
                <a:gd name="T12" fmla="*/ 1679 w 2046"/>
                <a:gd name="T13" fmla="*/ 392 h 392"/>
                <a:gd name="T14" fmla="*/ 1612 w 2046"/>
                <a:gd name="T15" fmla="*/ 188 h 392"/>
                <a:gd name="T16" fmla="*/ 1479 w 2046"/>
                <a:gd name="T17" fmla="*/ 165 h 392"/>
                <a:gd name="T18" fmla="*/ 1380 w 2046"/>
                <a:gd name="T19" fmla="*/ 197 h 392"/>
                <a:gd name="T20" fmla="*/ 1278 w 2046"/>
                <a:gd name="T21" fmla="*/ 165 h 392"/>
                <a:gd name="T22" fmla="*/ 1070 w 2046"/>
                <a:gd name="T23" fmla="*/ 382 h 392"/>
                <a:gd name="T24" fmla="*/ 1679 w 2046"/>
                <a:gd name="T25" fmla="*/ 392 h 392"/>
                <a:gd name="T26" fmla="*/ 1262 w 2046"/>
                <a:gd name="T27" fmla="*/ 122 h 392"/>
                <a:gd name="T28" fmla="*/ 1238 w 2046"/>
                <a:gd name="T29" fmla="*/ 84 h 392"/>
                <a:gd name="T30" fmla="*/ 1187 w 2046"/>
                <a:gd name="T31" fmla="*/ 5 h 392"/>
                <a:gd name="T32" fmla="*/ 1120 w 2046"/>
                <a:gd name="T33" fmla="*/ 3 h 392"/>
                <a:gd name="T34" fmla="*/ 1126 w 2046"/>
                <a:gd name="T35" fmla="*/ 148 h 392"/>
                <a:gd name="T36" fmla="*/ 546 w 2046"/>
                <a:gd name="T37" fmla="*/ 122 h 392"/>
                <a:gd name="T38" fmla="*/ 522 w 2046"/>
                <a:gd name="T39" fmla="*/ 84 h 392"/>
                <a:gd name="T40" fmla="*/ 471 w 2046"/>
                <a:gd name="T41" fmla="*/ 5 h 392"/>
                <a:gd name="T42" fmla="*/ 304 w 2046"/>
                <a:gd name="T43" fmla="*/ 48 h 392"/>
                <a:gd name="T44" fmla="*/ 70 w 2046"/>
                <a:gd name="T45" fmla="*/ 23 h 392"/>
                <a:gd name="T46" fmla="*/ 363 w 2046"/>
                <a:gd name="T47" fmla="*/ 201 h 392"/>
                <a:gd name="T48" fmla="*/ 804 w 2046"/>
                <a:gd name="T49" fmla="*/ 78 h 392"/>
                <a:gd name="T50" fmla="*/ 793 w 2046"/>
                <a:gd name="T51" fmla="*/ 103 h 392"/>
                <a:gd name="T52" fmla="*/ 778 w 2046"/>
                <a:gd name="T53" fmla="*/ 122 h 392"/>
                <a:gd name="T54" fmla="*/ 945 w 2046"/>
                <a:gd name="T55" fmla="*/ 175 h 392"/>
                <a:gd name="T56" fmla="*/ 917 w 2046"/>
                <a:gd name="T57" fmla="*/ 0 h 392"/>
                <a:gd name="T58" fmla="*/ 804 w 2046"/>
                <a:gd name="T59" fmla="*/ 78 h 392"/>
                <a:gd name="T60" fmla="*/ 1970 w 2046"/>
                <a:gd name="T61" fmla="*/ 23 h 392"/>
                <a:gd name="T62" fmla="*/ 1836 w 2046"/>
                <a:gd name="T63" fmla="*/ 3 h 392"/>
                <a:gd name="T64" fmla="*/ 1728 w 2046"/>
                <a:gd name="T65" fmla="*/ 105 h 392"/>
                <a:gd name="T66" fmla="*/ 1633 w 2046"/>
                <a:gd name="T67" fmla="*/ 0 h 392"/>
                <a:gd name="T68" fmla="*/ 1520 w 2046"/>
                <a:gd name="T69" fmla="*/ 78 h 392"/>
                <a:gd name="T70" fmla="*/ 1509 w 2046"/>
                <a:gd name="T71" fmla="*/ 103 h 392"/>
                <a:gd name="T72" fmla="*/ 1494 w 2046"/>
                <a:gd name="T73" fmla="*/ 122 h 392"/>
                <a:gd name="T74" fmla="*/ 1686 w 2046"/>
                <a:gd name="T75" fmla="*/ 222 h 392"/>
                <a:gd name="T76" fmla="*/ 1784 w 2046"/>
                <a:gd name="T77" fmla="*/ 222 h 392"/>
                <a:gd name="T78" fmla="*/ 2045 w 2046"/>
                <a:gd name="T79" fmla="*/ 21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046" h="392">
                  <a:moveTo>
                    <a:pt x="361" y="392"/>
                  </a:moveTo>
                  <a:cubicBezTo>
                    <a:pt x="355" y="392"/>
                    <a:pt x="352" y="387"/>
                    <a:pt x="353" y="382"/>
                  </a:cubicBezTo>
                  <a:cubicBezTo>
                    <a:pt x="363" y="357"/>
                    <a:pt x="390" y="205"/>
                    <a:pt x="428" y="188"/>
                  </a:cubicBezTo>
                  <a:cubicBezTo>
                    <a:pt x="475" y="166"/>
                    <a:pt x="561" y="165"/>
                    <a:pt x="561" y="165"/>
                  </a:cubicBezTo>
                  <a:cubicBezTo>
                    <a:pt x="561" y="165"/>
                    <a:pt x="561" y="165"/>
                    <a:pt x="561" y="165"/>
                  </a:cubicBezTo>
                  <a:cubicBezTo>
                    <a:pt x="561" y="165"/>
                    <a:pt x="596" y="197"/>
                    <a:pt x="663" y="197"/>
                  </a:cubicBezTo>
                  <a:cubicBezTo>
                    <a:pt x="660" y="197"/>
                    <a:pt x="660" y="197"/>
                    <a:pt x="660" y="197"/>
                  </a:cubicBezTo>
                  <a:cubicBezTo>
                    <a:pt x="728" y="197"/>
                    <a:pt x="762" y="165"/>
                    <a:pt x="762" y="165"/>
                  </a:cubicBezTo>
                  <a:cubicBezTo>
                    <a:pt x="762" y="165"/>
                    <a:pt x="762" y="165"/>
                    <a:pt x="762" y="165"/>
                  </a:cubicBezTo>
                  <a:cubicBezTo>
                    <a:pt x="762" y="165"/>
                    <a:pt x="849" y="166"/>
                    <a:pt x="895" y="188"/>
                  </a:cubicBezTo>
                  <a:cubicBezTo>
                    <a:pt x="933" y="205"/>
                    <a:pt x="961" y="357"/>
                    <a:pt x="970" y="382"/>
                  </a:cubicBezTo>
                  <a:cubicBezTo>
                    <a:pt x="972" y="387"/>
                    <a:pt x="968" y="392"/>
                    <a:pt x="963" y="392"/>
                  </a:cubicBezTo>
                  <a:lnTo>
                    <a:pt x="361" y="392"/>
                  </a:lnTo>
                  <a:close/>
                  <a:moveTo>
                    <a:pt x="1679" y="392"/>
                  </a:moveTo>
                  <a:cubicBezTo>
                    <a:pt x="1685" y="392"/>
                    <a:pt x="1688" y="387"/>
                    <a:pt x="1687" y="382"/>
                  </a:cubicBezTo>
                  <a:cubicBezTo>
                    <a:pt x="1677" y="357"/>
                    <a:pt x="1650" y="205"/>
                    <a:pt x="1612" y="188"/>
                  </a:cubicBezTo>
                  <a:cubicBezTo>
                    <a:pt x="1565" y="166"/>
                    <a:pt x="1479" y="165"/>
                    <a:pt x="1479" y="165"/>
                  </a:cubicBezTo>
                  <a:cubicBezTo>
                    <a:pt x="1479" y="165"/>
                    <a:pt x="1479" y="165"/>
                    <a:pt x="1479" y="165"/>
                  </a:cubicBezTo>
                  <a:cubicBezTo>
                    <a:pt x="1479" y="165"/>
                    <a:pt x="1444" y="197"/>
                    <a:pt x="1377" y="197"/>
                  </a:cubicBezTo>
                  <a:cubicBezTo>
                    <a:pt x="1380" y="197"/>
                    <a:pt x="1380" y="197"/>
                    <a:pt x="1380" y="197"/>
                  </a:cubicBezTo>
                  <a:cubicBezTo>
                    <a:pt x="1312" y="197"/>
                    <a:pt x="1278" y="165"/>
                    <a:pt x="1278" y="165"/>
                  </a:cubicBezTo>
                  <a:cubicBezTo>
                    <a:pt x="1278" y="165"/>
                    <a:pt x="1278" y="165"/>
                    <a:pt x="1278" y="165"/>
                  </a:cubicBezTo>
                  <a:cubicBezTo>
                    <a:pt x="1278" y="165"/>
                    <a:pt x="1191" y="166"/>
                    <a:pt x="1145" y="188"/>
                  </a:cubicBezTo>
                  <a:cubicBezTo>
                    <a:pt x="1107" y="205"/>
                    <a:pt x="1079" y="357"/>
                    <a:pt x="1070" y="382"/>
                  </a:cubicBezTo>
                  <a:cubicBezTo>
                    <a:pt x="1068" y="387"/>
                    <a:pt x="1072" y="392"/>
                    <a:pt x="1077" y="392"/>
                  </a:cubicBezTo>
                  <a:lnTo>
                    <a:pt x="1679" y="392"/>
                  </a:lnTo>
                  <a:close/>
                  <a:moveTo>
                    <a:pt x="1126" y="148"/>
                  </a:moveTo>
                  <a:cubicBezTo>
                    <a:pt x="1169" y="128"/>
                    <a:pt x="1233" y="123"/>
                    <a:pt x="1262" y="122"/>
                  </a:cubicBezTo>
                  <a:cubicBezTo>
                    <a:pt x="1257" y="117"/>
                    <a:pt x="1253" y="112"/>
                    <a:pt x="1250" y="108"/>
                  </a:cubicBezTo>
                  <a:cubicBezTo>
                    <a:pt x="1244" y="99"/>
                    <a:pt x="1241" y="94"/>
                    <a:pt x="1238" y="84"/>
                  </a:cubicBezTo>
                  <a:cubicBezTo>
                    <a:pt x="1237" y="82"/>
                    <a:pt x="1237" y="80"/>
                    <a:pt x="1235" y="76"/>
                  </a:cubicBezTo>
                  <a:cubicBezTo>
                    <a:pt x="1219" y="59"/>
                    <a:pt x="1199" y="30"/>
                    <a:pt x="1187" y="5"/>
                  </a:cubicBezTo>
                  <a:cubicBezTo>
                    <a:pt x="1158" y="1"/>
                    <a:pt x="1132" y="0"/>
                    <a:pt x="1123" y="0"/>
                  </a:cubicBezTo>
                  <a:cubicBezTo>
                    <a:pt x="1122" y="0"/>
                    <a:pt x="1120" y="1"/>
                    <a:pt x="1120" y="3"/>
                  </a:cubicBezTo>
                  <a:cubicBezTo>
                    <a:pt x="1095" y="175"/>
                    <a:pt x="1095" y="175"/>
                    <a:pt x="1095" y="175"/>
                  </a:cubicBezTo>
                  <a:cubicBezTo>
                    <a:pt x="1104" y="162"/>
                    <a:pt x="1114" y="153"/>
                    <a:pt x="1126" y="148"/>
                  </a:cubicBezTo>
                  <a:close/>
                  <a:moveTo>
                    <a:pt x="410" y="148"/>
                  </a:moveTo>
                  <a:cubicBezTo>
                    <a:pt x="453" y="128"/>
                    <a:pt x="517" y="123"/>
                    <a:pt x="546" y="122"/>
                  </a:cubicBezTo>
                  <a:cubicBezTo>
                    <a:pt x="541" y="117"/>
                    <a:pt x="537" y="112"/>
                    <a:pt x="534" y="108"/>
                  </a:cubicBezTo>
                  <a:cubicBezTo>
                    <a:pt x="527" y="99"/>
                    <a:pt x="525" y="94"/>
                    <a:pt x="522" y="84"/>
                  </a:cubicBezTo>
                  <a:cubicBezTo>
                    <a:pt x="521" y="82"/>
                    <a:pt x="520" y="80"/>
                    <a:pt x="519" y="76"/>
                  </a:cubicBezTo>
                  <a:cubicBezTo>
                    <a:pt x="503" y="59"/>
                    <a:pt x="482" y="30"/>
                    <a:pt x="471" y="5"/>
                  </a:cubicBezTo>
                  <a:cubicBezTo>
                    <a:pt x="436" y="0"/>
                    <a:pt x="404" y="0"/>
                    <a:pt x="404" y="0"/>
                  </a:cubicBezTo>
                  <a:cubicBezTo>
                    <a:pt x="404" y="0"/>
                    <a:pt x="370" y="47"/>
                    <a:pt x="304" y="48"/>
                  </a:cubicBezTo>
                  <a:cubicBezTo>
                    <a:pt x="237" y="47"/>
                    <a:pt x="203" y="0"/>
                    <a:pt x="203" y="0"/>
                  </a:cubicBezTo>
                  <a:cubicBezTo>
                    <a:pt x="203" y="0"/>
                    <a:pt x="117" y="1"/>
                    <a:pt x="70" y="23"/>
                  </a:cubicBezTo>
                  <a:cubicBezTo>
                    <a:pt x="37" y="38"/>
                    <a:pt x="12" y="154"/>
                    <a:pt x="0" y="201"/>
                  </a:cubicBezTo>
                  <a:cubicBezTo>
                    <a:pt x="363" y="201"/>
                    <a:pt x="363" y="201"/>
                    <a:pt x="363" y="201"/>
                  </a:cubicBezTo>
                  <a:cubicBezTo>
                    <a:pt x="376" y="174"/>
                    <a:pt x="391" y="157"/>
                    <a:pt x="410" y="148"/>
                  </a:cubicBezTo>
                  <a:close/>
                  <a:moveTo>
                    <a:pt x="804" y="78"/>
                  </a:moveTo>
                  <a:cubicBezTo>
                    <a:pt x="803" y="81"/>
                    <a:pt x="802" y="83"/>
                    <a:pt x="802" y="84"/>
                  </a:cubicBezTo>
                  <a:cubicBezTo>
                    <a:pt x="799" y="92"/>
                    <a:pt x="798" y="95"/>
                    <a:pt x="793" y="103"/>
                  </a:cubicBezTo>
                  <a:cubicBezTo>
                    <a:pt x="792" y="105"/>
                    <a:pt x="792" y="105"/>
                    <a:pt x="792" y="105"/>
                  </a:cubicBezTo>
                  <a:cubicBezTo>
                    <a:pt x="789" y="110"/>
                    <a:pt x="784" y="116"/>
                    <a:pt x="778" y="122"/>
                  </a:cubicBezTo>
                  <a:cubicBezTo>
                    <a:pt x="807" y="123"/>
                    <a:pt x="871" y="128"/>
                    <a:pt x="914" y="148"/>
                  </a:cubicBezTo>
                  <a:cubicBezTo>
                    <a:pt x="926" y="153"/>
                    <a:pt x="936" y="162"/>
                    <a:pt x="945" y="175"/>
                  </a:cubicBezTo>
                  <a:cubicBezTo>
                    <a:pt x="920" y="3"/>
                    <a:pt x="920" y="3"/>
                    <a:pt x="920" y="3"/>
                  </a:cubicBezTo>
                  <a:cubicBezTo>
                    <a:pt x="920" y="1"/>
                    <a:pt x="918" y="0"/>
                    <a:pt x="917" y="0"/>
                  </a:cubicBezTo>
                  <a:cubicBezTo>
                    <a:pt x="908" y="0"/>
                    <a:pt x="882" y="1"/>
                    <a:pt x="853" y="5"/>
                  </a:cubicBezTo>
                  <a:cubicBezTo>
                    <a:pt x="842" y="28"/>
                    <a:pt x="823" y="59"/>
                    <a:pt x="804" y="78"/>
                  </a:cubicBezTo>
                  <a:close/>
                  <a:moveTo>
                    <a:pt x="2045" y="212"/>
                  </a:moveTo>
                  <a:cubicBezTo>
                    <a:pt x="2035" y="186"/>
                    <a:pt x="2008" y="40"/>
                    <a:pt x="1970" y="23"/>
                  </a:cubicBezTo>
                  <a:cubicBezTo>
                    <a:pt x="1928" y="3"/>
                    <a:pt x="1855" y="0"/>
                    <a:pt x="1839" y="0"/>
                  </a:cubicBezTo>
                  <a:cubicBezTo>
                    <a:pt x="1838" y="0"/>
                    <a:pt x="1836" y="1"/>
                    <a:pt x="1836" y="3"/>
                  </a:cubicBezTo>
                  <a:cubicBezTo>
                    <a:pt x="1744" y="105"/>
                    <a:pt x="1744" y="105"/>
                    <a:pt x="1744" y="105"/>
                  </a:cubicBezTo>
                  <a:cubicBezTo>
                    <a:pt x="1740" y="111"/>
                    <a:pt x="1732" y="111"/>
                    <a:pt x="1728" y="105"/>
                  </a:cubicBezTo>
                  <a:cubicBezTo>
                    <a:pt x="1636" y="3"/>
                    <a:pt x="1636" y="3"/>
                    <a:pt x="1636" y="3"/>
                  </a:cubicBezTo>
                  <a:cubicBezTo>
                    <a:pt x="1636" y="1"/>
                    <a:pt x="1635" y="0"/>
                    <a:pt x="1633" y="0"/>
                  </a:cubicBezTo>
                  <a:cubicBezTo>
                    <a:pt x="1625" y="0"/>
                    <a:pt x="1598" y="1"/>
                    <a:pt x="1569" y="5"/>
                  </a:cubicBezTo>
                  <a:cubicBezTo>
                    <a:pt x="1559" y="28"/>
                    <a:pt x="1539" y="59"/>
                    <a:pt x="1520" y="78"/>
                  </a:cubicBezTo>
                  <a:cubicBezTo>
                    <a:pt x="1519" y="81"/>
                    <a:pt x="1519" y="83"/>
                    <a:pt x="1518" y="84"/>
                  </a:cubicBezTo>
                  <a:cubicBezTo>
                    <a:pt x="1515" y="92"/>
                    <a:pt x="1514" y="95"/>
                    <a:pt x="1509" y="103"/>
                  </a:cubicBezTo>
                  <a:cubicBezTo>
                    <a:pt x="1508" y="105"/>
                    <a:pt x="1508" y="105"/>
                    <a:pt x="1508" y="105"/>
                  </a:cubicBezTo>
                  <a:cubicBezTo>
                    <a:pt x="1505" y="110"/>
                    <a:pt x="1500" y="116"/>
                    <a:pt x="1494" y="122"/>
                  </a:cubicBezTo>
                  <a:cubicBezTo>
                    <a:pt x="1524" y="123"/>
                    <a:pt x="1588" y="128"/>
                    <a:pt x="1630" y="148"/>
                  </a:cubicBezTo>
                  <a:cubicBezTo>
                    <a:pt x="1653" y="159"/>
                    <a:pt x="1670" y="183"/>
                    <a:pt x="1686" y="222"/>
                  </a:cubicBezTo>
                  <a:cubicBezTo>
                    <a:pt x="1688" y="222"/>
                    <a:pt x="1688" y="222"/>
                    <a:pt x="1688" y="222"/>
                  </a:cubicBezTo>
                  <a:cubicBezTo>
                    <a:pt x="1784" y="222"/>
                    <a:pt x="1784" y="222"/>
                    <a:pt x="1784" y="222"/>
                  </a:cubicBezTo>
                  <a:cubicBezTo>
                    <a:pt x="2038" y="222"/>
                    <a:pt x="2038" y="222"/>
                    <a:pt x="2038" y="222"/>
                  </a:cubicBezTo>
                  <a:cubicBezTo>
                    <a:pt x="2043" y="222"/>
                    <a:pt x="2046" y="217"/>
                    <a:pt x="2045" y="212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93" name="Freeform 36">
              <a:extLst>
                <a:ext uri="{FF2B5EF4-FFF2-40B4-BE49-F238E27FC236}">
                  <a16:creationId xmlns:a16="http://schemas.microsoft.com/office/drawing/2014/main" id="{E74F14F1-CFDF-47CE-B213-4A6E4774DF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36" y="1279"/>
              <a:ext cx="4025" cy="1427"/>
            </a:xfrm>
            <a:custGeom>
              <a:avLst/>
              <a:gdLst>
                <a:gd name="T0" fmla="*/ 1233 w 2149"/>
                <a:gd name="T1" fmla="*/ 232 h 761"/>
                <a:gd name="T2" fmla="*/ 1201 w 2149"/>
                <a:gd name="T3" fmla="*/ 259 h 761"/>
                <a:gd name="T4" fmla="*/ 977 w 2149"/>
                <a:gd name="T5" fmla="*/ 139 h 761"/>
                <a:gd name="T6" fmla="*/ 925 w 2149"/>
                <a:gd name="T7" fmla="*/ 255 h 761"/>
                <a:gd name="T8" fmla="*/ 908 w 2149"/>
                <a:gd name="T9" fmla="*/ 234 h 761"/>
                <a:gd name="T10" fmla="*/ 1070 w 2149"/>
                <a:gd name="T11" fmla="*/ 0 h 761"/>
                <a:gd name="T12" fmla="*/ 1233 w 2149"/>
                <a:gd name="T13" fmla="*/ 232 h 761"/>
                <a:gd name="T14" fmla="*/ 354 w 2149"/>
                <a:gd name="T15" fmla="*/ 0 h 761"/>
                <a:gd name="T16" fmla="*/ 192 w 2149"/>
                <a:gd name="T17" fmla="*/ 234 h 761"/>
                <a:gd name="T18" fmla="*/ 208 w 2149"/>
                <a:gd name="T19" fmla="*/ 255 h 761"/>
                <a:gd name="T20" fmla="*/ 261 w 2149"/>
                <a:gd name="T21" fmla="*/ 139 h 761"/>
                <a:gd name="T22" fmla="*/ 485 w 2149"/>
                <a:gd name="T23" fmla="*/ 259 h 761"/>
                <a:gd name="T24" fmla="*/ 516 w 2149"/>
                <a:gd name="T25" fmla="*/ 232 h 761"/>
                <a:gd name="T26" fmla="*/ 523 w 2149"/>
                <a:gd name="T27" fmla="*/ 173 h 761"/>
                <a:gd name="T28" fmla="*/ 712 w 2149"/>
                <a:gd name="T29" fmla="*/ 218 h 761"/>
                <a:gd name="T30" fmla="*/ 554 w 2149"/>
                <a:gd name="T31" fmla="*/ 440 h 761"/>
                <a:gd name="T32" fmla="*/ 607 w 2149"/>
                <a:gd name="T33" fmla="*/ 522 h 761"/>
                <a:gd name="T34" fmla="*/ 712 w 2149"/>
                <a:gd name="T35" fmla="*/ 597 h 761"/>
                <a:gd name="T36" fmla="*/ 817 w 2149"/>
                <a:gd name="T37" fmla="*/ 522 h 761"/>
                <a:gd name="T38" fmla="*/ 868 w 2149"/>
                <a:gd name="T39" fmla="*/ 445 h 761"/>
                <a:gd name="T40" fmla="*/ 1056 w 2149"/>
                <a:gd name="T41" fmla="*/ 535 h 761"/>
                <a:gd name="T42" fmla="*/ 1033 w 2149"/>
                <a:gd name="T43" fmla="*/ 671 h 761"/>
                <a:gd name="T44" fmla="*/ 1084 w 2149"/>
                <a:gd name="T45" fmla="*/ 538 h 761"/>
                <a:gd name="T46" fmla="*/ 1106 w 2149"/>
                <a:gd name="T47" fmla="*/ 500 h 761"/>
                <a:gd name="T48" fmla="*/ 1071 w 2149"/>
                <a:gd name="T49" fmla="*/ 491 h 761"/>
                <a:gd name="T50" fmla="*/ 1034 w 2149"/>
                <a:gd name="T51" fmla="*/ 500 h 761"/>
                <a:gd name="T52" fmla="*/ 1597 w 2149"/>
                <a:gd name="T53" fmla="*/ 391 h 761"/>
                <a:gd name="T54" fmla="*/ 1259 w 2149"/>
                <a:gd name="T55" fmla="*/ 391 h 761"/>
                <a:gd name="T56" fmla="*/ 1271 w 2149"/>
                <a:gd name="T57" fmla="*/ 442 h 761"/>
                <a:gd name="T58" fmla="*/ 1336 w 2149"/>
                <a:gd name="T59" fmla="*/ 553 h 761"/>
                <a:gd name="T60" fmla="*/ 1520 w 2149"/>
                <a:gd name="T61" fmla="*/ 553 h 761"/>
                <a:gd name="T62" fmla="*/ 1584 w 2149"/>
                <a:gd name="T63" fmla="*/ 446 h 761"/>
                <a:gd name="T64" fmla="*/ 1597 w 2149"/>
                <a:gd name="T65" fmla="*/ 391 h 761"/>
                <a:gd name="T66" fmla="*/ 1786 w 2149"/>
                <a:gd name="T67" fmla="*/ 0 h 761"/>
                <a:gd name="T68" fmla="*/ 1624 w 2149"/>
                <a:gd name="T69" fmla="*/ 246 h 761"/>
                <a:gd name="T70" fmla="*/ 1691 w 2149"/>
                <a:gd name="T71" fmla="*/ 140 h 761"/>
                <a:gd name="T72" fmla="*/ 1919 w 2149"/>
                <a:gd name="T73" fmla="*/ 260 h 761"/>
                <a:gd name="T74" fmla="*/ 1931 w 2149"/>
                <a:gd name="T75" fmla="*/ 261 h 761"/>
                <a:gd name="T76" fmla="*/ 1952 w 2149"/>
                <a:gd name="T77" fmla="*/ 233 h 761"/>
                <a:gd name="T78" fmla="*/ 1958 w 2149"/>
                <a:gd name="T79" fmla="*/ 175 h 761"/>
                <a:gd name="T80" fmla="*/ 22 w 2149"/>
                <a:gd name="T81" fmla="*/ 717 h 761"/>
                <a:gd name="T82" fmla="*/ 22 w 2149"/>
                <a:gd name="T83" fmla="*/ 761 h 761"/>
                <a:gd name="T84" fmla="*/ 395 w 2149"/>
                <a:gd name="T85" fmla="*/ 717 h 761"/>
                <a:gd name="T86" fmla="*/ 1745 w 2149"/>
                <a:gd name="T87" fmla="*/ 717 h 761"/>
                <a:gd name="T88" fmla="*/ 2127 w 2149"/>
                <a:gd name="T89" fmla="*/ 761 h 761"/>
                <a:gd name="T90" fmla="*/ 2127 w 2149"/>
                <a:gd name="T91" fmla="*/ 717 h 761"/>
                <a:gd name="T92" fmla="*/ 1029 w 2149"/>
                <a:gd name="T93" fmla="*/ 717 h 761"/>
                <a:gd name="T94" fmla="*/ 1098 w 2149"/>
                <a:gd name="T95" fmla="*/ 761 h 761"/>
                <a:gd name="T96" fmla="*/ 1644 w 2149"/>
                <a:gd name="T97" fmla="*/ 449 h 761"/>
                <a:gd name="T98" fmla="*/ 1686 w 2149"/>
                <a:gd name="T99" fmla="*/ 445 h 761"/>
                <a:gd name="T100" fmla="*/ 1636 w 2149"/>
                <a:gd name="T101" fmla="*/ 304 h 761"/>
                <a:gd name="T102" fmla="*/ 1641 w 2149"/>
                <a:gd name="T103" fmla="*/ 391 h 761"/>
                <a:gd name="T104" fmla="*/ 1644 w 2149"/>
                <a:gd name="T105" fmla="*/ 449 h 761"/>
                <a:gd name="T106" fmla="*/ 1929 w 2149"/>
                <a:gd name="T107" fmla="*/ 449 h 761"/>
                <a:gd name="T108" fmla="*/ 1936 w 2149"/>
                <a:gd name="T109" fmla="*/ 304 h 761"/>
                <a:gd name="T110" fmla="*/ 1887 w 2149"/>
                <a:gd name="T111" fmla="*/ 445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49" h="761">
                  <a:moveTo>
                    <a:pt x="1233" y="232"/>
                  </a:moveTo>
                  <a:cubicBezTo>
                    <a:pt x="1233" y="232"/>
                    <a:pt x="1233" y="232"/>
                    <a:pt x="1233" y="232"/>
                  </a:cubicBezTo>
                  <a:cubicBezTo>
                    <a:pt x="1232" y="232"/>
                    <a:pt x="1229" y="241"/>
                    <a:pt x="1214" y="259"/>
                  </a:cubicBezTo>
                  <a:cubicBezTo>
                    <a:pt x="1214" y="259"/>
                    <a:pt x="1214" y="259"/>
                    <a:pt x="1201" y="259"/>
                  </a:cubicBezTo>
                  <a:cubicBezTo>
                    <a:pt x="1201" y="259"/>
                    <a:pt x="1201" y="252"/>
                    <a:pt x="1200" y="131"/>
                  </a:cubicBezTo>
                  <a:cubicBezTo>
                    <a:pt x="1180" y="228"/>
                    <a:pt x="977" y="139"/>
                    <a:pt x="977" y="139"/>
                  </a:cubicBezTo>
                  <a:cubicBezTo>
                    <a:pt x="927" y="155"/>
                    <a:pt x="936" y="256"/>
                    <a:pt x="936" y="256"/>
                  </a:cubicBezTo>
                  <a:cubicBezTo>
                    <a:pt x="936" y="256"/>
                    <a:pt x="936" y="256"/>
                    <a:pt x="925" y="255"/>
                  </a:cubicBezTo>
                  <a:cubicBezTo>
                    <a:pt x="925" y="255"/>
                    <a:pt x="925" y="249"/>
                    <a:pt x="908" y="234"/>
                  </a:cubicBezTo>
                  <a:cubicBezTo>
                    <a:pt x="908" y="234"/>
                    <a:pt x="908" y="234"/>
                    <a:pt x="908" y="234"/>
                  </a:cubicBezTo>
                  <a:cubicBezTo>
                    <a:pt x="901" y="215"/>
                    <a:pt x="901" y="195"/>
                    <a:pt x="901" y="173"/>
                  </a:cubicBezTo>
                  <a:cubicBezTo>
                    <a:pt x="901" y="78"/>
                    <a:pt x="974" y="0"/>
                    <a:pt x="1070" y="0"/>
                  </a:cubicBezTo>
                  <a:cubicBezTo>
                    <a:pt x="1166" y="0"/>
                    <a:pt x="1239" y="78"/>
                    <a:pt x="1239" y="173"/>
                  </a:cubicBezTo>
                  <a:cubicBezTo>
                    <a:pt x="1239" y="194"/>
                    <a:pt x="1239" y="214"/>
                    <a:pt x="1233" y="232"/>
                  </a:cubicBezTo>
                  <a:close/>
                  <a:moveTo>
                    <a:pt x="523" y="173"/>
                  </a:moveTo>
                  <a:cubicBezTo>
                    <a:pt x="523" y="78"/>
                    <a:pt x="449" y="0"/>
                    <a:pt x="354" y="0"/>
                  </a:cubicBezTo>
                  <a:cubicBezTo>
                    <a:pt x="258" y="0"/>
                    <a:pt x="185" y="78"/>
                    <a:pt x="185" y="173"/>
                  </a:cubicBezTo>
                  <a:cubicBezTo>
                    <a:pt x="185" y="195"/>
                    <a:pt x="185" y="215"/>
                    <a:pt x="192" y="234"/>
                  </a:cubicBezTo>
                  <a:cubicBezTo>
                    <a:pt x="192" y="234"/>
                    <a:pt x="192" y="234"/>
                    <a:pt x="192" y="234"/>
                  </a:cubicBezTo>
                  <a:cubicBezTo>
                    <a:pt x="208" y="249"/>
                    <a:pt x="208" y="255"/>
                    <a:pt x="208" y="255"/>
                  </a:cubicBezTo>
                  <a:cubicBezTo>
                    <a:pt x="220" y="256"/>
                    <a:pt x="220" y="256"/>
                    <a:pt x="220" y="256"/>
                  </a:cubicBezTo>
                  <a:cubicBezTo>
                    <a:pt x="220" y="256"/>
                    <a:pt x="211" y="155"/>
                    <a:pt x="261" y="139"/>
                  </a:cubicBezTo>
                  <a:cubicBezTo>
                    <a:pt x="261" y="139"/>
                    <a:pt x="464" y="228"/>
                    <a:pt x="483" y="131"/>
                  </a:cubicBezTo>
                  <a:cubicBezTo>
                    <a:pt x="485" y="252"/>
                    <a:pt x="485" y="259"/>
                    <a:pt x="485" y="259"/>
                  </a:cubicBezTo>
                  <a:cubicBezTo>
                    <a:pt x="497" y="259"/>
                    <a:pt x="497" y="259"/>
                    <a:pt x="497" y="259"/>
                  </a:cubicBezTo>
                  <a:cubicBezTo>
                    <a:pt x="513" y="241"/>
                    <a:pt x="516" y="232"/>
                    <a:pt x="516" y="232"/>
                  </a:cubicBezTo>
                  <a:cubicBezTo>
                    <a:pt x="516" y="232"/>
                    <a:pt x="516" y="232"/>
                    <a:pt x="517" y="232"/>
                  </a:cubicBezTo>
                  <a:cubicBezTo>
                    <a:pt x="523" y="214"/>
                    <a:pt x="523" y="194"/>
                    <a:pt x="523" y="173"/>
                  </a:cubicBezTo>
                  <a:close/>
                  <a:moveTo>
                    <a:pt x="881" y="391"/>
                  </a:moveTo>
                  <a:cubicBezTo>
                    <a:pt x="881" y="296"/>
                    <a:pt x="807" y="218"/>
                    <a:pt x="712" y="218"/>
                  </a:cubicBezTo>
                  <a:cubicBezTo>
                    <a:pt x="616" y="218"/>
                    <a:pt x="543" y="296"/>
                    <a:pt x="543" y="391"/>
                  </a:cubicBezTo>
                  <a:cubicBezTo>
                    <a:pt x="543" y="408"/>
                    <a:pt x="551" y="425"/>
                    <a:pt x="554" y="440"/>
                  </a:cubicBezTo>
                  <a:cubicBezTo>
                    <a:pt x="555" y="441"/>
                    <a:pt x="554" y="441"/>
                    <a:pt x="555" y="442"/>
                  </a:cubicBezTo>
                  <a:cubicBezTo>
                    <a:pt x="557" y="459"/>
                    <a:pt x="594" y="513"/>
                    <a:pt x="607" y="522"/>
                  </a:cubicBezTo>
                  <a:cubicBezTo>
                    <a:pt x="617" y="548"/>
                    <a:pt x="612" y="541"/>
                    <a:pt x="620" y="553"/>
                  </a:cubicBezTo>
                  <a:cubicBezTo>
                    <a:pt x="630" y="568"/>
                    <a:pt x="680" y="597"/>
                    <a:pt x="712" y="597"/>
                  </a:cubicBezTo>
                  <a:cubicBezTo>
                    <a:pt x="744" y="597"/>
                    <a:pt x="795" y="569"/>
                    <a:pt x="804" y="553"/>
                  </a:cubicBezTo>
                  <a:cubicBezTo>
                    <a:pt x="812" y="538"/>
                    <a:pt x="806" y="548"/>
                    <a:pt x="817" y="522"/>
                  </a:cubicBezTo>
                  <a:cubicBezTo>
                    <a:pt x="836" y="509"/>
                    <a:pt x="867" y="454"/>
                    <a:pt x="868" y="446"/>
                  </a:cubicBezTo>
                  <a:cubicBezTo>
                    <a:pt x="868" y="445"/>
                    <a:pt x="868" y="445"/>
                    <a:pt x="868" y="445"/>
                  </a:cubicBezTo>
                  <a:cubicBezTo>
                    <a:pt x="873" y="428"/>
                    <a:pt x="881" y="410"/>
                    <a:pt x="881" y="391"/>
                  </a:cubicBezTo>
                  <a:close/>
                  <a:moveTo>
                    <a:pt x="1056" y="535"/>
                  </a:moveTo>
                  <a:cubicBezTo>
                    <a:pt x="1056" y="536"/>
                    <a:pt x="1056" y="537"/>
                    <a:pt x="1056" y="538"/>
                  </a:cubicBezTo>
                  <a:cubicBezTo>
                    <a:pt x="1033" y="671"/>
                    <a:pt x="1033" y="671"/>
                    <a:pt x="1033" y="671"/>
                  </a:cubicBezTo>
                  <a:cubicBezTo>
                    <a:pt x="1105" y="671"/>
                    <a:pt x="1105" y="671"/>
                    <a:pt x="1105" y="671"/>
                  </a:cubicBezTo>
                  <a:cubicBezTo>
                    <a:pt x="1084" y="538"/>
                    <a:pt x="1084" y="538"/>
                    <a:pt x="1084" y="538"/>
                  </a:cubicBezTo>
                  <a:cubicBezTo>
                    <a:pt x="1084" y="537"/>
                    <a:pt x="1084" y="536"/>
                    <a:pt x="1084" y="535"/>
                  </a:cubicBezTo>
                  <a:cubicBezTo>
                    <a:pt x="1106" y="500"/>
                    <a:pt x="1106" y="500"/>
                    <a:pt x="1106" y="500"/>
                  </a:cubicBezTo>
                  <a:cubicBezTo>
                    <a:pt x="1107" y="498"/>
                    <a:pt x="1106" y="496"/>
                    <a:pt x="1104" y="496"/>
                  </a:cubicBezTo>
                  <a:cubicBezTo>
                    <a:pt x="1097" y="494"/>
                    <a:pt x="1083" y="491"/>
                    <a:pt x="1071" y="491"/>
                  </a:cubicBezTo>
                  <a:cubicBezTo>
                    <a:pt x="1059" y="491"/>
                    <a:pt x="1044" y="494"/>
                    <a:pt x="1036" y="496"/>
                  </a:cubicBezTo>
                  <a:cubicBezTo>
                    <a:pt x="1034" y="496"/>
                    <a:pt x="1033" y="499"/>
                    <a:pt x="1034" y="500"/>
                  </a:cubicBezTo>
                  <a:lnTo>
                    <a:pt x="1056" y="535"/>
                  </a:lnTo>
                  <a:close/>
                  <a:moveTo>
                    <a:pt x="1597" y="391"/>
                  </a:moveTo>
                  <a:cubicBezTo>
                    <a:pt x="1597" y="296"/>
                    <a:pt x="1524" y="218"/>
                    <a:pt x="1428" y="218"/>
                  </a:cubicBezTo>
                  <a:cubicBezTo>
                    <a:pt x="1333" y="218"/>
                    <a:pt x="1259" y="296"/>
                    <a:pt x="1259" y="391"/>
                  </a:cubicBezTo>
                  <a:cubicBezTo>
                    <a:pt x="1259" y="408"/>
                    <a:pt x="1267" y="425"/>
                    <a:pt x="1271" y="440"/>
                  </a:cubicBezTo>
                  <a:cubicBezTo>
                    <a:pt x="1271" y="441"/>
                    <a:pt x="1271" y="441"/>
                    <a:pt x="1271" y="442"/>
                  </a:cubicBezTo>
                  <a:cubicBezTo>
                    <a:pt x="1274" y="459"/>
                    <a:pt x="1310" y="513"/>
                    <a:pt x="1323" y="522"/>
                  </a:cubicBezTo>
                  <a:cubicBezTo>
                    <a:pt x="1333" y="548"/>
                    <a:pt x="1328" y="541"/>
                    <a:pt x="1336" y="553"/>
                  </a:cubicBezTo>
                  <a:cubicBezTo>
                    <a:pt x="1346" y="568"/>
                    <a:pt x="1396" y="597"/>
                    <a:pt x="1428" y="597"/>
                  </a:cubicBezTo>
                  <a:cubicBezTo>
                    <a:pt x="1460" y="597"/>
                    <a:pt x="1511" y="569"/>
                    <a:pt x="1520" y="553"/>
                  </a:cubicBezTo>
                  <a:cubicBezTo>
                    <a:pt x="1529" y="538"/>
                    <a:pt x="1523" y="548"/>
                    <a:pt x="1533" y="522"/>
                  </a:cubicBezTo>
                  <a:cubicBezTo>
                    <a:pt x="1552" y="509"/>
                    <a:pt x="1583" y="454"/>
                    <a:pt x="1584" y="446"/>
                  </a:cubicBezTo>
                  <a:cubicBezTo>
                    <a:pt x="1584" y="445"/>
                    <a:pt x="1584" y="445"/>
                    <a:pt x="1584" y="445"/>
                  </a:cubicBezTo>
                  <a:cubicBezTo>
                    <a:pt x="1589" y="428"/>
                    <a:pt x="1597" y="410"/>
                    <a:pt x="1597" y="391"/>
                  </a:cubicBezTo>
                  <a:close/>
                  <a:moveTo>
                    <a:pt x="1958" y="175"/>
                  </a:moveTo>
                  <a:cubicBezTo>
                    <a:pt x="1958" y="78"/>
                    <a:pt x="1883" y="0"/>
                    <a:pt x="1786" y="0"/>
                  </a:cubicBezTo>
                  <a:cubicBezTo>
                    <a:pt x="1689" y="0"/>
                    <a:pt x="1614" y="78"/>
                    <a:pt x="1614" y="175"/>
                  </a:cubicBezTo>
                  <a:cubicBezTo>
                    <a:pt x="1614" y="196"/>
                    <a:pt x="1617" y="227"/>
                    <a:pt x="1624" y="246"/>
                  </a:cubicBezTo>
                  <a:cubicBezTo>
                    <a:pt x="1624" y="246"/>
                    <a:pt x="1624" y="246"/>
                    <a:pt x="1624" y="246"/>
                  </a:cubicBezTo>
                  <a:cubicBezTo>
                    <a:pt x="1641" y="261"/>
                    <a:pt x="1641" y="157"/>
                    <a:pt x="1691" y="140"/>
                  </a:cubicBezTo>
                  <a:cubicBezTo>
                    <a:pt x="1692" y="140"/>
                    <a:pt x="1692" y="140"/>
                    <a:pt x="1693" y="141"/>
                  </a:cubicBezTo>
                  <a:cubicBezTo>
                    <a:pt x="1919" y="260"/>
                    <a:pt x="1919" y="260"/>
                    <a:pt x="1919" y="260"/>
                  </a:cubicBezTo>
                  <a:cubicBezTo>
                    <a:pt x="1920" y="261"/>
                    <a:pt x="1920" y="261"/>
                    <a:pt x="1920" y="261"/>
                  </a:cubicBezTo>
                  <a:cubicBezTo>
                    <a:pt x="1931" y="261"/>
                    <a:pt x="1931" y="261"/>
                    <a:pt x="1931" y="261"/>
                  </a:cubicBezTo>
                  <a:cubicBezTo>
                    <a:pt x="1932" y="261"/>
                    <a:pt x="1933" y="260"/>
                    <a:pt x="1933" y="260"/>
                  </a:cubicBezTo>
                  <a:cubicBezTo>
                    <a:pt x="1949" y="242"/>
                    <a:pt x="1951" y="234"/>
                    <a:pt x="1952" y="233"/>
                  </a:cubicBezTo>
                  <a:cubicBezTo>
                    <a:pt x="1952" y="233"/>
                    <a:pt x="1952" y="234"/>
                    <a:pt x="1952" y="234"/>
                  </a:cubicBezTo>
                  <a:cubicBezTo>
                    <a:pt x="1959" y="215"/>
                    <a:pt x="1958" y="195"/>
                    <a:pt x="1958" y="175"/>
                  </a:cubicBezTo>
                  <a:close/>
                  <a:moveTo>
                    <a:pt x="395" y="717"/>
                  </a:moveTo>
                  <a:cubicBezTo>
                    <a:pt x="22" y="717"/>
                    <a:pt x="22" y="717"/>
                    <a:pt x="22" y="717"/>
                  </a:cubicBezTo>
                  <a:cubicBezTo>
                    <a:pt x="9" y="717"/>
                    <a:pt x="0" y="727"/>
                    <a:pt x="0" y="739"/>
                  </a:cubicBezTo>
                  <a:cubicBezTo>
                    <a:pt x="0" y="752"/>
                    <a:pt x="9" y="761"/>
                    <a:pt x="22" y="761"/>
                  </a:cubicBezTo>
                  <a:cubicBezTo>
                    <a:pt x="382" y="761"/>
                    <a:pt x="382" y="761"/>
                    <a:pt x="382" y="761"/>
                  </a:cubicBezTo>
                  <a:cubicBezTo>
                    <a:pt x="386" y="745"/>
                    <a:pt x="391" y="731"/>
                    <a:pt x="395" y="717"/>
                  </a:cubicBezTo>
                  <a:close/>
                  <a:moveTo>
                    <a:pt x="2127" y="717"/>
                  </a:moveTo>
                  <a:cubicBezTo>
                    <a:pt x="1745" y="717"/>
                    <a:pt x="1745" y="717"/>
                    <a:pt x="1745" y="717"/>
                  </a:cubicBezTo>
                  <a:cubicBezTo>
                    <a:pt x="1749" y="731"/>
                    <a:pt x="1754" y="745"/>
                    <a:pt x="1758" y="761"/>
                  </a:cubicBezTo>
                  <a:cubicBezTo>
                    <a:pt x="2127" y="761"/>
                    <a:pt x="2127" y="761"/>
                    <a:pt x="2127" y="761"/>
                  </a:cubicBezTo>
                  <a:cubicBezTo>
                    <a:pt x="2139" y="761"/>
                    <a:pt x="2149" y="752"/>
                    <a:pt x="2149" y="739"/>
                  </a:cubicBezTo>
                  <a:cubicBezTo>
                    <a:pt x="2149" y="727"/>
                    <a:pt x="2139" y="717"/>
                    <a:pt x="2127" y="717"/>
                  </a:cubicBezTo>
                  <a:close/>
                  <a:moveTo>
                    <a:pt x="1111" y="717"/>
                  </a:moveTo>
                  <a:cubicBezTo>
                    <a:pt x="1029" y="717"/>
                    <a:pt x="1029" y="717"/>
                    <a:pt x="1029" y="717"/>
                  </a:cubicBezTo>
                  <a:cubicBezTo>
                    <a:pt x="1033" y="731"/>
                    <a:pt x="1037" y="745"/>
                    <a:pt x="1042" y="761"/>
                  </a:cubicBezTo>
                  <a:cubicBezTo>
                    <a:pt x="1098" y="761"/>
                    <a:pt x="1098" y="761"/>
                    <a:pt x="1098" y="761"/>
                  </a:cubicBezTo>
                  <a:cubicBezTo>
                    <a:pt x="1103" y="745"/>
                    <a:pt x="1107" y="731"/>
                    <a:pt x="1111" y="717"/>
                  </a:cubicBezTo>
                  <a:close/>
                  <a:moveTo>
                    <a:pt x="1644" y="449"/>
                  </a:moveTo>
                  <a:cubicBezTo>
                    <a:pt x="1662" y="447"/>
                    <a:pt x="1676" y="447"/>
                    <a:pt x="1682" y="447"/>
                  </a:cubicBezTo>
                  <a:cubicBezTo>
                    <a:pt x="1684" y="446"/>
                    <a:pt x="1686" y="445"/>
                    <a:pt x="1686" y="445"/>
                  </a:cubicBezTo>
                  <a:cubicBezTo>
                    <a:pt x="1686" y="412"/>
                    <a:pt x="1686" y="412"/>
                    <a:pt x="1686" y="412"/>
                  </a:cubicBezTo>
                  <a:cubicBezTo>
                    <a:pt x="1686" y="412"/>
                    <a:pt x="1643" y="333"/>
                    <a:pt x="1636" y="304"/>
                  </a:cubicBezTo>
                  <a:cubicBezTo>
                    <a:pt x="1633" y="304"/>
                    <a:pt x="1633" y="314"/>
                    <a:pt x="1632" y="328"/>
                  </a:cubicBezTo>
                  <a:cubicBezTo>
                    <a:pt x="1638" y="348"/>
                    <a:pt x="1641" y="369"/>
                    <a:pt x="1641" y="391"/>
                  </a:cubicBezTo>
                  <a:cubicBezTo>
                    <a:pt x="1641" y="412"/>
                    <a:pt x="1635" y="430"/>
                    <a:pt x="1630" y="445"/>
                  </a:cubicBezTo>
                  <a:cubicBezTo>
                    <a:pt x="1635" y="447"/>
                    <a:pt x="1640" y="448"/>
                    <a:pt x="1644" y="449"/>
                  </a:cubicBezTo>
                  <a:close/>
                  <a:moveTo>
                    <a:pt x="1891" y="447"/>
                  </a:moveTo>
                  <a:cubicBezTo>
                    <a:pt x="1898" y="447"/>
                    <a:pt x="1912" y="447"/>
                    <a:pt x="1929" y="449"/>
                  </a:cubicBezTo>
                  <a:cubicBezTo>
                    <a:pt x="1944" y="446"/>
                    <a:pt x="1963" y="438"/>
                    <a:pt x="1982" y="418"/>
                  </a:cubicBezTo>
                  <a:cubicBezTo>
                    <a:pt x="1928" y="413"/>
                    <a:pt x="1946" y="304"/>
                    <a:pt x="1936" y="304"/>
                  </a:cubicBezTo>
                  <a:cubicBezTo>
                    <a:pt x="1929" y="335"/>
                    <a:pt x="1887" y="412"/>
                    <a:pt x="1887" y="412"/>
                  </a:cubicBezTo>
                  <a:cubicBezTo>
                    <a:pt x="1887" y="445"/>
                    <a:pt x="1887" y="445"/>
                    <a:pt x="1887" y="445"/>
                  </a:cubicBezTo>
                  <a:cubicBezTo>
                    <a:pt x="1887" y="445"/>
                    <a:pt x="1889" y="446"/>
                    <a:pt x="1891" y="44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</p:grpSp>
      <p:sp>
        <p:nvSpPr>
          <p:cNvPr id="195" name="Shape 2901"/>
          <p:cNvSpPr/>
          <p:nvPr/>
        </p:nvSpPr>
        <p:spPr>
          <a:xfrm>
            <a:off x="6410940" y="4723058"/>
            <a:ext cx="81013" cy="8230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351" h="21297" extrusionOk="0">
                <a:moveTo>
                  <a:pt x="18143" y="3162"/>
                </a:moveTo>
                <a:cubicBezTo>
                  <a:pt x="19589" y="4512"/>
                  <a:pt x="20402" y="6042"/>
                  <a:pt x="20945" y="7932"/>
                </a:cubicBezTo>
                <a:cubicBezTo>
                  <a:pt x="21487" y="9822"/>
                  <a:pt x="21487" y="11532"/>
                  <a:pt x="20945" y="13422"/>
                </a:cubicBezTo>
                <a:cubicBezTo>
                  <a:pt x="20402" y="15312"/>
                  <a:pt x="19589" y="16752"/>
                  <a:pt x="18143" y="18192"/>
                </a:cubicBezTo>
                <a:cubicBezTo>
                  <a:pt x="16787" y="19542"/>
                  <a:pt x="15341" y="20352"/>
                  <a:pt x="13443" y="20892"/>
                </a:cubicBezTo>
                <a:cubicBezTo>
                  <a:pt x="11546" y="21432"/>
                  <a:pt x="9828" y="21432"/>
                  <a:pt x="7931" y="20892"/>
                </a:cubicBezTo>
                <a:cubicBezTo>
                  <a:pt x="6033" y="20352"/>
                  <a:pt x="4587" y="19542"/>
                  <a:pt x="3141" y="18192"/>
                </a:cubicBezTo>
                <a:cubicBezTo>
                  <a:pt x="1785" y="16752"/>
                  <a:pt x="881" y="15312"/>
                  <a:pt x="339" y="13422"/>
                </a:cubicBezTo>
                <a:cubicBezTo>
                  <a:pt x="-113" y="11532"/>
                  <a:pt x="-113" y="9822"/>
                  <a:pt x="339" y="7932"/>
                </a:cubicBezTo>
                <a:cubicBezTo>
                  <a:pt x="881" y="6042"/>
                  <a:pt x="1785" y="4512"/>
                  <a:pt x="3141" y="3162"/>
                </a:cubicBezTo>
                <a:cubicBezTo>
                  <a:pt x="4587" y="1812"/>
                  <a:pt x="6033" y="822"/>
                  <a:pt x="7931" y="372"/>
                </a:cubicBezTo>
                <a:cubicBezTo>
                  <a:pt x="9828" y="-168"/>
                  <a:pt x="11546" y="-78"/>
                  <a:pt x="13443" y="372"/>
                </a:cubicBezTo>
                <a:cubicBezTo>
                  <a:pt x="15341" y="912"/>
                  <a:pt x="16787" y="1812"/>
                  <a:pt x="18143" y="3162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96" name="Shape 2902"/>
          <p:cNvSpPr/>
          <p:nvPr/>
        </p:nvSpPr>
        <p:spPr>
          <a:xfrm>
            <a:off x="6281609" y="4723058"/>
            <a:ext cx="80801" cy="8230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96" h="21297" extrusionOk="0">
                <a:moveTo>
                  <a:pt x="18177" y="3162"/>
                </a:moveTo>
                <a:cubicBezTo>
                  <a:pt x="19533" y="4512"/>
                  <a:pt x="20437" y="6042"/>
                  <a:pt x="20889" y="7932"/>
                </a:cubicBezTo>
                <a:cubicBezTo>
                  <a:pt x="21431" y="9822"/>
                  <a:pt x="21431" y="11532"/>
                  <a:pt x="20889" y="13422"/>
                </a:cubicBezTo>
                <a:cubicBezTo>
                  <a:pt x="20437" y="15312"/>
                  <a:pt x="19533" y="16752"/>
                  <a:pt x="18177" y="18192"/>
                </a:cubicBezTo>
                <a:cubicBezTo>
                  <a:pt x="16822" y="19542"/>
                  <a:pt x="15285" y="20352"/>
                  <a:pt x="13387" y="20892"/>
                </a:cubicBezTo>
                <a:cubicBezTo>
                  <a:pt x="11490" y="21432"/>
                  <a:pt x="9772" y="21432"/>
                  <a:pt x="7875" y="20892"/>
                </a:cubicBezTo>
                <a:cubicBezTo>
                  <a:pt x="5977" y="20352"/>
                  <a:pt x="4531" y="19542"/>
                  <a:pt x="3085" y="18192"/>
                </a:cubicBezTo>
                <a:cubicBezTo>
                  <a:pt x="1729" y="16752"/>
                  <a:pt x="916" y="15312"/>
                  <a:pt x="373" y="13422"/>
                </a:cubicBezTo>
                <a:cubicBezTo>
                  <a:pt x="-79" y="11532"/>
                  <a:pt x="-169" y="9822"/>
                  <a:pt x="373" y="7932"/>
                </a:cubicBezTo>
                <a:cubicBezTo>
                  <a:pt x="825" y="6042"/>
                  <a:pt x="1729" y="4512"/>
                  <a:pt x="3085" y="3162"/>
                </a:cubicBezTo>
                <a:cubicBezTo>
                  <a:pt x="4531" y="1812"/>
                  <a:pt x="5977" y="822"/>
                  <a:pt x="7875" y="372"/>
                </a:cubicBezTo>
                <a:cubicBezTo>
                  <a:pt x="9772" y="-168"/>
                  <a:pt x="11490" y="-78"/>
                  <a:pt x="13387" y="372"/>
                </a:cubicBezTo>
                <a:cubicBezTo>
                  <a:pt x="15285" y="912"/>
                  <a:pt x="16822" y="1812"/>
                  <a:pt x="18177" y="3162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97" name="Shape 2903"/>
          <p:cNvSpPr/>
          <p:nvPr/>
        </p:nvSpPr>
        <p:spPr>
          <a:xfrm>
            <a:off x="6136186" y="4723059"/>
            <a:ext cx="502586" cy="3563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423" extrusionOk="0">
                <a:moveTo>
                  <a:pt x="401" y="5893"/>
                </a:moveTo>
                <a:lnTo>
                  <a:pt x="4237" y="530"/>
                </a:lnTo>
                <a:cubicBezTo>
                  <a:pt x="4757" y="-177"/>
                  <a:pt x="5604" y="-177"/>
                  <a:pt x="6095" y="530"/>
                </a:cubicBezTo>
                <a:cubicBezTo>
                  <a:pt x="6214" y="675"/>
                  <a:pt x="6600" y="1237"/>
                  <a:pt x="6704" y="1382"/>
                </a:cubicBezTo>
                <a:cubicBezTo>
                  <a:pt x="6838" y="1549"/>
                  <a:pt x="6927" y="1777"/>
                  <a:pt x="7002" y="1985"/>
                </a:cubicBezTo>
                <a:lnTo>
                  <a:pt x="8087" y="6143"/>
                </a:lnTo>
                <a:lnTo>
                  <a:pt x="10807" y="7910"/>
                </a:lnTo>
                <a:lnTo>
                  <a:pt x="13528" y="6143"/>
                </a:lnTo>
                <a:lnTo>
                  <a:pt x="14613" y="1985"/>
                </a:lnTo>
                <a:cubicBezTo>
                  <a:pt x="14687" y="1756"/>
                  <a:pt x="14777" y="1549"/>
                  <a:pt x="14896" y="1382"/>
                </a:cubicBezTo>
                <a:cubicBezTo>
                  <a:pt x="15000" y="1237"/>
                  <a:pt x="15401" y="675"/>
                  <a:pt x="15505" y="530"/>
                </a:cubicBezTo>
                <a:cubicBezTo>
                  <a:pt x="16010" y="-177"/>
                  <a:pt x="16828" y="-177"/>
                  <a:pt x="17363" y="530"/>
                </a:cubicBezTo>
                <a:lnTo>
                  <a:pt x="21213" y="5893"/>
                </a:lnTo>
                <a:cubicBezTo>
                  <a:pt x="21481" y="6288"/>
                  <a:pt x="21600" y="6725"/>
                  <a:pt x="21600" y="7224"/>
                </a:cubicBezTo>
                <a:lnTo>
                  <a:pt x="21600" y="19905"/>
                </a:lnTo>
                <a:cubicBezTo>
                  <a:pt x="21600" y="20758"/>
                  <a:pt x="21124" y="21423"/>
                  <a:pt x="20515" y="21423"/>
                </a:cubicBezTo>
                <a:cubicBezTo>
                  <a:pt x="19905" y="21423"/>
                  <a:pt x="19415" y="20758"/>
                  <a:pt x="19415" y="19905"/>
                </a:cubicBezTo>
                <a:lnTo>
                  <a:pt x="19415" y="9843"/>
                </a:lnTo>
                <a:cubicBezTo>
                  <a:pt x="19192" y="9802"/>
                  <a:pt x="18939" y="9594"/>
                  <a:pt x="18746" y="9344"/>
                </a:cubicBezTo>
                <a:lnTo>
                  <a:pt x="15490" y="4812"/>
                </a:lnTo>
                <a:lnTo>
                  <a:pt x="14821" y="7307"/>
                </a:lnTo>
                <a:cubicBezTo>
                  <a:pt x="14762" y="7577"/>
                  <a:pt x="14613" y="7806"/>
                  <a:pt x="14435" y="7910"/>
                </a:cubicBezTo>
                <a:lnTo>
                  <a:pt x="11268" y="9989"/>
                </a:lnTo>
                <a:cubicBezTo>
                  <a:pt x="11105" y="10072"/>
                  <a:pt x="10941" y="10114"/>
                  <a:pt x="10807" y="10051"/>
                </a:cubicBezTo>
                <a:cubicBezTo>
                  <a:pt x="10644" y="10114"/>
                  <a:pt x="10480" y="10072"/>
                  <a:pt x="10332" y="9989"/>
                </a:cubicBezTo>
                <a:lnTo>
                  <a:pt x="7180" y="7910"/>
                </a:lnTo>
                <a:cubicBezTo>
                  <a:pt x="7002" y="7785"/>
                  <a:pt x="6853" y="7577"/>
                  <a:pt x="6779" y="7307"/>
                </a:cubicBezTo>
                <a:lnTo>
                  <a:pt x="6125" y="4812"/>
                </a:lnTo>
                <a:lnTo>
                  <a:pt x="2869" y="9344"/>
                </a:lnTo>
                <a:cubicBezTo>
                  <a:pt x="2676" y="9594"/>
                  <a:pt x="2438" y="9781"/>
                  <a:pt x="2185" y="9843"/>
                </a:cubicBezTo>
                <a:lnTo>
                  <a:pt x="2185" y="19885"/>
                </a:lnTo>
                <a:cubicBezTo>
                  <a:pt x="2185" y="20737"/>
                  <a:pt x="1710" y="21402"/>
                  <a:pt x="1100" y="21402"/>
                </a:cubicBezTo>
                <a:cubicBezTo>
                  <a:pt x="491" y="21402"/>
                  <a:pt x="0" y="20737"/>
                  <a:pt x="0" y="19885"/>
                </a:cubicBezTo>
                <a:lnTo>
                  <a:pt x="0" y="7203"/>
                </a:lnTo>
                <a:cubicBezTo>
                  <a:pt x="0" y="6725"/>
                  <a:pt x="134" y="6247"/>
                  <a:pt x="401" y="5893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02" name="Shape 2991"/>
          <p:cNvSpPr/>
          <p:nvPr/>
        </p:nvSpPr>
        <p:spPr>
          <a:xfrm>
            <a:off x="8105818" y="4723058"/>
            <a:ext cx="410059" cy="4099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9" h="21583" extrusionOk="0">
                <a:moveTo>
                  <a:pt x="19131" y="18476"/>
                </a:moveTo>
                <a:cubicBezTo>
                  <a:pt x="19149" y="18709"/>
                  <a:pt x="19131" y="18997"/>
                  <a:pt x="19059" y="19248"/>
                </a:cubicBezTo>
                <a:lnTo>
                  <a:pt x="16817" y="17183"/>
                </a:lnTo>
                <a:lnTo>
                  <a:pt x="14790" y="19392"/>
                </a:lnTo>
                <a:lnTo>
                  <a:pt x="17068" y="21438"/>
                </a:lnTo>
                <a:cubicBezTo>
                  <a:pt x="16799" y="21528"/>
                  <a:pt x="16548" y="21582"/>
                  <a:pt x="16279" y="21582"/>
                </a:cubicBezTo>
                <a:cubicBezTo>
                  <a:pt x="15507" y="21600"/>
                  <a:pt x="14843" y="21367"/>
                  <a:pt x="14251" y="20846"/>
                </a:cubicBezTo>
                <a:cubicBezTo>
                  <a:pt x="13677" y="20307"/>
                  <a:pt x="13372" y="19661"/>
                  <a:pt x="13354" y="18889"/>
                </a:cubicBezTo>
                <a:cubicBezTo>
                  <a:pt x="13354" y="18601"/>
                  <a:pt x="13372" y="18296"/>
                  <a:pt x="13444" y="18045"/>
                </a:cubicBezTo>
                <a:lnTo>
                  <a:pt x="12888" y="17524"/>
                </a:lnTo>
                <a:lnTo>
                  <a:pt x="9641" y="14544"/>
                </a:lnTo>
                <a:lnTo>
                  <a:pt x="4115" y="20630"/>
                </a:lnTo>
                <a:cubicBezTo>
                  <a:pt x="3774" y="21097"/>
                  <a:pt x="3254" y="21385"/>
                  <a:pt x="2662" y="21385"/>
                </a:cubicBezTo>
                <a:cubicBezTo>
                  <a:pt x="1693" y="21385"/>
                  <a:pt x="922" y="20612"/>
                  <a:pt x="922" y="19643"/>
                </a:cubicBezTo>
                <a:cubicBezTo>
                  <a:pt x="922" y="19122"/>
                  <a:pt x="1119" y="18655"/>
                  <a:pt x="1532" y="18296"/>
                </a:cubicBezTo>
                <a:lnTo>
                  <a:pt x="7273" y="12335"/>
                </a:lnTo>
                <a:lnTo>
                  <a:pt x="3792" y="9175"/>
                </a:lnTo>
                <a:cubicBezTo>
                  <a:pt x="3505" y="9301"/>
                  <a:pt x="3200" y="9373"/>
                  <a:pt x="2949" y="9373"/>
                </a:cubicBezTo>
                <a:cubicBezTo>
                  <a:pt x="2178" y="9391"/>
                  <a:pt x="1496" y="9139"/>
                  <a:pt x="922" y="8636"/>
                </a:cubicBezTo>
                <a:cubicBezTo>
                  <a:pt x="330" y="8116"/>
                  <a:pt x="43" y="7487"/>
                  <a:pt x="7" y="6679"/>
                </a:cubicBezTo>
                <a:cubicBezTo>
                  <a:pt x="-11" y="6446"/>
                  <a:pt x="7" y="6177"/>
                  <a:pt x="79" y="5907"/>
                </a:cubicBezTo>
                <a:lnTo>
                  <a:pt x="2339" y="7954"/>
                </a:lnTo>
                <a:lnTo>
                  <a:pt x="4348" y="5764"/>
                </a:lnTo>
                <a:lnTo>
                  <a:pt x="2088" y="3699"/>
                </a:lnTo>
                <a:cubicBezTo>
                  <a:pt x="2321" y="3627"/>
                  <a:pt x="2608" y="3555"/>
                  <a:pt x="2859" y="3555"/>
                </a:cubicBezTo>
                <a:cubicBezTo>
                  <a:pt x="3631" y="3537"/>
                  <a:pt x="4313" y="3771"/>
                  <a:pt x="4887" y="4291"/>
                </a:cubicBezTo>
                <a:cubicBezTo>
                  <a:pt x="5479" y="4812"/>
                  <a:pt x="5784" y="5476"/>
                  <a:pt x="5802" y="6248"/>
                </a:cubicBezTo>
                <a:cubicBezTo>
                  <a:pt x="5820" y="6518"/>
                  <a:pt x="5802" y="6769"/>
                  <a:pt x="5730" y="7038"/>
                </a:cubicBezTo>
                <a:lnTo>
                  <a:pt x="9318" y="10306"/>
                </a:lnTo>
                <a:lnTo>
                  <a:pt x="11919" y="7487"/>
                </a:lnTo>
                <a:lnTo>
                  <a:pt x="8026" y="4022"/>
                </a:lnTo>
                <a:lnTo>
                  <a:pt x="11560" y="0"/>
                </a:lnTo>
                <a:lnTo>
                  <a:pt x="21589" y="8852"/>
                </a:lnTo>
                <a:lnTo>
                  <a:pt x="18055" y="12892"/>
                </a:lnTo>
                <a:lnTo>
                  <a:pt x="14036" y="9337"/>
                </a:lnTo>
                <a:lnTo>
                  <a:pt x="11507" y="12317"/>
                </a:lnTo>
                <a:lnTo>
                  <a:pt x="15436" y="15908"/>
                </a:lnTo>
                <a:cubicBezTo>
                  <a:pt x="15705" y="15818"/>
                  <a:pt x="15956" y="15765"/>
                  <a:pt x="16225" y="15765"/>
                </a:cubicBezTo>
                <a:cubicBezTo>
                  <a:pt x="16996" y="15729"/>
                  <a:pt x="17660" y="15980"/>
                  <a:pt x="18252" y="16483"/>
                </a:cubicBezTo>
                <a:cubicBezTo>
                  <a:pt x="18808" y="17021"/>
                  <a:pt x="19113" y="17686"/>
                  <a:pt x="19131" y="18476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4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uccessful Workplace Communication</a:t>
            </a:r>
          </a:p>
        </p:txBody>
      </p:sp>
    </p:spTree>
    <p:extLst>
      <p:ext uri="{BB962C8B-B14F-4D97-AF65-F5344CB8AC3E}">
        <p14:creationId xmlns:p14="http://schemas.microsoft.com/office/powerpoint/2010/main" val="103160761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142"/>
          <p:cNvSpPr/>
          <p:nvPr/>
        </p:nvSpPr>
        <p:spPr>
          <a:xfrm>
            <a:off x="4635092" y="3620164"/>
            <a:ext cx="558" cy="717011"/>
          </a:xfrm>
          <a:prstGeom prst="line">
            <a:avLst/>
          </a:prstGeom>
          <a:ln w="381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14" name="Shape 1143"/>
          <p:cNvSpPr/>
          <p:nvPr/>
        </p:nvSpPr>
        <p:spPr>
          <a:xfrm>
            <a:off x="4590356" y="4511456"/>
            <a:ext cx="99088" cy="990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35"/>
                </a:moveTo>
                <a:cubicBezTo>
                  <a:pt x="21600" y="12818"/>
                  <a:pt x="21104" y="14518"/>
                  <a:pt x="20113" y="16218"/>
                </a:cubicBezTo>
                <a:cubicBezTo>
                  <a:pt x="19121" y="17917"/>
                  <a:pt x="17988" y="19192"/>
                  <a:pt x="16218" y="20184"/>
                </a:cubicBezTo>
                <a:cubicBezTo>
                  <a:pt x="14518" y="21175"/>
                  <a:pt x="12748" y="21600"/>
                  <a:pt x="10765" y="21600"/>
                </a:cubicBezTo>
                <a:cubicBezTo>
                  <a:pt x="8782" y="21600"/>
                  <a:pt x="7082" y="21175"/>
                  <a:pt x="5382" y="20184"/>
                </a:cubicBezTo>
                <a:cubicBezTo>
                  <a:pt x="3683" y="19192"/>
                  <a:pt x="2408" y="17917"/>
                  <a:pt x="1416" y="16218"/>
                </a:cubicBezTo>
                <a:cubicBezTo>
                  <a:pt x="425" y="14518"/>
                  <a:pt x="0" y="12818"/>
                  <a:pt x="0" y="10835"/>
                </a:cubicBezTo>
                <a:cubicBezTo>
                  <a:pt x="0" y="8852"/>
                  <a:pt x="425" y="7224"/>
                  <a:pt x="1416" y="5453"/>
                </a:cubicBezTo>
                <a:cubicBezTo>
                  <a:pt x="2408" y="3753"/>
                  <a:pt x="3683" y="2479"/>
                  <a:pt x="5382" y="1487"/>
                </a:cubicBezTo>
                <a:cubicBezTo>
                  <a:pt x="7082" y="496"/>
                  <a:pt x="8782" y="0"/>
                  <a:pt x="10765" y="0"/>
                </a:cubicBezTo>
                <a:cubicBezTo>
                  <a:pt x="12748" y="0"/>
                  <a:pt x="14518" y="496"/>
                  <a:pt x="16218" y="1487"/>
                </a:cubicBezTo>
                <a:cubicBezTo>
                  <a:pt x="17988" y="2479"/>
                  <a:pt x="19121" y="3753"/>
                  <a:pt x="20113" y="5453"/>
                </a:cubicBezTo>
                <a:cubicBezTo>
                  <a:pt x="21104" y="7224"/>
                  <a:pt x="21600" y="8852"/>
                  <a:pt x="21600" y="10835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" name="Shape 1144"/>
          <p:cNvSpPr/>
          <p:nvPr/>
        </p:nvSpPr>
        <p:spPr>
          <a:xfrm>
            <a:off x="4635092" y="3620164"/>
            <a:ext cx="1755053" cy="71701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0" y="10800"/>
                  <a:pt x="21600" y="10800"/>
                  <a:pt x="21600" y="21600"/>
                </a:cubicBezTo>
              </a:path>
            </a:pathLst>
          </a:custGeom>
          <a:ln w="381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>
              <a:solidFill>
                <a:schemeClr val="tx2"/>
              </a:solidFill>
            </a:endParaRPr>
          </a:p>
        </p:txBody>
      </p:sp>
      <p:sp>
        <p:nvSpPr>
          <p:cNvPr id="16" name="Shape 1145"/>
          <p:cNvSpPr/>
          <p:nvPr/>
        </p:nvSpPr>
        <p:spPr>
          <a:xfrm>
            <a:off x="6327680" y="4511456"/>
            <a:ext cx="99088" cy="990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35"/>
                </a:moveTo>
                <a:cubicBezTo>
                  <a:pt x="21600" y="12818"/>
                  <a:pt x="21175" y="14518"/>
                  <a:pt x="20113" y="16218"/>
                </a:cubicBezTo>
                <a:cubicBezTo>
                  <a:pt x="19121" y="17917"/>
                  <a:pt x="17988" y="19192"/>
                  <a:pt x="16218" y="20184"/>
                </a:cubicBezTo>
                <a:cubicBezTo>
                  <a:pt x="14518" y="21175"/>
                  <a:pt x="12889" y="21600"/>
                  <a:pt x="10835" y="21600"/>
                </a:cubicBezTo>
                <a:cubicBezTo>
                  <a:pt x="8852" y="21600"/>
                  <a:pt x="7153" y="21175"/>
                  <a:pt x="5382" y="20184"/>
                </a:cubicBezTo>
                <a:cubicBezTo>
                  <a:pt x="3683" y="19192"/>
                  <a:pt x="2479" y="17917"/>
                  <a:pt x="1487" y="16218"/>
                </a:cubicBezTo>
                <a:cubicBezTo>
                  <a:pt x="496" y="14518"/>
                  <a:pt x="0" y="12818"/>
                  <a:pt x="0" y="10835"/>
                </a:cubicBezTo>
                <a:cubicBezTo>
                  <a:pt x="0" y="8852"/>
                  <a:pt x="496" y="7224"/>
                  <a:pt x="1487" y="5453"/>
                </a:cubicBezTo>
                <a:cubicBezTo>
                  <a:pt x="2479" y="3753"/>
                  <a:pt x="3683" y="2479"/>
                  <a:pt x="5382" y="1487"/>
                </a:cubicBezTo>
                <a:cubicBezTo>
                  <a:pt x="7153" y="496"/>
                  <a:pt x="8782" y="0"/>
                  <a:pt x="10835" y="0"/>
                </a:cubicBezTo>
                <a:cubicBezTo>
                  <a:pt x="12818" y="0"/>
                  <a:pt x="14518" y="496"/>
                  <a:pt x="16218" y="1487"/>
                </a:cubicBezTo>
                <a:cubicBezTo>
                  <a:pt x="17988" y="2479"/>
                  <a:pt x="19121" y="3753"/>
                  <a:pt x="20113" y="5453"/>
                </a:cubicBezTo>
                <a:cubicBezTo>
                  <a:pt x="21175" y="7224"/>
                  <a:pt x="21600" y="8852"/>
                  <a:pt x="21600" y="10835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" name="Shape 1146"/>
          <p:cNvSpPr/>
          <p:nvPr/>
        </p:nvSpPr>
        <p:spPr>
          <a:xfrm>
            <a:off x="4635093" y="3620164"/>
            <a:ext cx="3664006" cy="71701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0" y="10800"/>
                  <a:pt x="21600" y="10800"/>
                  <a:pt x="21600" y="21600"/>
                </a:cubicBezTo>
              </a:path>
            </a:pathLst>
          </a:custGeom>
          <a:ln w="381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>
              <a:solidFill>
                <a:schemeClr val="tx2"/>
              </a:solidFill>
            </a:endParaRPr>
          </a:p>
        </p:txBody>
      </p:sp>
      <p:sp>
        <p:nvSpPr>
          <p:cNvPr id="18" name="Shape 1147"/>
          <p:cNvSpPr/>
          <p:nvPr/>
        </p:nvSpPr>
        <p:spPr>
          <a:xfrm>
            <a:off x="8261304" y="4511456"/>
            <a:ext cx="99088" cy="990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35"/>
                </a:moveTo>
                <a:cubicBezTo>
                  <a:pt x="21600" y="12818"/>
                  <a:pt x="21175" y="14518"/>
                  <a:pt x="20184" y="16218"/>
                </a:cubicBezTo>
                <a:cubicBezTo>
                  <a:pt x="19192" y="17917"/>
                  <a:pt x="17917" y="19192"/>
                  <a:pt x="16218" y="20184"/>
                </a:cubicBezTo>
                <a:cubicBezTo>
                  <a:pt x="14518" y="21175"/>
                  <a:pt x="12818" y="21600"/>
                  <a:pt x="10835" y="21600"/>
                </a:cubicBezTo>
                <a:cubicBezTo>
                  <a:pt x="8852" y="21600"/>
                  <a:pt x="7153" y="21175"/>
                  <a:pt x="5382" y="20184"/>
                </a:cubicBezTo>
                <a:cubicBezTo>
                  <a:pt x="3683" y="19192"/>
                  <a:pt x="2479" y="17917"/>
                  <a:pt x="1487" y="16218"/>
                </a:cubicBezTo>
                <a:cubicBezTo>
                  <a:pt x="496" y="14518"/>
                  <a:pt x="0" y="12818"/>
                  <a:pt x="0" y="10835"/>
                </a:cubicBezTo>
                <a:cubicBezTo>
                  <a:pt x="0" y="8852"/>
                  <a:pt x="496" y="7224"/>
                  <a:pt x="1487" y="5453"/>
                </a:cubicBezTo>
                <a:cubicBezTo>
                  <a:pt x="2479" y="3753"/>
                  <a:pt x="3683" y="2479"/>
                  <a:pt x="5382" y="1487"/>
                </a:cubicBezTo>
                <a:cubicBezTo>
                  <a:pt x="7153" y="496"/>
                  <a:pt x="8852" y="0"/>
                  <a:pt x="10835" y="0"/>
                </a:cubicBezTo>
                <a:cubicBezTo>
                  <a:pt x="12818" y="0"/>
                  <a:pt x="14518" y="496"/>
                  <a:pt x="16218" y="1487"/>
                </a:cubicBezTo>
                <a:cubicBezTo>
                  <a:pt x="17917" y="2479"/>
                  <a:pt x="19192" y="3753"/>
                  <a:pt x="20184" y="5453"/>
                </a:cubicBezTo>
                <a:cubicBezTo>
                  <a:pt x="21175" y="7224"/>
                  <a:pt x="21600" y="8852"/>
                  <a:pt x="21600" y="10835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9" name="Shape 1148"/>
          <p:cNvSpPr/>
          <p:nvPr/>
        </p:nvSpPr>
        <p:spPr>
          <a:xfrm>
            <a:off x="3554491" y="1484784"/>
            <a:ext cx="2157088" cy="21350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790"/>
                  <a:pt x="21147" y="14478"/>
                  <a:pt x="20150" y="16202"/>
                </a:cubicBezTo>
                <a:cubicBezTo>
                  <a:pt x="19157" y="17922"/>
                  <a:pt x="17918" y="19161"/>
                  <a:pt x="16198" y="20154"/>
                </a:cubicBezTo>
                <a:cubicBezTo>
                  <a:pt x="14478" y="21147"/>
                  <a:pt x="12786" y="21600"/>
                  <a:pt x="10796" y="21600"/>
                </a:cubicBezTo>
                <a:cubicBezTo>
                  <a:pt x="8810" y="21600"/>
                  <a:pt x="7122" y="21147"/>
                  <a:pt x="5402" y="20154"/>
                </a:cubicBezTo>
                <a:cubicBezTo>
                  <a:pt x="3678" y="19161"/>
                  <a:pt x="2439" y="17922"/>
                  <a:pt x="1446" y="16202"/>
                </a:cubicBezTo>
                <a:cubicBezTo>
                  <a:pt x="449" y="14478"/>
                  <a:pt x="0" y="12786"/>
                  <a:pt x="0" y="10800"/>
                </a:cubicBezTo>
                <a:cubicBezTo>
                  <a:pt x="0" y="8810"/>
                  <a:pt x="449" y="7122"/>
                  <a:pt x="1446" y="5402"/>
                </a:cubicBezTo>
                <a:cubicBezTo>
                  <a:pt x="2439" y="3678"/>
                  <a:pt x="3678" y="2439"/>
                  <a:pt x="5402" y="1446"/>
                </a:cubicBezTo>
                <a:cubicBezTo>
                  <a:pt x="7122" y="449"/>
                  <a:pt x="8814" y="0"/>
                  <a:pt x="10796" y="0"/>
                </a:cubicBezTo>
                <a:cubicBezTo>
                  <a:pt x="12786" y="0"/>
                  <a:pt x="14478" y="449"/>
                  <a:pt x="16198" y="1446"/>
                </a:cubicBezTo>
                <a:cubicBezTo>
                  <a:pt x="17918" y="2439"/>
                  <a:pt x="19157" y="3678"/>
                  <a:pt x="20150" y="5402"/>
                </a:cubicBezTo>
                <a:cubicBezTo>
                  <a:pt x="21147" y="7122"/>
                  <a:pt x="21600" y="8814"/>
                  <a:pt x="21600" y="10800"/>
                </a:cubicBezTo>
              </a:path>
            </a:pathLst>
          </a:custGeom>
          <a:ln w="38100">
            <a:solidFill>
              <a:schemeClr val="tx2"/>
            </a:solidFill>
            <a:miter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>
              <a:solidFill>
                <a:schemeClr val="tx2"/>
              </a:solidFill>
            </a:endParaRPr>
          </a:p>
        </p:txBody>
      </p:sp>
      <p:sp>
        <p:nvSpPr>
          <p:cNvPr id="175" name="Shape 1304"/>
          <p:cNvSpPr/>
          <p:nvPr/>
        </p:nvSpPr>
        <p:spPr>
          <a:xfrm>
            <a:off x="7445380" y="5345871"/>
            <a:ext cx="1714976" cy="915892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20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algn="ctr"/>
            <a:r>
              <a:rPr lang="en-US" sz="1600" b="1" dirty="0"/>
              <a:t>The Communication Process – Basic Model</a:t>
            </a:r>
            <a:endParaRPr sz="1600" b="1" dirty="0"/>
          </a:p>
        </p:txBody>
      </p:sp>
      <p:sp>
        <p:nvSpPr>
          <p:cNvPr id="185" name="Shape 1308"/>
          <p:cNvSpPr/>
          <p:nvPr/>
        </p:nvSpPr>
        <p:spPr>
          <a:xfrm>
            <a:off x="5579139" y="5345871"/>
            <a:ext cx="1694807" cy="915892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20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algn="ctr"/>
            <a:r>
              <a:rPr lang="en-US" sz="1600" b="1" dirty="0"/>
              <a:t>Understanding</a:t>
            </a:r>
            <a:r>
              <a:rPr lang="en-US" sz="1600" dirty="0" smtClean="0"/>
              <a:t> </a:t>
            </a:r>
            <a:r>
              <a:rPr lang="en-US" sz="1600" b="1" dirty="0"/>
              <a:t>Vs</a:t>
            </a:r>
            <a:r>
              <a:rPr lang="en-US" sz="1600" dirty="0" smtClean="0"/>
              <a:t>. </a:t>
            </a:r>
            <a:r>
              <a:rPr lang="en-US" sz="1600" b="1" dirty="0" smtClean="0"/>
              <a:t>Misunderstanding</a:t>
            </a:r>
            <a:r>
              <a:rPr lang="en-US" sz="1600" dirty="0" smtClean="0"/>
              <a:t> </a:t>
            </a:r>
            <a:endParaRPr sz="1600" dirty="0"/>
          </a:p>
        </p:txBody>
      </p:sp>
      <p:sp>
        <p:nvSpPr>
          <p:cNvPr id="186" name="Shape 1134"/>
          <p:cNvSpPr/>
          <p:nvPr/>
        </p:nvSpPr>
        <p:spPr>
          <a:xfrm>
            <a:off x="5755108" y="5993157"/>
            <a:ext cx="1407437" cy="515141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200">
                <a:solidFill>
                  <a:srgbClr val="726658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pPr algn="ctr"/>
            <a:r>
              <a:rPr lang="en-US" altLang="de-DE" dirty="0"/>
              <a:t>Factors </a:t>
            </a:r>
            <a:endParaRPr lang="en-US" altLang="de-DE" dirty="0" smtClean="0"/>
          </a:p>
          <a:p>
            <a:pPr algn="ctr"/>
            <a:r>
              <a:rPr lang="en-US" dirty="0" smtClean="0"/>
              <a:t>Barriers</a:t>
            </a:r>
          </a:p>
          <a:p>
            <a:pPr algn="ctr"/>
            <a:r>
              <a:rPr lang="en-US" dirty="0"/>
              <a:t>Overcoming </a:t>
            </a:r>
            <a:r>
              <a:rPr lang="en-US" dirty="0" smtClean="0"/>
              <a:t>Barriers</a:t>
            </a:r>
            <a:endParaRPr lang="en-US" altLang="de-DE" dirty="0"/>
          </a:p>
        </p:txBody>
      </p:sp>
      <p:sp>
        <p:nvSpPr>
          <p:cNvPr id="188" name="Shape 1134"/>
          <p:cNvSpPr/>
          <p:nvPr/>
        </p:nvSpPr>
        <p:spPr>
          <a:xfrm>
            <a:off x="4345426" y="5993156"/>
            <a:ext cx="537006" cy="85856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200">
                <a:solidFill>
                  <a:srgbClr val="726658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pPr algn="ctr"/>
            <a:r>
              <a:rPr lang="en-US" altLang="de-DE" dirty="0"/>
              <a:t>Who</a:t>
            </a:r>
            <a:r>
              <a:rPr lang="en-US" altLang="de-DE" dirty="0" smtClean="0"/>
              <a:t>?</a:t>
            </a:r>
            <a:endParaRPr lang="en-US" altLang="de-DE" dirty="0"/>
          </a:p>
          <a:p>
            <a:pPr algn="ctr"/>
            <a:r>
              <a:rPr lang="en-US" altLang="de-DE" dirty="0"/>
              <a:t>What?</a:t>
            </a:r>
          </a:p>
          <a:p>
            <a:pPr algn="ctr"/>
            <a:r>
              <a:rPr lang="en-US" altLang="de-DE" dirty="0"/>
              <a:t>Where?</a:t>
            </a:r>
          </a:p>
          <a:p>
            <a:pPr algn="ctr"/>
            <a:r>
              <a:rPr lang="en-US" altLang="de-DE" dirty="0"/>
              <a:t>When?</a:t>
            </a:r>
          </a:p>
          <a:p>
            <a:pPr algn="ctr"/>
            <a:r>
              <a:rPr lang="en-US" altLang="de-DE" dirty="0"/>
              <a:t>How?</a:t>
            </a:r>
          </a:p>
        </p:txBody>
      </p:sp>
      <p:sp>
        <p:nvSpPr>
          <p:cNvPr id="189" name="Shape 1306"/>
          <p:cNvSpPr/>
          <p:nvPr/>
        </p:nvSpPr>
        <p:spPr>
          <a:xfrm>
            <a:off x="4012748" y="5345872"/>
            <a:ext cx="1316451" cy="228973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20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r>
              <a:rPr lang="de-DE" sz="1600" b="1" dirty="0"/>
              <a:t>5 </a:t>
            </a:r>
            <a:r>
              <a:rPr lang="de-DE" sz="1600" b="1" dirty="0" err="1"/>
              <a:t>W’s</a:t>
            </a:r>
            <a:r>
              <a:rPr lang="de-DE" sz="1600" b="1" dirty="0"/>
              <a:t> </a:t>
            </a:r>
            <a:r>
              <a:rPr lang="de-DE" sz="1600" b="1" dirty="0" err="1" smtClean="0"/>
              <a:t>Method</a:t>
            </a:r>
            <a:endParaRPr lang="de-DE" sz="1600" b="1" dirty="0"/>
          </a:p>
        </p:txBody>
      </p:sp>
      <p:grpSp>
        <p:nvGrpSpPr>
          <p:cNvPr id="190" name="bcgIcons_LargeGroupMeeting">
            <a:extLst>
              <a:ext uri="{FF2B5EF4-FFF2-40B4-BE49-F238E27FC236}">
                <a16:creationId xmlns:a16="http://schemas.microsoft.com/office/drawing/2014/main" id="{A2FD7D8A-1B63-45BD-BCF6-3D772C394A2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73832" y="1729351"/>
            <a:ext cx="1517904" cy="1645920"/>
            <a:chOff x="1682" y="0"/>
            <a:chExt cx="4316" cy="4320"/>
          </a:xfrm>
        </p:grpSpPr>
        <p:sp>
          <p:nvSpPr>
            <p:cNvPr id="191" name="AutoShape 33">
              <a:extLst>
                <a:ext uri="{FF2B5EF4-FFF2-40B4-BE49-F238E27FC236}">
                  <a16:creationId xmlns:a16="http://schemas.microsoft.com/office/drawing/2014/main" id="{4AD8728A-3137-4D5E-94A2-7EE2495C153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92" name="Freeform 35">
              <a:extLst>
                <a:ext uri="{FF2B5EF4-FFF2-40B4-BE49-F238E27FC236}">
                  <a16:creationId xmlns:a16="http://schemas.microsoft.com/office/drawing/2014/main" id="{9E8BEE28-E024-4AD9-AECF-5DD9B0801C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9" y="2160"/>
              <a:ext cx="3833" cy="735"/>
            </a:xfrm>
            <a:custGeom>
              <a:avLst/>
              <a:gdLst>
                <a:gd name="T0" fmla="*/ 353 w 2046"/>
                <a:gd name="T1" fmla="*/ 382 h 392"/>
                <a:gd name="T2" fmla="*/ 561 w 2046"/>
                <a:gd name="T3" fmla="*/ 165 h 392"/>
                <a:gd name="T4" fmla="*/ 663 w 2046"/>
                <a:gd name="T5" fmla="*/ 197 h 392"/>
                <a:gd name="T6" fmla="*/ 762 w 2046"/>
                <a:gd name="T7" fmla="*/ 165 h 392"/>
                <a:gd name="T8" fmla="*/ 895 w 2046"/>
                <a:gd name="T9" fmla="*/ 188 h 392"/>
                <a:gd name="T10" fmla="*/ 963 w 2046"/>
                <a:gd name="T11" fmla="*/ 392 h 392"/>
                <a:gd name="T12" fmla="*/ 1679 w 2046"/>
                <a:gd name="T13" fmla="*/ 392 h 392"/>
                <a:gd name="T14" fmla="*/ 1612 w 2046"/>
                <a:gd name="T15" fmla="*/ 188 h 392"/>
                <a:gd name="T16" fmla="*/ 1479 w 2046"/>
                <a:gd name="T17" fmla="*/ 165 h 392"/>
                <a:gd name="T18" fmla="*/ 1380 w 2046"/>
                <a:gd name="T19" fmla="*/ 197 h 392"/>
                <a:gd name="T20" fmla="*/ 1278 w 2046"/>
                <a:gd name="T21" fmla="*/ 165 h 392"/>
                <a:gd name="T22" fmla="*/ 1070 w 2046"/>
                <a:gd name="T23" fmla="*/ 382 h 392"/>
                <a:gd name="T24" fmla="*/ 1679 w 2046"/>
                <a:gd name="T25" fmla="*/ 392 h 392"/>
                <a:gd name="T26" fmla="*/ 1262 w 2046"/>
                <a:gd name="T27" fmla="*/ 122 h 392"/>
                <a:gd name="T28" fmla="*/ 1238 w 2046"/>
                <a:gd name="T29" fmla="*/ 84 h 392"/>
                <a:gd name="T30" fmla="*/ 1187 w 2046"/>
                <a:gd name="T31" fmla="*/ 5 h 392"/>
                <a:gd name="T32" fmla="*/ 1120 w 2046"/>
                <a:gd name="T33" fmla="*/ 3 h 392"/>
                <a:gd name="T34" fmla="*/ 1126 w 2046"/>
                <a:gd name="T35" fmla="*/ 148 h 392"/>
                <a:gd name="T36" fmla="*/ 546 w 2046"/>
                <a:gd name="T37" fmla="*/ 122 h 392"/>
                <a:gd name="T38" fmla="*/ 522 w 2046"/>
                <a:gd name="T39" fmla="*/ 84 h 392"/>
                <a:gd name="T40" fmla="*/ 471 w 2046"/>
                <a:gd name="T41" fmla="*/ 5 h 392"/>
                <a:gd name="T42" fmla="*/ 304 w 2046"/>
                <a:gd name="T43" fmla="*/ 48 h 392"/>
                <a:gd name="T44" fmla="*/ 70 w 2046"/>
                <a:gd name="T45" fmla="*/ 23 h 392"/>
                <a:gd name="T46" fmla="*/ 363 w 2046"/>
                <a:gd name="T47" fmla="*/ 201 h 392"/>
                <a:gd name="T48" fmla="*/ 804 w 2046"/>
                <a:gd name="T49" fmla="*/ 78 h 392"/>
                <a:gd name="T50" fmla="*/ 793 w 2046"/>
                <a:gd name="T51" fmla="*/ 103 h 392"/>
                <a:gd name="T52" fmla="*/ 778 w 2046"/>
                <a:gd name="T53" fmla="*/ 122 h 392"/>
                <a:gd name="T54" fmla="*/ 945 w 2046"/>
                <a:gd name="T55" fmla="*/ 175 h 392"/>
                <a:gd name="T56" fmla="*/ 917 w 2046"/>
                <a:gd name="T57" fmla="*/ 0 h 392"/>
                <a:gd name="T58" fmla="*/ 804 w 2046"/>
                <a:gd name="T59" fmla="*/ 78 h 392"/>
                <a:gd name="T60" fmla="*/ 1970 w 2046"/>
                <a:gd name="T61" fmla="*/ 23 h 392"/>
                <a:gd name="T62" fmla="*/ 1836 w 2046"/>
                <a:gd name="T63" fmla="*/ 3 h 392"/>
                <a:gd name="T64" fmla="*/ 1728 w 2046"/>
                <a:gd name="T65" fmla="*/ 105 h 392"/>
                <a:gd name="T66" fmla="*/ 1633 w 2046"/>
                <a:gd name="T67" fmla="*/ 0 h 392"/>
                <a:gd name="T68" fmla="*/ 1520 w 2046"/>
                <a:gd name="T69" fmla="*/ 78 h 392"/>
                <a:gd name="T70" fmla="*/ 1509 w 2046"/>
                <a:gd name="T71" fmla="*/ 103 h 392"/>
                <a:gd name="T72" fmla="*/ 1494 w 2046"/>
                <a:gd name="T73" fmla="*/ 122 h 392"/>
                <a:gd name="T74" fmla="*/ 1686 w 2046"/>
                <a:gd name="T75" fmla="*/ 222 h 392"/>
                <a:gd name="T76" fmla="*/ 1784 w 2046"/>
                <a:gd name="T77" fmla="*/ 222 h 392"/>
                <a:gd name="T78" fmla="*/ 2045 w 2046"/>
                <a:gd name="T79" fmla="*/ 21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046" h="392">
                  <a:moveTo>
                    <a:pt x="361" y="392"/>
                  </a:moveTo>
                  <a:cubicBezTo>
                    <a:pt x="355" y="392"/>
                    <a:pt x="352" y="387"/>
                    <a:pt x="353" y="382"/>
                  </a:cubicBezTo>
                  <a:cubicBezTo>
                    <a:pt x="363" y="357"/>
                    <a:pt x="390" y="205"/>
                    <a:pt x="428" y="188"/>
                  </a:cubicBezTo>
                  <a:cubicBezTo>
                    <a:pt x="475" y="166"/>
                    <a:pt x="561" y="165"/>
                    <a:pt x="561" y="165"/>
                  </a:cubicBezTo>
                  <a:cubicBezTo>
                    <a:pt x="561" y="165"/>
                    <a:pt x="561" y="165"/>
                    <a:pt x="561" y="165"/>
                  </a:cubicBezTo>
                  <a:cubicBezTo>
                    <a:pt x="561" y="165"/>
                    <a:pt x="596" y="197"/>
                    <a:pt x="663" y="197"/>
                  </a:cubicBezTo>
                  <a:cubicBezTo>
                    <a:pt x="660" y="197"/>
                    <a:pt x="660" y="197"/>
                    <a:pt x="660" y="197"/>
                  </a:cubicBezTo>
                  <a:cubicBezTo>
                    <a:pt x="728" y="197"/>
                    <a:pt x="762" y="165"/>
                    <a:pt x="762" y="165"/>
                  </a:cubicBezTo>
                  <a:cubicBezTo>
                    <a:pt x="762" y="165"/>
                    <a:pt x="762" y="165"/>
                    <a:pt x="762" y="165"/>
                  </a:cubicBezTo>
                  <a:cubicBezTo>
                    <a:pt x="762" y="165"/>
                    <a:pt x="849" y="166"/>
                    <a:pt x="895" y="188"/>
                  </a:cubicBezTo>
                  <a:cubicBezTo>
                    <a:pt x="933" y="205"/>
                    <a:pt x="961" y="357"/>
                    <a:pt x="970" y="382"/>
                  </a:cubicBezTo>
                  <a:cubicBezTo>
                    <a:pt x="972" y="387"/>
                    <a:pt x="968" y="392"/>
                    <a:pt x="963" y="392"/>
                  </a:cubicBezTo>
                  <a:lnTo>
                    <a:pt x="361" y="392"/>
                  </a:lnTo>
                  <a:close/>
                  <a:moveTo>
                    <a:pt x="1679" y="392"/>
                  </a:moveTo>
                  <a:cubicBezTo>
                    <a:pt x="1685" y="392"/>
                    <a:pt x="1688" y="387"/>
                    <a:pt x="1687" y="382"/>
                  </a:cubicBezTo>
                  <a:cubicBezTo>
                    <a:pt x="1677" y="357"/>
                    <a:pt x="1650" y="205"/>
                    <a:pt x="1612" y="188"/>
                  </a:cubicBezTo>
                  <a:cubicBezTo>
                    <a:pt x="1565" y="166"/>
                    <a:pt x="1479" y="165"/>
                    <a:pt x="1479" y="165"/>
                  </a:cubicBezTo>
                  <a:cubicBezTo>
                    <a:pt x="1479" y="165"/>
                    <a:pt x="1479" y="165"/>
                    <a:pt x="1479" y="165"/>
                  </a:cubicBezTo>
                  <a:cubicBezTo>
                    <a:pt x="1479" y="165"/>
                    <a:pt x="1444" y="197"/>
                    <a:pt x="1377" y="197"/>
                  </a:cubicBezTo>
                  <a:cubicBezTo>
                    <a:pt x="1380" y="197"/>
                    <a:pt x="1380" y="197"/>
                    <a:pt x="1380" y="197"/>
                  </a:cubicBezTo>
                  <a:cubicBezTo>
                    <a:pt x="1312" y="197"/>
                    <a:pt x="1278" y="165"/>
                    <a:pt x="1278" y="165"/>
                  </a:cubicBezTo>
                  <a:cubicBezTo>
                    <a:pt x="1278" y="165"/>
                    <a:pt x="1278" y="165"/>
                    <a:pt x="1278" y="165"/>
                  </a:cubicBezTo>
                  <a:cubicBezTo>
                    <a:pt x="1278" y="165"/>
                    <a:pt x="1191" y="166"/>
                    <a:pt x="1145" y="188"/>
                  </a:cubicBezTo>
                  <a:cubicBezTo>
                    <a:pt x="1107" y="205"/>
                    <a:pt x="1079" y="357"/>
                    <a:pt x="1070" y="382"/>
                  </a:cubicBezTo>
                  <a:cubicBezTo>
                    <a:pt x="1068" y="387"/>
                    <a:pt x="1072" y="392"/>
                    <a:pt x="1077" y="392"/>
                  </a:cubicBezTo>
                  <a:lnTo>
                    <a:pt x="1679" y="392"/>
                  </a:lnTo>
                  <a:close/>
                  <a:moveTo>
                    <a:pt x="1126" y="148"/>
                  </a:moveTo>
                  <a:cubicBezTo>
                    <a:pt x="1169" y="128"/>
                    <a:pt x="1233" y="123"/>
                    <a:pt x="1262" y="122"/>
                  </a:cubicBezTo>
                  <a:cubicBezTo>
                    <a:pt x="1257" y="117"/>
                    <a:pt x="1253" y="112"/>
                    <a:pt x="1250" y="108"/>
                  </a:cubicBezTo>
                  <a:cubicBezTo>
                    <a:pt x="1244" y="99"/>
                    <a:pt x="1241" y="94"/>
                    <a:pt x="1238" y="84"/>
                  </a:cubicBezTo>
                  <a:cubicBezTo>
                    <a:pt x="1237" y="82"/>
                    <a:pt x="1237" y="80"/>
                    <a:pt x="1235" y="76"/>
                  </a:cubicBezTo>
                  <a:cubicBezTo>
                    <a:pt x="1219" y="59"/>
                    <a:pt x="1199" y="30"/>
                    <a:pt x="1187" y="5"/>
                  </a:cubicBezTo>
                  <a:cubicBezTo>
                    <a:pt x="1158" y="1"/>
                    <a:pt x="1132" y="0"/>
                    <a:pt x="1123" y="0"/>
                  </a:cubicBezTo>
                  <a:cubicBezTo>
                    <a:pt x="1122" y="0"/>
                    <a:pt x="1120" y="1"/>
                    <a:pt x="1120" y="3"/>
                  </a:cubicBezTo>
                  <a:cubicBezTo>
                    <a:pt x="1095" y="175"/>
                    <a:pt x="1095" y="175"/>
                    <a:pt x="1095" y="175"/>
                  </a:cubicBezTo>
                  <a:cubicBezTo>
                    <a:pt x="1104" y="162"/>
                    <a:pt x="1114" y="153"/>
                    <a:pt x="1126" y="148"/>
                  </a:cubicBezTo>
                  <a:close/>
                  <a:moveTo>
                    <a:pt x="410" y="148"/>
                  </a:moveTo>
                  <a:cubicBezTo>
                    <a:pt x="453" y="128"/>
                    <a:pt x="517" y="123"/>
                    <a:pt x="546" y="122"/>
                  </a:cubicBezTo>
                  <a:cubicBezTo>
                    <a:pt x="541" y="117"/>
                    <a:pt x="537" y="112"/>
                    <a:pt x="534" y="108"/>
                  </a:cubicBezTo>
                  <a:cubicBezTo>
                    <a:pt x="527" y="99"/>
                    <a:pt x="525" y="94"/>
                    <a:pt x="522" y="84"/>
                  </a:cubicBezTo>
                  <a:cubicBezTo>
                    <a:pt x="521" y="82"/>
                    <a:pt x="520" y="80"/>
                    <a:pt x="519" y="76"/>
                  </a:cubicBezTo>
                  <a:cubicBezTo>
                    <a:pt x="503" y="59"/>
                    <a:pt x="482" y="30"/>
                    <a:pt x="471" y="5"/>
                  </a:cubicBezTo>
                  <a:cubicBezTo>
                    <a:pt x="436" y="0"/>
                    <a:pt x="404" y="0"/>
                    <a:pt x="404" y="0"/>
                  </a:cubicBezTo>
                  <a:cubicBezTo>
                    <a:pt x="404" y="0"/>
                    <a:pt x="370" y="47"/>
                    <a:pt x="304" y="48"/>
                  </a:cubicBezTo>
                  <a:cubicBezTo>
                    <a:pt x="237" y="47"/>
                    <a:pt x="203" y="0"/>
                    <a:pt x="203" y="0"/>
                  </a:cubicBezTo>
                  <a:cubicBezTo>
                    <a:pt x="203" y="0"/>
                    <a:pt x="117" y="1"/>
                    <a:pt x="70" y="23"/>
                  </a:cubicBezTo>
                  <a:cubicBezTo>
                    <a:pt x="37" y="38"/>
                    <a:pt x="12" y="154"/>
                    <a:pt x="0" y="201"/>
                  </a:cubicBezTo>
                  <a:cubicBezTo>
                    <a:pt x="363" y="201"/>
                    <a:pt x="363" y="201"/>
                    <a:pt x="363" y="201"/>
                  </a:cubicBezTo>
                  <a:cubicBezTo>
                    <a:pt x="376" y="174"/>
                    <a:pt x="391" y="157"/>
                    <a:pt x="410" y="148"/>
                  </a:cubicBezTo>
                  <a:close/>
                  <a:moveTo>
                    <a:pt x="804" y="78"/>
                  </a:moveTo>
                  <a:cubicBezTo>
                    <a:pt x="803" y="81"/>
                    <a:pt x="802" y="83"/>
                    <a:pt x="802" y="84"/>
                  </a:cubicBezTo>
                  <a:cubicBezTo>
                    <a:pt x="799" y="92"/>
                    <a:pt x="798" y="95"/>
                    <a:pt x="793" y="103"/>
                  </a:cubicBezTo>
                  <a:cubicBezTo>
                    <a:pt x="792" y="105"/>
                    <a:pt x="792" y="105"/>
                    <a:pt x="792" y="105"/>
                  </a:cubicBezTo>
                  <a:cubicBezTo>
                    <a:pt x="789" y="110"/>
                    <a:pt x="784" y="116"/>
                    <a:pt x="778" y="122"/>
                  </a:cubicBezTo>
                  <a:cubicBezTo>
                    <a:pt x="807" y="123"/>
                    <a:pt x="871" y="128"/>
                    <a:pt x="914" y="148"/>
                  </a:cubicBezTo>
                  <a:cubicBezTo>
                    <a:pt x="926" y="153"/>
                    <a:pt x="936" y="162"/>
                    <a:pt x="945" y="175"/>
                  </a:cubicBezTo>
                  <a:cubicBezTo>
                    <a:pt x="920" y="3"/>
                    <a:pt x="920" y="3"/>
                    <a:pt x="920" y="3"/>
                  </a:cubicBezTo>
                  <a:cubicBezTo>
                    <a:pt x="920" y="1"/>
                    <a:pt x="918" y="0"/>
                    <a:pt x="917" y="0"/>
                  </a:cubicBezTo>
                  <a:cubicBezTo>
                    <a:pt x="908" y="0"/>
                    <a:pt x="882" y="1"/>
                    <a:pt x="853" y="5"/>
                  </a:cubicBezTo>
                  <a:cubicBezTo>
                    <a:pt x="842" y="28"/>
                    <a:pt x="823" y="59"/>
                    <a:pt x="804" y="78"/>
                  </a:cubicBezTo>
                  <a:close/>
                  <a:moveTo>
                    <a:pt x="2045" y="212"/>
                  </a:moveTo>
                  <a:cubicBezTo>
                    <a:pt x="2035" y="186"/>
                    <a:pt x="2008" y="40"/>
                    <a:pt x="1970" y="23"/>
                  </a:cubicBezTo>
                  <a:cubicBezTo>
                    <a:pt x="1928" y="3"/>
                    <a:pt x="1855" y="0"/>
                    <a:pt x="1839" y="0"/>
                  </a:cubicBezTo>
                  <a:cubicBezTo>
                    <a:pt x="1838" y="0"/>
                    <a:pt x="1836" y="1"/>
                    <a:pt x="1836" y="3"/>
                  </a:cubicBezTo>
                  <a:cubicBezTo>
                    <a:pt x="1744" y="105"/>
                    <a:pt x="1744" y="105"/>
                    <a:pt x="1744" y="105"/>
                  </a:cubicBezTo>
                  <a:cubicBezTo>
                    <a:pt x="1740" y="111"/>
                    <a:pt x="1732" y="111"/>
                    <a:pt x="1728" y="105"/>
                  </a:cubicBezTo>
                  <a:cubicBezTo>
                    <a:pt x="1636" y="3"/>
                    <a:pt x="1636" y="3"/>
                    <a:pt x="1636" y="3"/>
                  </a:cubicBezTo>
                  <a:cubicBezTo>
                    <a:pt x="1636" y="1"/>
                    <a:pt x="1635" y="0"/>
                    <a:pt x="1633" y="0"/>
                  </a:cubicBezTo>
                  <a:cubicBezTo>
                    <a:pt x="1625" y="0"/>
                    <a:pt x="1598" y="1"/>
                    <a:pt x="1569" y="5"/>
                  </a:cubicBezTo>
                  <a:cubicBezTo>
                    <a:pt x="1559" y="28"/>
                    <a:pt x="1539" y="59"/>
                    <a:pt x="1520" y="78"/>
                  </a:cubicBezTo>
                  <a:cubicBezTo>
                    <a:pt x="1519" y="81"/>
                    <a:pt x="1519" y="83"/>
                    <a:pt x="1518" y="84"/>
                  </a:cubicBezTo>
                  <a:cubicBezTo>
                    <a:pt x="1515" y="92"/>
                    <a:pt x="1514" y="95"/>
                    <a:pt x="1509" y="103"/>
                  </a:cubicBezTo>
                  <a:cubicBezTo>
                    <a:pt x="1508" y="105"/>
                    <a:pt x="1508" y="105"/>
                    <a:pt x="1508" y="105"/>
                  </a:cubicBezTo>
                  <a:cubicBezTo>
                    <a:pt x="1505" y="110"/>
                    <a:pt x="1500" y="116"/>
                    <a:pt x="1494" y="122"/>
                  </a:cubicBezTo>
                  <a:cubicBezTo>
                    <a:pt x="1524" y="123"/>
                    <a:pt x="1588" y="128"/>
                    <a:pt x="1630" y="148"/>
                  </a:cubicBezTo>
                  <a:cubicBezTo>
                    <a:pt x="1653" y="159"/>
                    <a:pt x="1670" y="183"/>
                    <a:pt x="1686" y="222"/>
                  </a:cubicBezTo>
                  <a:cubicBezTo>
                    <a:pt x="1688" y="222"/>
                    <a:pt x="1688" y="222"/>
                    <a:pt x="1688" y="222"/>
                  </a:cubicBezTo>
                  <a:cubicBezTo>
                    <a:pt x="1784" y="222"/>
                    <a:pt x="1784" y="222"/>
                    <a:pt x="1784" y="222"/>
                  </a:cubicBezTo>
                  <a:cubicBezTo>
                    <a:pt x="2038" y="222"/>
                    <a:pt x="2038" y="222"/>
                    <a:pt x="2038" y="222"/>
                  </a:cubicBezTo>
                  <a:cubicBezTo>
                    <a:pt x="2043" y="222"/>
                    <a:pt x="2046" y="217"/>
                    <a:pt x="2045" y="212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93" name="Freeform 36">
              <a:extLst>
                <a:ext uri="{FF2B5EF4-FFF2-40B4-BE49-F238E27FC236}">
                  <a16:creationId xmlns:a16="http://schemas.microsoft.com/office/drawing/2014/main" id="{E74F14F1-CFDF-47CE-B213-4A6E4774DF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36" y="1279"/>
              <a:ext cx="4025" cy="1427"/>
            </a:xfrm>
            <a:custGeom>
              <a:avLst/>
              <a:gdLst>
                <a:gd name="T0" fmla="*/ 1233 w 2149"/>
                <a:gd name="T1" fmla="*/ 232 h 761"/>
                <a:gd name="T2" fmla="*/ 1201 w 2149"/>
                <a:gd name="T3" fmla="*/ 259 h 761"/>
                <a:gd name="T4" fmla="*/ 977 w 2149"/>
                <a:gd name="T5" fmla="*/ 139 h 761"/>
                <a:gd name="T6" fmla="*/ 925 w 2149"/>
                <a:gd name="T7" fmla="*/ 255 h 761"/>
                <a:gd name="T8" fmla="*/ 908 w 2149"/>
                <a:gd name="T9" fmla="*/ 234 h 761"/>
                <a:gd name="T10" fmla="*/ 1070 w 2149"/>
                <a:gd name="T11" fmla="*/ 0 h 761"/>
                <a:gd name="T12" fmla="*/ 1233 w 2149"/>
                <a:gd name="T13" fmla="*/ 232 h 761"/>
                <a:gd name="T14" fmla="*/ 354 w 2149"/>
                <a:gd name="T15" fmla="*/ 0 h 761"/>
                <a:gd name="T16" fmla="*/ 192 w 2149"/>
                <a:gd name="T17" fmla="*/ 234 h 761"/>
                <a:gd name="T18" fmla="*/ 208 w 2149"/>
                <a:gd name="T19" fmla="*/ 255 h 761"/>
                <a:gd name="T20" fmla="*/ 261 w 2149"/>
                <a:gd name="T21" fmla="*/ 139 h 761"/>
                <a:gd name="T22" fmla="*/ 485 w 2149"/>
                <a:gd name="T23" fmla="*/ 259 h 761"/>
                <a:gd name="T24" fmla="*/ 516 w 2149"/>
                <a:gd name="T25" fmla="*/ 232 h 761"/>
                <a:gd name="T26" fmla="*/ 523 w 2149"/>
                <a:gd name="T27" fmla="*/ 173 h 761"/>
                <a:gd name="T28" fmla="*/ 712 w 2149"/>
                <a:gd name="T29" fmla="*/ 218 h 761"/>
                <a:gd name="T30" fmla="*/ 554 w 2149"/>
                <a:gd name="T31" fmla="*/ 440 h 761"/>
                <a:gd name="T32" fmla="*/ 607 w 2149"/>
                <a:gd name="T33" fmla="*/ 522 h 761"/>
                <a:gd name="T34" fmla="*/ 712 w 2149"/>
                <a:gd name="T35" fmla="*/ 597 h 761"/>
                <a:gd name="T36" fmla="*/ 817 w 2149"/>
                <a:gd name="T37" fmla="*/ 522 h 761"/>
                <a:gd name="T38" fmla="*/ 868 w 2149"/>
                <a:gd name="T39" fmla="*/ 445 h 761"/>
                <a:gd name="T40" fmla="*/ 1056 w 2149"/>
                <a:gd name="T41" fmla="*/ 535 h 761"/>
                <a:gd name="T42" fmla="*/ 1033 w 2149"/>
                <a:gd name="T43" fmla="*/ 671 h 761"/>
                <a:gd name="T44" fmla="*/ 1084 w 2149"/>
                <a:gd name="T45" fmla="*/ 538 h 761"/>
                <a:gd name="T46" fmla="*/ 1106 w 2149"/>
                <a:gd name="T47" fmla="*/ 500 h 761"/>
                <a:gd name="T48" fmla="*/ 1071 w 2149"/>
                <a:gd name="T49" fmla="*/ 491 h 761"/>
                <a:gd name="T50" fmla="*/ 1034 w 2149"/>
                <a:gd name="T51" fmla="*/ 500 h 761"/>
                <a:gd name="T52" fmla="*/ 1597 w 2149"/>
                <a:gd name="T53" fmla="*/ 391 h 761"/>
                <a:gd name="T54" fmla="*/ 1259 w 2149"/>
                <a:gd name="T55" fmla="*/ 391 h 761"/>
                <a:gd name="T56" fmla="*/ 1271 w 2149"/>
                <a:gd name="T57" fmla="*/ 442 h 761"/>
                <a:gd name="T58" fmla="*/ 1336 w 2149"/>
                <a:gd name="T59" fmla="*/ 553 h 761"/>
                <a:gd name="T60" fmla="*/ 1520 w 2149"/>
                <a:gd name="T61" fmla="*/ 553 h 761"/>
                <a:gd name="T62" fmla="*/ 1584 w 2149"/>
                <a:gd name="T63" fmla="*/ 446 h 761"/>
                <a:gd name="T64" fmla="*/ 1597 w 2149"/>
                <a:gd name="T65" fmla="*/ 391 h 761"/>
                <a:gd name="T66" fmla="*/ 1786 w 2149"/>
                <a:gd name="T67" fmla="*/ 0 h 761"/>
                <a:gd name="T68" fmla="*/ 1624 w 2149"/>
                <a:gd name="T69" fmla="*/ 246 h 761"/>
                <a:gd name="T70" fmla="*/ 1691 w 2149"/>
                <a:gd name="T71" fmla="*/ 140 h 761"/>
                <a:gd name="T72" fmla="*/ 1919 w 2149"/>
                <a:gd name="T73" fmla="*/ 260 h 761"/>
                <a:gd name="T74" fmla="*/ 1931 w 2149"/>
                <a:gd name="T75" fmla="*/ 261 h 761"/>
                <a:gd name="T76" fmla="*/ 1952 w 2149"/>
                <a:gd name="T77" fmla="*/ 233 h 761"/>
                <a:gd name="T78" fmla="*/ 1958 w 2149"/>
                <a:gd name="T79" fmla="*/ 175 h 761"/>
                <a:gd name="T80" fmla="*/ 22 w 2149"/>
                <a:gd name="T81" fmla="*/ 717 h 761"/>
                <a:gd name="T82" fmla="*/ 22 w 2149"/>
                <a:gd name="T83" fmla="*/ 761 h 761"/>
                <a:gd name="T84" fmla="*/ 395 w 2149"/>
                <a:gd name="T85" fmla="*/ 717 h 761"/>
                <a:gd name="T86" fmla="*/ 1745 w 2149"/>
                <a:gd name="T87" fmla="*/ 717 h 761"/>
                <a:gd name="T88" fmla="*/ 2127 w 2149"/>
                <a:gd name="T89" fmla="*/ 761 h 761"/>
                <a:gd name="T90" fmla="*/ 2127 w 2149"/>
                <a:gd name="T91" fmla="*/ 717 h 761"/>
                <a:gd name="T92" fmla="*/ 1029 w 2149"/>
                <a:gd name="T93" fmla="*/ 717 h 761"/>
                <a:gd name="T94" fmla="*/ 1098 w 2149"/>
                <a:gd name="T95" fmla="*/ 761 h 761"/>
                <a:gd name="T96" fmla="*/ 1644 w 2149"/>
                <a:gd name="T97" fmla="*/ 449 h 761"/>
                <a:gd name="T98" fmla="*/ 1686 w 2149"/>
                <a:gd name="T99" fmla="*/ 445 h 761"/>
                <a:gd name="T100" fmla="*/ 1636 w 2149"/>
                <a:gd name="T101" fmla="*/ 304 h 761"/>
                <a:gd name="T102" fmla="*/ 1641 w 2149"/>
                <a:gd name="T103" fmla="*/ 391 h 761"/>
                <a:gd name="T104" fmla="*/ 1644 w 2149"/>
                <a:gd name="T105" fmla="*/ 449 h 761"/>
                <a:gd name="T106" fmla="*/ 1929 w 2149"/>
                <a:gd name="T107" fmla="*/ 449 h 761"/>
                <a:gd name="T108" fmla="*/ 1936 w 2149"/>
                <a:gd name="T109" fmla="*/ 304 h 761"/>
                <a:gd name="T110" fmla="*/ 1887 w 2149"/>
                <a:gd name="T111" fmla="*/ 445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49" h="761">
                  <a:moveTo>
                    <a:pt x="1233" y="232"/>
                  </a:moveTo>
                  <a:cubicBezTo>
                    <a:pt x="1233" y="232"/>
                    <a:pt x="1233" y="232"/>
                    <a:pt x="1233" y="232"/>
                  </a:cubicBezTo>
                  <a:cubicBezTo>
                    <a:pt x="1232" y="232"/>
                    <a:pt x="1229" y="241"/>
                    <a:pt x="1214" y="259"/>
                  </a:cubicBezTo>
                  <a:cubicBezTo>
                    <a:pt x="1214" y="259"/>
                    <a:pt x="1214" y="259"/>
                    <a:pt x="1201" y="259"/>
                  </a:cubicBezTo>
                  <a:cubicBezTo>
                    <a:pt x="1201" y="259"/>
                    <a:pt x="1201" y="252"/>
                    <a:pt x="1200" y="131"/>
                  </a:cubicBezTo>
                  <a:cubicBezTo>
                    <a:pt x="1180" y="228"/>
                    <a:pt x="977" y="139"/>
                    <a:pt x="977" y="139"/>
                  </a:cubicBezTo>
                  <a:cubicBezTo>
                    <a:pt x="927" y="155"/>
                    <a:pt x="936" y="256"/>
                    <a:pt x="936" y="256"/>
                  </a:cubicBezTo>
                  <a:cubicBezTo>
                    <a:pt x="936" y="256"/>
                    <a:pt x="936" y="256"/>
                    <a:pt x="925" y="255"/>
                  </a:cubicBezTo>
                  <a:cubicBezTo>
                    <a:pt x="925" y="255"/>
                    <a:pt x="925" y="249"/>
                    <a:pt x="908" y="234"/>
                  </a:cubicBezTo>
                  <a:cubicBezTo>
                    <a:pt x="908" y="234"/>
                    <a:pt x="908" y="234"/>
                    <a:pt x="908" y="234"/>
                  </a:cubicBezTo>
                  <a:cubicBezTo>
                    <a:pt x="901" y="215"/>
                    <a:pt x="901" y="195"/>
                    <a:pt x="901" y="173"/>
                  </a:cubicBezTo>
                  <a:cubicBezTo>
                    <a:pt x="901" y="78"/>
                    <a:pt x="974" y="0"/>
                    <a:pt x="1070" y="0"/>
                  </a:cubicBezTo>
                  <a:cubicBezTo>
                    <a:pt x="1166" y="0"/>
                    <a:pt x="1239" y="78"/>
                    <a:pt x="1239" y="173"/>
                  </a:cubicBezTo>
                  <a:cubicBezTo>
                    <a:pt x="1239" y="194"/>
                    <a:pt x="1239" y="214"/>
                    <a:pt x="1233" y="232"/>
                  </a:cubicBezTo>
                  <a:close/>
                  <a:moveTo>
                    <a:pt x="523" y="173"/>
                  </a:moveTo>
                  <a:cubicBezTo>
                    <a:pt x="523" y="78"/>
                    <a:pt x="449" y="0"/>
                    <a:pt x="354" y="0"/>
                  </a:cubicBezTo>
                  <a:cubicBezTo>
                    <a:pt x="258" y="0"/>
                    <a:pt x="185" y="78"/>
                    <a:pt x="185" y="173"/>
                  </a:cubicBezTo>
                  <a:cubicBezTo>
                    <a:pt x="185" y="195"/>
                    <a:pt x="185" y="215"/>
                    <a:pt x="192" y="234"/>
                  </a:cubicBezTo>
                  <a:cubicBezTo>
                    <a:pt x="192" y="234"/>
                    <a:pt x="192" y="234"/>
                    <a:pt x="192" y="234"/>
                  </a:cubicBezTo>
                  <a:cubicBezTo>
                    <a:pt x="208" y="249"/>
                    <a:pt x="208" y="255"/>
                    <a:pt x="208" y="255"/>
                  </a:cubicBezTo>
                  <a:cubicBezTo>
                    <a:pt x="220" y="256"/>
                    <a:pt x="220" y="256"/>
                    <a:pt x="220" y="256"/>
                  </a:cubicBezTo>
                  <a:cubicBezTo>
                    <a:pt x="220" y="256"/>
                    <a:pt x="211" y="155"/>
                    <a:pt x="261" y="139"/>
                  </a:cubicBezTo>
                  <a:cubicBezTo>
                    <a:pt x="261" y="139"/>
                    <a:pt x="464" y="228"/>
                    <a:pt x="483" y="131"/>
                  </a:cubicBezTo>
                  <a:cubicBezTo>
                    <a:pt x="485" y="252"/>
                    <a:pt x="485" y="259"/>
                    <a:pt x="485" y="259"/>
                  </a:cubicBezTo>
                  <a:cubicBezTo>
                    <a:pt x="497" y="259"/>
                    <a:pt x="497" y="259"/>
                    <a:pt x="497" y="259"/>
                  </a:cubicBezTo>
                  <a:cubicBezTo>
                    <a:pt x="513" y="241"/>
                    <a:pt x="516" y="232"/>
                    <a:pt x="516" y="232"/>
                  </a:cubicBezTo>
                  <a:cubicBezTo>
                    <a:pt x="516" y="232"/>
                    <a:pt x="516" y="232"/>
                    <a:pt x="517" y="232"/>
                  </a:cubicBezTo>
                  <a:cubicBezTo>
                    <a:pt x="523" y="214"/>
                    <a:pt x="523" y="194"/>
                    <a:pt x="523" y="173"/>
                  </a:cubicBezTo>
                  <a:close/>
                  <a:moveTo>
                    <a:pt x="881" y="391"/>
                  </a:moveTo>
                  <a:cubicBezTo>
                    <a:pt x="881" y="296"/>
                    <a:pt x="807" y="218"/>
                    <a:pt x="712" y="218"/>
                  </a:cubicBezTo>
                  <a:cubicBezTo>
                    <a:pt x="616" y="218"/>
                    <a:pt x="543" y="296"/>
                    <a:pt x="543" y="391"/>
                  </a:cubicBezTo>
                  <a:cubicBezTo>
                    <a:pt x="543" y="408"/>
                    <a:pt x="551" y="425"/>
                    <a:pt x="554" y="440"/>
                  </a:cubicBezTo>
                  <a:cubicBezTo>
                    <a:pt x="555" y="441"/>
                    <a:pt x="554" y="441"/>
                    <a:pt x="555" y="442"/>
                  </a:cubicBezTo>
                  <a:cubicBezTo>
                    <a:pt x="557" y="459"/>
                    <a:pt x="594" y="513"/>
                    <a:pt x="607" y="522"/>
                  </a:cubicBezTo>
                  <a:cubicBezTo>
                    <a:pt x="617" y="548"/>
                    <a:pt x="612" y="541"/>
                    <a:pt x="620" y="553"/>
                  </a:cubicBezTo>
                  <a:cubicBezTo>
                    <a:pt x="630" y="568"/>
                    <a:pt x="680" y="597"/>
                    <a:pt x="712" y="597"/>
                  </a:cubicBezTo>
                  <a:cubicBezTo>
                    <a:pt x="744" y="597"/>
                    <a:pt x="795" y="569"/>
                    <a:pt x="804" y="553"/>
                  </a:cubicBezTo>
                  <a:cubicBezTo>
                    <a:pt x="812" y="538"/>
                    <a:pt x="806" y="548"/>
                    <a:pt x="817" y="522"/>
                  </a:cubicBezTo>
                  <a:cubicBezTo>
                    <a:pt x="836" y="509"/>
                    <a:pt x="867" y="454"/>
                    <a:pt x="868" y="446"/>
                  </a:cubicBezTo>
                  <a:cubicBezTo>
                    <a:pt x="868" y="445"/>
                    <a:pt x="868" y="445"/>
                    <a:pt x="868" y="445"/>
                  </a:cubicBezTo>
                  <a:cubicBezTo>
                    <a:pt x="873" y="428"/>
                    <a:pt x="881" y="410"/>
                    <a:pt x="881" y="391"/>
                  </a:cubicBezTo>
                  <a:close/>
                  <a:moveTo>
                    <a:pt x="1056" y="535"/>
                  </a:moveTo>
                  <a:cubicBezTo>
                    <a:pt x="1056" y="536"/>
                    <a:pt x="1056" y="537"/>
                    <a:pt x="1056" y="538"/>
                  </a:cubicBezTo>
                  <a:cubicBezTo>
                    <a:pt x="1033" y="671"/>
                    <a:pt x="1033" y="671"/>
                    <a:pt x="1033" y="671"/>
                  </a:cubicBezTo>
                  <a:cubicBezTo>
                    <a:pt x="1105" y="671"/>
                    <a:pt x="1105" y="671"/>
                    <a:pt x="1105" y="671"/>
                  </a:cubicBezTo>
                  <a:cubicBezTo>
                    <a:pt x="1084" y="538"/>
                    <a:pt x="1084" y="538"/>
                    <a:pt x="1084" y="538"/>
                  </a:cubicBezTo>
                  <a:cubicBezTo>
                    <a:pt x="1084" y="537"/>
                    <a:pt x="1084" y="536"/>
                    <a:pt x="1084" y="535"/>
                  </a:cubicBezTo>
                  <a:cubicBezTo>
                    <a:pt x="1106" y="500"/>
                    <a:pt x="1106" y="500"/>
                    <a:pt x="1106" y="500"/>
                  </a:cubicBezTo>
                  <a:cubicBezTo>
                    <a:pt x="1107" y="498"/>
                    <a:pt x="1106" y="496"/>
                    <a:pt x="1104" y="496"/>
                  </a:cubicBezTo>
                  <a:cubicBezTo>
                    <a:pt x="1097" y="494"/>
                    <a:pt x="1083" y="491"/>
                    <a:pt x="1071" y="491"/>
                  </a:cubicBezTo>
                  <a:cubicBezTo>
                    <a:pt x="1059" y="491"/>
                    <a:pt x="1044" y="494"/>
                    <a:pt x="1036" y="496"/>
                  </a:cubicBezTo>
                  <a:cubicBezTo>
                    <a:pt x="1034" y="496"/>
                    <a:pt x="1033" y="499"/>
                    <a:pt x="1034" y="500"/>
                  </a:cubicBezTo>
                  <a:lnTo>
                    <a:pt x="1056" y="535"/>
                  </a:lnTo>
                  <a:close/>
                  <a:moveTo>
                    <a:pt x="1597" y="391"/>
                  </a:moveTo>
                  <a:cubicBezTo>
                    <a:pt x="1597" y="296"/>
                    <a:pt x="1524" y="218"/>
                    <a:pt x="1428" y="218"/>
                  </a:cubicBezTo>
                  <a:cubicBezTo>
                    <a:pt x="1333" y="218"/>
                    <a:pt x="1259" y="296"/>
                    <a:pt x="1259" y="391"/>
                  </a:cubicBezTo>
                  <a:cubicBezTo>
                    <a:pt x="1259" y="408"/>
                    <a:pt x="1267" y="425"/>
                    <a:pt x="1271" y="440"/>
                  </a:cubicBezTo>
                  <a:cubicBezTo>
                    <a:pt x="1271" y="441"/>
                    <a:pt x="1271" y="441"/>
                    <a:pt x="1271" y="442"/>
                  </a:cubicBezTo>
                  <a:cubicBezTo>
                    <a:pt x="1274" y="459"/>
                    <a:pt x="1310" y="513"/>
                    <a:pt x="1323" y="522"/>
                  </a:cubicBezTo>
                  <a:cubicBezTo>
                    <a:pt x="1333" y="548"/>
                    <a:pt x="1328" y="541"/>
                    <a:pt x="1336" y="553"/>
                  </a:cubicBezTo>
                  <a:cubicBezTo>
                    <a:pt x="1346" y="568"/>
                    <a:pt x="1396" y="597"/>
                    <a:pt x="1428" y="597"/>
                  </a:cubicBezTo>
                  <a:cubicBezTo>
                    <a:pt x="1460" y="597"/>
                    <a:pt x="1511" y="569"/>
                    <a:pt x="1520" y="553"/>
                  </a:cubicBezTo>
                  <a:cubicBezTo>
                    <a:pt x="1529" y="538"/>
                    <a:pt x="1523" y="548"/>
                    <a:pt x="1533" y="522"/>
                  </a:cubicBezTo>
                  <a:cubicBezTo>
                    <a:pt x="1552" y="509"/>
                    <a:pt x="1583" y="454"/>
                    <a:pt x="1584" y="446"/>
                  </a:cubicBezTo>
                  <a:cubicBezTo>
                    <a:pt x="1584" y="445"/>
                    <a:pt x="1584" y="445"/>
                    <a:pt x="1584" y="445"/>
                  </a:cubicBezTo>
                  <a:cubicBezTo>
                    <a:pt x="1589" y="428"/>
                    <a:pt x="1597" y="410"/>
                    <a:pt x="1597" y="391"/>
                  </a:cubicBezTo>
                  <a:close/>
                  <a:moveTo>
                    <a:pt x="1958" y="175"/>
                  </a:moveTo>
                  <a:cubicBezTo>
                    <a:pt x="1958" y="78"/>
                    <a:pt x="1883" y="0"/>
                    <a:pt x="1786" y="0"/>
                  </a:cubicBezTo>
                  <a:cubicBezTo>
                    <a:pt x="1689" y="0"/>
                    <a:pt x="1614" y="78"/>
                    <a:pt x="1614" y="175"/>
                  </a:cubicBezTo>
                  <a:cubicBezTo>
                    <a:pt x="1614" y="196"/>
                    <a:pt x="1617" y="227"/>
                    <a:pt x="1624" y="246"/>
                  </a:cubicBezTo>
                  <a:cubicBezTo>
                    <a:pt x="1624" y="246"/>
                    <a:pt x="1624" y="246"/>
                    <a:pt x="1624" y="246"/>
                  </a:cubicBezTo>
                  <a:cubicBezTo>
                    <a:pt x="1641" y="261"/>
                    <a:pt x="1641" y="157"/>
                    <a:pt x="1691" y="140"/>
                  </a:cubicBezTo>
                  <a:cubicBezTo>
                    <a:pt x="1692" y="140"/>
                    <a:pt x="1692" y="140"/>
                    <a:pt x="1693" y="141"/>
                  </a:cubicBezTo>
                  <a:cubicBezTo>
                    <a:pt x="1919" y="260"/>
                    <a:pt x="1919" y="260"/>
                    <a:pt x="1919" y="260"/>
                  </a:cubicBezTo>
                  <a:cubicBezTo>
                    <a:pt x="1920" y="261"/>
                    <a:pt x="1920" y="261"/>
                    <a:pt x="1920" y="261"/>
                  </a:cubicBezTo>
                  <a:cubicBezTo>
                    <a:pt x="1931" y="261"/>
                    <a:pt x="1931" y="261"/>
                    <a:pt x="1931" y="261"/>
                  </a:cubicBezTo>
                  <a:cubicBezTo>
                    <a:pt x="1932" y="261"/>
                    <a:pt x="1933" y="260"/>
                    <a:pt x="1933" y="260"/>
                  </a:cubicBezTo>
                  <a:cubicBezTo>
                    <a:pt x="1949" y="242"/>
                    <a:pt x="1951" y="234"/>
                    <a:pt x="1952" y="233"/>
                  </a:cubicBezTo>
                  <a:cubicBezTo>
                    <a:pt x="1952" y="233"/>
                    <a:pt x="1952" y="234"/>
                    <a:pt x="1952" y="234"/>
                  </a:cubicBezTo>
                  <a:cubicBezTo>
                    <a:pt x="1959" y="215"/>
                    <a:pt x="1958" y="195"/>
                    <a:pt x="1958" y="175"/>
                  </a:cubicBezTo>
                  <a:close/>
                  <a:moveTo>
                    <a:pt x="395" y="717"/>
                  </a:moveTo>
                  <a:cubicBezTo>
                    <a:pt x="22" y="717"/>
                    <a:pt x="22" y="717"/>
                    <a:pt x="22" y="717"/>
                  </a:cubicBezTo>
                  <a:cubicBezTo>
                    <a:pt x="9" y="717"/>
                    <a:pt x="0" y="727"/>
                    <a:pt x="0" y="739"/>
                  </a:cubicBezTo>
                  <a:cubicBezTo>
                    <a:pt x="0" y="752"/>
                    <a:pt x="9" y="761"/>
                    <a:pt x="22" y="761"/>
                  </a:cubicBezTo>
                  <a:cubicBezTo>
                    <a:pt x="382" y="761"/>
                    <a:pt x="382" y="761"/>
                    <a:pt x="382" y="761"/>
                  </a:cubicBezTo>
                  <a:cubicBezTo>
                    <a:pt x="386" y="745"/>
                    <a:pt x="391" y="731"/>
                    <a:pt x="395" y="717"/>
                  </a:cubicBezTo>
                  <a:close/>
                  <a:moveTo>
                    <a:pt x="2127" y="717"/>
                  </a:moveTo>
                  <a:cubicBezTo>
                    <a:pt x="1745" y="717"/>
                    <a:pt x="1745" y="717"/>
                    <a:pt x="1745" y="717"/>
                  </a:cubicBezTo>
                  <a:cubicBezTo>
                    <a:pt x="1749" y="731"/>
                    <a:pt x="1754" y="745"/>
                    <a:pt x="1758" y="761"/>
                  </a:cubicBezTo>
                  <a:cubicBezTo>
                    <a:pt x="2127" y="761"/>
                    <a:pt x="2127" y="761"/>
                    <a:pt x="2127" y="761"/>
                  </a:cubicBezTo>
                  <a:cubicBezTo>
                    <a:pt x="2139" y="761"/>
                    <a:pt x="2149" y="752"/>
                    <a:pt x="2149" y="739"/>
                  </a:cubicBezTo>
                  <a:cubicBezTo>
                    <a:pt x="2149" y="727"/>
                    <a:pt x="2139" y="717"/>
                    <a:pt x="2127" y="717"/>
                  </a:cubicBezTo>
                  <a:close/>
                  <a:moveTo>
                    <a:pt x="1111" y="717"/>
                  </a:moveTo>
                  <a:cubicBezTo>
                    <a:pt x="1029" y="717"/>
                    <a:pt x="1029" y="717"/>
                    <a:pt x="1029" y="717"/>
                  </a:cubicBezTo>
                  <a:cubicBezTo>
                    <a:pt x="1033" y="731"/>
                    <a:pt x="1037" y="745"/>
                    <a:pt x="1042" y="761"/>
                  </a:cubicBezTo>
                  <a:cubicBezTo>
                    <a:pt x="1098" y="761"/>
                    <a:pt x="1098" y="761"/>
                    <a:pt x="1098" y="761"/>
                  </a:cubicBezTo>
                  <a:cubicBezTo>
                    <a:pt x="1103" y="745"/>
                    <a:pt x="1107" y="731"/>
                    <a:pt x="1111" y="717"/>
                  </a:cubicBezTo>
                  <a:close/>
                  <a:moveTo>
                    <a:pt x="1644" y="449"/>
                  </a:moveTo>
                  <a:cubicBezTo>
                    <a:pt x="1662" y="447"/>
                    <a:pt x="1676" y="447"/>
                    <a:pt x="1682" y="447"/>
                  </a:cubicBezTo>
                  <a:cubicBezTo>
                    <a:pt x="1684" y="446"/>
                    <a:pt x="1686" y="445"/>
                    <a:pt x="1686" y="445"/>
                  </a:cubicBezTo>
                  <a:cubicBezTo>
                    <a:pt x="1686" y="412"/>
                    <a:pt x="1686" y="412"/>
                    <a:pt x="1686" y="412"/>
                  </a:cubicBezTo>
                  <a:cubicBezTo>
                    <a:pt x="1686" y="412"/>
                    <a:pt x="1643" y="333"/>
                    <a:pt x="1636" y="304"/>
                  </a:cubicBezTo>
                  <a:cubicBezTo>
                    <a:pt x="1633" y="304"/>
                    <a:pt x="1633" y="314"/>
                    <a:pt x="1632" y="328"/>
                  </a:cubicBezTo>
                  <a:cubicBezTo>
                    <a:pt x="1638" y="348"/>
                    <a:pt x="1641" y="369"/>
                    <a:pt x="1641" y="391"/>
                  </a:cubicBezTo>
                  <a:cubicBezTo>
                    <a:pt x="1641" y="412"/>
                    <a:pt x="1635" y="430"/>
                    <a:pt x="1630" y="445"/>
                  </a:cubicBezTo>
                  <a:cubicBezTo>
                    <a:pt x="1635" y="447"/>
                    <a:pt x="1640" y="448"/>
                    <a:pt x="1644" y="449"/>
                  </a:cubicBezTo>
                  <a:close/>
                  <a:moveTo>
                    <a:pt x="1891" y="447"/>
                  </a:moveTo>
                  <a:cubicBezTo>
                    <a:pt x="1898" y="447"/>
                    <a:pt x="1912" y="447"/>
                    <a:pt x="1929" y="449"/>
                  </a:cubicBezTo>
                  <a:cubicBezTo>
                    <a:pt x="1944" y="446"/>
                    <a:pt x="1963" y="438"/>
                    <a:pt x="1982" y="418"/>
                  </a:cubicBezTo>
                  <a:cubicBezTo>
                    <a:pt x="1928" y="413"/>
                    <a:pt x="1946" y="304"/>
                    <a:pt x="1936" y="304"/>
                  </a:cubicBezTo>
                  <a:cubicBezTo>
                    <a:pt x="1929" y="335"/>
                    <a:pt x="1887" y="412"/>
                    <a:pt x="1887" y="412"/>
                  </a:cubicBezTo>
                  <a:cubicBezTo>
                    <a:pt x="1887" y="445"/>
                    <a:pt x="1887" y="445"/>
                    <a:pt x="1887" y="445"/>
                  </a:cubicBezTo>
                  <a:cubicBezTo>
                    <a:pt x="1887" y="445"/>
                    <a:pt x="1889" y="446"/>
                    <a:pt x="1891" y="44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</p:grpSp>
      <p:sp>
        <p:nvSpPr>
          <p:cNvPr id="195" name="Shape 2901"/>
          <p:cNvSpPr/>
          <p:nvPr/>
        </p:nvSpPr>
        <p:spPr>
          <a:xfrm>
            <a:off x="6410940" y="4723058"/>
            <a:ext cx="81013" cy="8230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351" h="21297" extrusionOk="0">
                <a:moveTo>
                  <a:pt x="18143" y="3162"/>
                </a:moveTo>
                <a:cubicBezTo>
                  <a:pt x="19589" y="4512"/>
                  <a:pt x="20402" y="6042"/>
                  <a:pt x="20945" y="7932"/>
                </a:cubicBezTo>
                <a:cubicBezTo>
                  <a:pt x="21487" y="9822"/>
                  <a:pt x="21487" y="11532"/>
                  <a:pt x="20945" y="13422"/>
                </a:cubicBezTo>
                <a:cubicBezTo>
                  <a:pt x="20402" y="15312"/>
                  <a:pt x="19589" y="16752"/>
                  <a:pt x="18143" y="18192"/>
                </a:cubicBezTo>
                <a:cubicBezTo>
                  <a:pt x="16787" y="19542"/>
                  <a:pt x="15341" y="20352"/>
                  <a:pt x="13443" y="20892"/>
                </a:cubicBezTo>
                <a:cubicBezTo>
                  <a:pt x="11546" y="21432"/>
                  <a:pt x="9828" y="21432"/>
                  <a:pt x="7931" y="20892"/>
                </a:cubicBezTo>
                <a:cubicBezTo>
                  <a:pt x="6033" y="20352"/>
                  <a:pt x="4587" y="19542"/>
                  <a:pt x="3141" y="18192"/>
                </a:cubicBezTo>
                <a:cubicBezTo>
                  <a:pt x="1785" y="16752"/>
                  <a:pt x="881" y="15312"/>
                  <a:pt x="339" y="13422"/>
                </a:cubicBezTo>
                <a:cubicBezTo>
                  <a:pt x="-113" y="11532"/>
                  <a:pt x="-113" y="9822"/>
                  <a:pt x="339" y="7932"/>
                </a:cubicBezTo>
                <a:cubicBezTo>
                  <a:pt x="881" y="6042"/>
                  <a:pt x="1785" y="4512"/>
                  <a:pt x="3141" y="3162"/>
                </a:cubicBezTo>
                <a:cubicBezTo>
                  <a:pt x="4587" y="1812"/>
                  <a:pt x="6033" y="822"/>
                  <a:pt x="7931" y="372"/>
                </a:cubicBezTo>
                <a:cubicBezTo>
                  <a:pt x="9828" y="-168"/>
                  <a:pt x="11546" y="-78"/>
                  <a:pt x="13443" y="372"/>
                </a:cubicBezTo>
                <a:cubicBezTo>
                  <a:pt x="15341" y="912"/>
                  <a:pt x="16787" y="1812"/>
                  <a:pt x="18143" y="3162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96" name="Shape 2902"/>
          <p:cNvSpPr/>
          <p:nvPr/>
        </p:nvSpPr>
        <p:spPr>
          <a:xfrm>
            <a:off x="6281609" y="4723058"/>
            <a:ext cx="80801" cy="8230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96" h="21297" extrusionOk="0">
                <a:moveTo>
                  <a:pt x="18177" y="3162"/>
                </a:moveTo>
                <a:cubicBezTo>
                  <a:pt x="19533" y="4512"/>
                  <a:pt x="20437" y="6042"/>
                  <a:pt x="20889" y="7932"/>
                </a:cubicBezTo>
                <a:cubicBezTo>
                  <a:pt x="21431" y="9822"/>
                  <a:pt x="21431" y="11532"/>
                  <a:pt x="20889" y="13422"/>
                </a:cubicBezTo>
                <a:cubicBezTo>
                  <a:pt x="20437" y="15312"/>
                  <a:pt x="19533" y="16752"/>
                  <a:pt x="18177" y="18192"/>
                </a:cubicBezTo>
                <a:cubicBezTo>
                  <a:pt x="16822" y="19542"/>
                  <a:pt x="15285" y="20352"/>
                  <a:pt x="13387" y="20892"/>
                </a:cubicBezTo>
                <a:cubicBezTo>
                  <a:pt x="11490" y="21432"/>
                  <a:pt x="9772" y="21432"/>
                  <a:pt x="7875" y="20892"/>
                </a:cubicBezTo>
                <a:cubicBezTo>
                  <a:pt x="5977" y="20352"/>
                  <a:pt x="4531" y="19542"/>
                  <a:pt x="3085" y="18192"/>
                </a:cubicBezTo>
                <a:cubicBezTo>
                  <a:pt x="1729" y="16752"/>
                  <a:pt x="916" y="15312"/>
                  <a:pt x="373" y="13422"/>
                </a:cubicBezTo>
                <a:cubicBezTo>
                  <a:pt x="-79" y="11532"/>
                  <a:pt x="-169" y="9822"/>
                  <a:pt x="373" y="7932"/>
                </a:cubicBezTo>
                <a:cubicBezTo>
                  <a:pt x="825" y="6042"/>
                  <a:pt x="1729" y="4512"/>
                  <a:pt x="3085" y="3162"/>
                </a:cubicBezTo>
                <a:cubicBezTo>
                  <a:pt x="4531" y="1812"/>
                  <a:pt x="5977" y="822"/>
                  <a:pt x="7875" y="372"/>
                </a:cubicBezTo>
                <a:cubicBezTo>
                  <a:pt x="9772" y="-168"/>
                  <a:pt x="11490" y="-78"/>
                  <a:pt x="13387" y="372"/>
                </a:cubicBezTo>
                <a:cubicBezTo>
                  <a:pt x="15285" y="912"/>
                  <a:pt x="16822" y="1812"/>
                  <a:pt x="18177" y="3162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97" name="Shape 2903"/>
          <p:cNvSpPr/>
          <p:nvPr/>
        </p:nvSpPr>
        <p:spPr>
          <a:xfrm>
            <a:off x="6136186" y="4723059"/>
            <a:ext cx="502586" cy="3563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423" extrusionOk="0">
                <a:moveTo>
                  <a:pt x="401" y="5893"/>
                </a:moveTo>
                <a:lnTo>
                  <a:pt x="4237" y="530"/>
                </a:lnTo>
                <a:cubicBezTo>
                  <a:pt x="4757" y="-177"/>
                  <a:pt x="5604" y="-177"/>
                  <a:pt x="6095" y="530"/>
                </a:cubicBezTo>
                <a:cubicBezTo>
                  <a:pt x="6214" y="675"/>
                  <a:pt x="6600" y="1237"/>
                  <a:pt x="6704" y="1382"/>
                </a:cubicBezTo>
                <a:cubicBezTo>
                  <a:pt x="6838" y="1549"/>
                  <a:pt x="6927" y="1777"/>
                  <a:pt x="7002" y="1985"/>
                </a:cubicBezTo>
                <a:lnTo>
                  <a:pt x="8087" y="6143"/>
                </a:lnTo>
                <a:lnTo>
                  <a:pt x="10807" y="7910"/>
                </a:lnTo>
                <a:lnTo>
                  <a:pt x="13528" y="6143"/>
                </a:lnTo>
                <a:lnTo>
                  <a:pt x="14613" y="1985"/>
                </a:lnTo>
                <a:cubicBezTo>
                  <a:pt x="14687" y="1756"/>
                  <a:pt x="14777" y="1549"/>
                  <a:pt x="14896" y="1382"/>
                </a:cubicBezTo>
                <a:cubicBezTo>
                  <a:pt x="15000" y="1237"/>
                  <a:pt x="15401" y="675"/>
                  <a:pt x="15505" y="530"/>
                </a:cubicBezTo>
                <a:cubicBezTo>
                  <a:pt x="16010" y="-177"/>
                  <a:pt x="16828" y="-177"/>
                  <a:pt x="17363" y="530"/>
                </a:cubicBezTo>
                <a:lnTo>
                  <a:pt x="21213" y="5893"/>
                </a:lnTo>
                <a:cubicBezTo>
                  <a:pt x="21481" y="6288"/>
                  <a:pt x="21600" y="6725"/>
                  <a:pt x="21600" y="7224"/>
                </a:cubicBezTo>
                <a:lnTo>
                  <a:pt x="21600" y="19905"/>
                </a:lnTo>
                <a:cubicBezTo>
                  <a:pt x="21600" y="20758"/>
                  <a:pt x="21124" y="21423"/>
                  <a:pt x="20515" y="21423"/>
                </a:cubicBezTo>
                <a:cubicBezTo>
                  <a:pt x="19905" y="21423"/>
                  <a:pt x="19415" y="20758"/>
                  <a:pt x="19415" y="19905"/>
                </a:cubicBezTo>
                <a:lnTo>
                  <a:pt x="19415" y="9843"/>
                </a:lnTo>
                <a:cubicBezTo>
                  <a:pt x="19192" y="9802"/>
                  <a:pt x="18939" y="9594"/>
                  <a:pt x="18746" y="9344"/>
                </a:cubicBezTo>
                <a:lnTo>
                  <a:pt x="15490" y="4812"/>
                </a:lnTo>
                <a:lnTo>
                  <a:pt x="14821" y="7307"/>
                </a:lnTo>
                <a:cubicBezTo>
                  <a:pt x="14762" y="7577"/>
                  <a:pt x="14613" y="7806"/>
                  <a:pt x="14435" y="7910"/>
                </a:cubicBezTo>
                <a:lnTo>
                  <a:pt x="11268" y="9989"/>
                </a:lnTo>
                <a:cubicBezTo>
                  <a:pt x="11105" y="10072"/>
                  <a:pt x="10941" y="10114"/>
                  <a:pt x="10807" y="10051"/>
                </a:cubicBezTo>
                <a:cubicBezTo>
                  <a:pt x="10644" y="10114"/>
                  <a:pt x="10480" y="10072"/>
                  <a:pt x="10332" y="9989"/>
                </a:cubicBezTo>
                <a:lnTo>
                  <a:pt x="7180" y="7910"/>
                </a:lnTo>
                <a:cubicBezTo>
                  <a:pt x="7002" y="7785"/>
                  <a:pt x="6853" y="7577"/>
                  <a:pt x="6779" y="7307"/>
                </a:cubicBezTo>
                <a:lnTo>
                  <a:pt x="6125" y="4812"/>
                </a:lnTo>
                <a:lnTo>
                  <a:pt x="2869" y="9344"/>
                </a:lnTo>
                <a:cubicBezTo>
                  <a:pt x="2676" y="9594"/>
                  <a:pt x="2438" y="9781"/>
                  <a:pt x="2185" y="9843"/>
                </a:cubicBezTo>
                <a:lnTo>
                  <a:pt x="2185" y="19885"/>
                </a:lnTo>
                <a:cubicBezTo>
                  <a:pt x="2185" y="20737"/>
                  <a:pt x="1710" y="21402"/>
                  <a:pt x="1100" y="21402"/>
                </a:cubicBezTo>
                <a:cubicBezTo>
                  <a:pt x="491" y="21402"/>
                  <a:pt x="0" y="20737"/>
                  <a:pt x="0" y="19885"/>
                </a:cubicBezTo>
                <a:lnTo>
                  <a:pt x="0" y="7203"/>
                </a:lnTo>
                <a:cubicBezTo>
                  <a:pt x="0" y="6725"/>
                  <a:pt x="134" y="6247"/>
                  <a:pt x="401" y="5893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99" name="Shape 2996"/>
          <p:cNvSpPr/>
          <p:nvPr/>
        </p:nvSpPr>
        <p:spPr>
          <a:xfrm>
            <a:off x="4393747" y="4723058"/>
            <a:ext cx="427990" cy="4102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3" h="21600" extrusionOk="0">
                <a:moveTo>
                  <a:pt x="21583" y="8255"/>
                </a:moveTo>
                <a:cubicBezTo>
                  <a:pt x="21583" y="9154"/>
                  <a:pt x="20894" y="9856"/>
                  <a:pt x="20050" y="9856"/>
                </a:cubicBezTo>
                <a:lnTo>
                  <a:pt x="20050" y="15503"/>
                </a:lnTo>
                <a:lnTo>
                  <a:pt x="20033" y="15503"/>
                </a:lnTo>
                <a:cubicBezTo>
                  <a:pt x="19964" y="16025"/>
                  <a:pt x="19533" y="16420"/>
                  <a:pt x="19033" y="16420"/>
                </a:cubicBezTo>
                <a:cubicBezTo>
                  <a:pt x="18844" y="16420"/>
                  <a:pt x="18689" y="16366"/>
                  <a:pt x="18534" y="16294"/>
                </a:cubicBezTo>
                <a:cubicBezTo>
                  <a:pt x="18534" y="16258"/>
                  <a:pt x="18500" y="16258"/>
                  <a:pt x="18482" y="16240"/>
                </a:cubicBezTo>
                <a:cubicBezTo>
                  <a:pt x="18431" y="16222"/>
                  <a:pt x="18396" y="16187"/>
                  <a:pt x="18379" y="16151"/>
                </a:cubicBezTo>
                <a:cubicBezTo>
                  <a:pt x="16226" y="14316"/>
                  <a:pt x="13590" y="11888"/>
                  <a:pt x="9525" y="11528"/>
                </a:cubicBezTo>
                <a:cubicBezTo>
                  <a:pt x="9284" y="11510"/>
                  <a:pt x="8888" y="11492"/>
                  <a:pt x="8457" y="11492"/>
                </a:cubicBezTo>
                <a:lnTo>
                  <a:pt x="9388" y="17392"/>
                </a:lnTo>
                <a:lnTo>
                  <a:pt x="10249" y="17266"/>
                </a:lnTo>
                <a:lnTo>
                  <a:pt x="10507" y="19028"/>
                </a:lnTo>
                <a:lnTo>
                  <a:pt x="9611" y="19172"/>
                </a:lnTo>
                <a:lnTo>
                  <a:pt x="9835" y="21024"/>
                </a:lnTo>
                <a:lnTo>
                  <a:pt x="5426" y="21600"/>
                </a:lnTo>
                <a:lnTo>
                  <a:pt x="3962" y="11492"/>
                </a:lnTo>
                <a:lnTo>
                  <a:pt x="3273" y="11492"/>
                </a:lnTo>
                <a:cubicBezTo>
                  <a:pt x="3204" y="11492"/>
                  <a:pt x="3152" y="11456"/>
                  <a:pt x="3083" y="11456"/>
                </a:cubicBezTo>
                <a:cubicBezTo>
                  <a:pt x="3083" y="11456"/>
                  <a:pt x="3083" y="11456"/>
                  <a:pt x="3066" y="11456"/>
                </a:cubicBezTo>
                <a:cubicBezTo>
                  <a:pt x="1361" y="11456"/>
                  <a:pt x="0" y="10036"/>
                  <a:pt x="0" y="8255"/>
                </a:cubicBezTo>
                <a:cubicBezTo>
                  <a:pt x="0" y="6493"/>
                  <a:pt x="1361" y="5054"/>
                  <a:pt x="3066" y="5054"/>
                </a:cubicBezTo>
                <a:cubicBezTo>
                  <a:pt x="3066" y="5054"/>
                  <a:pt x="3066" y="5054"/>
                  <a:pt x="3083" y="5054"/>
                </a:cubicBezTo>
                <a:cubicBezTo>
                  <a:pt x="3152" y="5036"/>
                  <a:pt x="3204" y="5036"/>
                  <a:pt x="3273" y="5036"/>
                </a:cubicBezTo>
                <a:lnTo>
                  <a:pt x="8475" y="5036"/>
                </a:lnTo>
                <a:cubicBezTo>
                  <a:pt x="12884" y="5036"/>
                  <a:pt x="15830" y="2482"/>
                  <a:pt x="18172" y="522"/>
                </a:cubicBezTo>
                <a:cubicBezTo>
                  <a:pt x="18344" y="216"/>
                  <a:pt x="18655" y="0"/>
                  <a:pt x="19033" y="0"/>
                </a:cubicBezTo>
                <a:cubicBezTo>
                  <a:pt x="19567" y="0"/>
                  <a:pt x="20015" y="432"/>
                  <a:pt x="20050" y="971"/>
                </a:cubicBezTo>
                <a:lnTo>
                  <a:pt x="20050" y="6654"/>
                </a:lnTo>
                <a:cubicBezTo>
                  <a:pt x="20894" y="6654"/>
                  <a:pt x="21600" y="7356"/>
                  <a:pt x="21583" y="8255"/>
                </a:cubicBezTo>
                <a:close/>
                <a:moveTo>
                  <a:pt x="18500" y="2230"/>
                </a:moveTo>
                <a:cubicBezTo>
                  <a:pt x="15365" y="4766"/>
                  <a:pt x="13074" y="6187"/>
                  <a:pt x="10008" y="6547"/>
                </a:cubicBezTo>
                <a:lnTo>
                  <a:pt x="10008" y="9946"/>
                </a:lnTo>
                <a:cubicBezTo>
                  <a:pt x="13074" y="10323"/>
                  <a:pt x="15347" y="11726"/>
                  <a:pt x="18500" y="14226"/>
                </a:cubicBezTo>
                <a:lnTo>
                  <a:pt x="18500" y="2230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02" name="Shape 2991"/>
          <p:cNvSpPr/>
          <p:nvPr/>
        </p:nvSpPr>
        <p:spPr>
          <a:xfrm>
            <a:off x="8105818" y="4723058"/>
            <a:ext cx="410059" cy="4099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9" h="21583" extrusionOk="0">
                <a:moveTo>
                  <a:pt x="19131" y="18476"/>
                </a:moveTo>
                <a:cubicBezTo>
                  <a:pt x="19149" y="18709"/>
                  <a:pt x="19131" y="18997"/>
                  <a:pt x="19059" y="19248"/>
                </a:cubicBezTo>
                <a:lnTo>
                  <a:pt x="16817" y="17183"/>
                </a:lnTo>
                <a:lnTo>
                  <a:pt x="14790" y="19392"/>
                </a:lnTo>
                <a:lnTo>
                  <a:pt x="17068" y="21438"/>
                </a:lnTo>
                <a:cubicBezTo>
                  <a:pt x="16799" y="21528"/>
                  <a:pt x="16548" y="21582"/>
                  <a:pt x="16279" y="21582"/>
                </a:cubicBezTo>
                <a:cubicBezTo>
                  <a:pt x="15507" y="21600"/>
                  <a:pt x="14843" y="21367"/>
                  <a:pt x="14251" y="20846"/>
                </a:cubicBezTo>
                <a:cubicBezTo>
                  <a:pt x="13677" y="20307"/>
                  <a:pt x="13372" y="19661"/>
                  <a:pt x="13354" y="18889"/>
                </a:cubicBezTo>
                <a:cubicBezTo>
                  <a:pt x="13354" y="18601"/>
                  <a:pt x="13372" y="18296"/>
                  <a:pt x="13444" y="18045"/>
                </a:cubicBezTo>
                <a:lnTo>
                  <a:pt x="12888" y="17524"/>
                </a:lnTo>
                <a:lnTo>
                  <a:pt x="9641" y="14544"/>
                </a:lnTo>
                <a:lnTo>
                  <a:pt x="4115" y="20630"/>
                </a:lnTo>
                <a:cubicBezTo>
                  <a:pt x="3774" y="21097"/>
                  <a:pt x="3254" y="21385"/>
                  <a:pt x="2662" y="21385"/>
                </a:cubicBezTo>
                <a:cubicBezTo>
                  <a:pt x="1693" y="21385"/>
                  <a:pt x="922" y="20612"/>
                  <a:pt x="922" y="19643"/>
                </a:cubicBezTo>
                <a:cubicBezTo>
                  <a:pt x="922" y="19122"/>
                  <a:pt x="1119" y="18655"/>
                  <a:pt x="1532" y="18296"/>
                </a:cubicBezTo>
                <a:lnTo>
                  <a:pt x="7273" y="12335"/>
                </a:lnTo>
                <a:lnTo>
                  <a:pt x="3792" y="9175"/>
                </a:lnTo>
                <a:cubicBezTo>
                  <a:pt x="3505" y="9301"/>
                  <a:pt x="3200" y="9373"/>
                  <a:pt x="2949" y="9373"/>
                </a:cubicBezTo>
                <a:cubicBezTo>
                  <a:pt x="2178" y="9391"/>
                  <a:pt x="1496" y="9139"/>
                  <a:pt x="922" y="8636"/>
                </a:cubicBezTo>
                <a:cubicBezTo>
                  <a:pt x="330" y="8116"/>
                  <a:pt x="43" y="7487"/>
                  <a:pt x="7" y="6679"/>
                </a:cubicBezTo>
                <a:cubicBezTo>
                  <a:pt x="-11" y="6446"/>
                  <a:pt x="7" y="6177"/>
                  <a:pt x="79" y="5907"/>
                </a:cubicBezTo>
                <a:lnTo>
                  <a:pt x="2339" y="7954"/>
                </a:lnTo>
                <a:lnTo>
                  <a:pt x="4348" y="5764"/>
                </a:lnTo>
                <a:lnTo>
                  <a:pt x="2088" y="3699"/>
                </a:lnTo>
                <a:cubicBezTo>
                  <a:pt x="2321" y="3627"/>
                  <a:pt x="2608" y="3555"/>
                  <a:pt x="2859" y="3555"/>
                </a:cubicBezTo>
                <a:cubicBezTo>
                  <a:pt x="3631" y="3537"/>
                  <a:pt x="4313" y="3771"/>
                  <a:pt x="4887" y="4291"/>
                </a:cubicBezTo>
                <a:cubicBezTo>
                  <a:pt x="5479" y="4812"/>
                  <a:pt x="5784" y="5476"/>
                  <a:pt x="5802" y="6248"/>
                </a:cubicBezTo>
                <a:cubicBezTo>
                  <a:pt x="5820" y="6518"/>
                  <a:pt x="5802" y="6769"/>
                  <a:pt x="5730" y="7038"/>
                </a:cubicBezTo>
                <a:lnTo>
                  <a:pt x="9318" y="10306"/>
                </a:lnTo>
                <a:lnTo>
                  <a:pt x="11919" y="7487"/>
                </a:lnTo>
                <a:lnTo>
                  <a:pt x="8026" y="4022"/>
                </a:lnTo>
                <a:lnTo>
                  <a:pt x="11560" y="0"/>
                </a:lnTo>
                <a:lnTo>
                  <a:pt x="21589" y="8852"/>
                </a:lnTo>
                <a:lnTo>
                  <a:pt x="18055" y="12892"/>
                </a:lnTo>
                <a:lnTo>
                  <a:pt x="14036" y="9337"/>
                </a:lnTo>
                <a:lnTo>
                  <a:pt x="11507" y="12317"/>
                </a:lnTo>
                <a:lnTo>
                  <a:pt x="15436" y="15908"/>
                </a:lnTo>
                <a:cubicBezTo>
                  <a:pt x="15705" y="15818"/>
                  <a:pt x="15956" y="15765"/>
                  <a:pt x="16225" y="15765"/>
                </a:cubicBezTo>
                <a:cubicBezTo>
                  <a:pt x="16996" y="15729"/>
                  <a:pt x="17660" y="15980"/>
                  <a:pt x="18252" y="16483"/>
                </a:cubicBezTo>
                <a:cubicBezTo>
                  <a:pt x="18808" y="17021"/>
                  <a:pt x="19113" y="17686"/>
                  <a:pt x="19131" y="18476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4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uccessful Workplace Communication</a:t>
            </a:r>
          </a:p>
        </p:txBody>
      </p:sp>
    </p:spTree>
    <p:extLst>
      <p:ext uri="{BB962C8B-B14F-4D97-AF65-F5344CB8AC3E}">
        <p14:creationId xmlns:p14="http://schemas.microsoft.com/office/powerpoint/2010/main" val="15482166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1015"/>
          <p:cNvGrpSpPr/>
          <p:nvPr/>
        </p:nvGrpSpPr>
        <p:grpSpPr>
          <a:xfrm>
            <a:off x="657390" y="1975443"/>
            <a:ext cx="7810136" cy="3206004"/>
            <a:chOff x="0" y="1304942"/>
            <a:chExt cx="10674912" cy="4559651"/>
          </a:xfrm>
        </p:grpSpPr>
        <p:sp>
          <p:nvSpPr>
            <p:cNvPr id="6" name="Shape 947"/>
            <p:cNvSpPr/>
            <p:nvPr/>
          </p:nvSpPr>
          <p:spPr>
            <a:xfrm>
              <a:off x="2686152" y="1552873"/>
              <a:ext cx="2501303" cy="20382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cubicBezTo>
                    <a:pt x="10801" y="21600"/>
                    <a:pt x="10801" y="0"/>
                    <a:pt x="21600" y="0"/>
                  </a:cubicBezTo>
                </a:path>
              </a:pathLst>
            </a:custGeom>
            <a:noFill/>
            <a:ln w="38100" cap="flat">
              <a:solidFill>
                <a:schemeClr val="tx2"/>
              </a:solidFill>
              <a:prstDash val="solid"/>
              <a:miter lim="800000"/>
            </a:ln>
            <a:effectLst/>
          </p:spPr>
          <p:txBody>
            <a:bodyPr wrap="square" lIns="59013" tIns="59013" rIns="59013" bIns="59013" numCol="1" anchor="t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8" name="Shape 959"/>
            <p:cNvSpPr/>
            <p:nvPr/>
          </p:nvSpPr>
          <p:spPr>
            <a:xfrm>
              <a:off x="5938904" y="5620703"/>
              <a:ext cx="1208760" cy="243890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noAutofit/>
            </a:bodyPr>
            <a:lstStyle>
              <a:lvl1pPr algn="l" defTabSz="590133">
                <a:lnSpc>
                  <a:spcPct val="93000"/>
                </a:lnSpc>
                <a:tabLst>
                  <a:tab pos="584200" algn="l"/>
                  <a:tab pos="1168400" algn="l"/>
                  <a:tab pos="1765300" algn="l"/>
                  <a:tab pos="2349500" algn="l"/>
                  <a:tab pos="2946400" algn="l"/>
                  <a:tab pos="3530600" algn="l"/>
                  <a:tab pos="4127500" algn="l"/>
                  <a:tab pos="4711700" algn="l"/>
                  <a:tab pos="5308600" algn="l"/>
                  <a:tab pos="5892800" algn="l"/>
                  <a:tab pos="6489700" algn="l"/>
                  <a:tab pos="7073900" algn="l"/>
                  <a:tab pos="7670800" algn="l"/>
                  <a:tab pos="8255000" algn="l"/>
                  <a:tab pos="8851900" algn="l"/>
                  <a:tab pos="9436100" algn="l"/>
                  <a:tab pos="10020300" algn="l"/>
                  <a:tab pos="10617200" algn="l"/>
                  <a:tab pos="11201400" algn="l"/>
                  <a:tab pos="11798300" algn="l"/>
                </a:tabLst>
                <a:defRPr sz="1400">
                  <a:solidFill>
                    <a:srgbClr val="726658"/>
                  </a:solidFill>
                  <a:latin typeface="Roboto Regular"/>
                  <a:ea typeface="Roboto Regular"/>
                  <a:cs typeface="Roboto Regular"/>
                  <a:sym typeface="Roboto Regular"/>
                </a:defRPr>
              </a:lvl1pPr>
            </a:lstStyle>
            <a:p>
              <a:endParaRPr dirty="0"/>
            </a:p>
          </p:txBody>
        </p:sp>
        <p:pic>
          <p:nvPicPr>
            <p:cNvPr id="9" name="image.png"/>
            <p:cNvPicPr>
              <a:picLocks noChangeAspect="1"/>
            </p:cNvPicPr>
            <p:nvPr/>
          </p:nvPicPr>
          <p:blipFill>
            <a:blip r:embed="rId2">
              <a:extLst/>
            </a:blip>
            <a:stretch>
              <a:fillRect/>
            </a:stretch>
          </p:blipFill>
          <p:spPr>
            <a:xfrm>
              <a:off x="287748" y="4927155"/>
              <a:ext cx="1908487" cy="693548"/>
            </a:xfrm>
            <a:prstGeom prst="rect">
              <a:avLst/>
            </a:prstGeom>
            <a:ln w="3175" cap="flat">
              <a:noFill/>
              <a:miter lim="400000"/>
            </a:ln>
            <a:effectLst/>
          </p:spPr>
        </p:pic>
        <p:sp>
          <p:nvSpPr>
            <p:cNvPr id="10" name="Shape 966"/>
            <p:cNvSpPr/>
            <p:nvPr/>
          </p:nvSpPr>
          <p:spPr>
            <a:xfrm>
              <a:off x="457933" y="4698432"/>
              <a:ext cx="262039" cy="5023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376" h="20932" extrusionOk="0">
                  <a:moveTo>
                    <a:pt x="1459" y="1972"/>
                  </a:moveTo>
                  <a:cubicBezTo>
                    <a:pt x="-763" y="3016"/>
                    <a:pt x="-187" y="4315"/>
                    <a:pt x="1459" y="6798"/>
                  </a:cubicBezTo>
                  <a:cubicBezTo>
                    <a:pt x="3063" y="9304"/>
                    <a:pt x="4215" y="9489"/>
                    <a:pt x="4215" y="9489"/>
                  </a:cubicBezTo>
                  <a:cubicBezTo>
                    <a:pt x="4215" y="9489"/>
                    <a:pt x="5984" y="11972"/>
                    <a:pt x="6108" y="13294"/>
                  </a:cubicBezTo>
                  <a:cubicBezTo>
                    <a:pt x="6190" y="14524"/>
                    <a:pt x="12608" y="19767"/>
                    <a:pt x="15159" y="20695"/>
                  </a:cubicBezTo>
                  <a:cubicBezTo>
                    <a:pt x="17710" y="21600"/>
                    <a:pt x="19891" y="19767"/>
                    <a:pt x="18986" y="17609"/>
                  </a:cubicBezTo>
                  <a:cubicBezTo>
                    <a:pt x="18039" y="15452"/>
                    <a:pt x="17587" y="9420"/>
                    <a:pt x="19232" y="6798"/>
                  </a:cubicBezTo>
                  <a:cubicBezTo>
                    <a:pt x="20837" y="4176"/>
                    <a:pt x="8535" y="0"/>
                    <a:pt x="8535" y="0"/>
                  </a:cubicBezTo>
                  <a:cubicBezTo>
                    <a:pt x="8535" y="0"/>
                    <a:pt x="3763" y="905"/>
                    <a:pt x="1459" y="1972"/>
                  </a:cubicBezTo>
                </a:path>
              </a:pathLst>
            </a:custGeom>
            <a:solidFill>
              <a:srgbClr val="0E504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1" name="Shape 967"/>
            <p:cNvSpPr/>
            <p:nvPr/>
          </p:nvSpPr>
          <p:spPr>
            <a:xfrm>
              <a:off x="1350500" y="5266878"/>
              <a:ext cx="498843" cy="26180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79" h="18282" extrusionOk="0">
                  <a:moveTo>
                    <a:pt x="870" y="1698"/>
                  </a:moveTo>
                  <a:cubicBezTo>
                    <a:pt x="870" y="1698"/>
                    <a:pt x="-687" y="12048"/>
                    <a:pt x="366" y="13806"/>
                  </a:cubicBezTo>
                  <a:cubicBezTo>
                    <a:pt x="1352" y="15603"/>
                    <a:pt x="4554" y="17478"/>
                    <a:pt x="6111" y="15017"/>
                  </a:cubicBezTo>
                  <a:cubicBezTo>
                    <a:pt x="7646" y="12595"/>
                    <a:pt x="7843" y="16228"/>
                    <a:pt x="7843" y="16228"/>
                  </a:cubicBezTo>
                  <a:cubicBezTo>
                    <a:pt x="7843" y="16228"/>
                    <a:pt x="13786" y="19001"/>
                    <a:pt x="17317" y="18103"/>
                  </a:cubicBezTo>
                  <a:cubicBezTo>
                    <a:pt x="20913" y="17243"/>
                    <a:pt x="19619" y="12283"/>
                    <a:pt x="17580" y="10056"/>
                  </a:cubicBezTo>
                  <a:cubicBezTo>
                    <a:pt x="15518" y="7869"/>
                    <a:pt x="10760" y="7322"/>
                    <a:pt x="9335" y="2479"/>
                  </a:cubicBezTo>
                  <a:cubicBezTo>
                    <a:pt x="7843" y="-2599"/>
                    <a:pt x="870" y="1698"/>
                    <a:pt x="870" y="1698"/>
                  </a:cubicBezTo>
                </a:path>
              </a:pathLst>
            </a:custGeom>
            <a:solidFill>
              <a:srgbClr val="0E504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2" name="Shape 968"/>
            <p:cNvSpPr/>
            <p:nvPr/>
          </p:nvSpPr>
          <p:spPr>
            <a:xfrm>
              <a:off x="541102" y="3906508"/>
              <a:ext cx="776573" cy="10225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65" h="21600" extrusionOk="0">
                  <a:moveTo>
                    <a:pt x="15423" y="1002"/>
                  </a:moveTo>
                  <a:cubicBezTo>
                    <a:pt x="15423" y="1002"/>
                    <a:pt x="13623" y="5565"/>
                    <a:pt x="11278" y="7593"/>
                  </a:cubicBezTo>
                  <a:cubicBezTo>
                    <a:pt x="8919" y="9621"/>
                    <a:pt x="872" y="15280"/>
                    <a:pt x="146" y="16011"/>
                  </a:cubicBezTo>
                  <a:cubicBezTo>
                    <a:pt x="-535" y="16742"/>
                    <a:pt x="1341" y="18947"/>
                    <a:pt x="2157" y="19772"/>
                  </a:cubicBezTo>
                  <a:cubicBezTo>
                    <a:pt x="2959" y="20610"/>
                    <a:pt x="5909" y="21600"/>
                    <a:pt x="5909" y="21600"/>
                  </a:cubicBezTo>
                  <a:lnTo>
                    <a:pt x="10734" y="17379"/>
                  </a:lnTo>
                  <a:lnTo>
                    <a:pt x="17480" y="12345"/>
                  </a:lnTo>
                  <a:lnTo>
                    <a:pt x="21065" y="8324"/>
                  </a:lnTo>
                  <a:lnTo>
                    <a:pt x="19522" y="0"/>
                  </a:lnTo>
                  <a:lnTo>
                    <a:pt x="15423" y="1002"/>
                  </a:lnTo>
                </a:path>
              </a:pathLst>
            </a:custGeom>
            <a:solidFill>
              <a:srgbClr val="1456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3" name="Shape 969"/>
            <p:cNvSpPr/>
            <p:nvPr/>
          </p:nvSpPr>
          <p:spPr>
            <a:xfrm>
              <a:off x="1000971" y="3667948"/>
              <a:ext cx="587238" cy="16988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cubicBezTo>
                    <a:pt x="0" y="0"/>
                    <a:pt x="4259" y="3384"/>
                    <a:pt x="5016" y="4526"/>
                  </a:cubicBezTo>
                  <a:cubicBezTo>
                    <a:pt x="5876" y="5788"/>
                    <a:pt x="6224" y="9534"/>
                    <a:pt x="7493" y="10094"/>
                  </a:cubicBezTo>
                  <a:cubicBezTo>
                    <a:pt x="8722" y="10655"/>
                    <a:pt x="8599" y="13939"/>
                    <a:pt x="9234" y="14875"/>
                  </a:cubicBezTo>
                  <a:cubicBezTo>
                    <a:pt x="9868" y="15819"/>
                    <a:pt x="12407" y="19401"/>
                    <a:pt x="12407" y="19401"/>
                  </a:cubicBezTo>
                  <a:lnTo>
                    <a:pt x="12469" y="21600"/>
                  </a:lnTo>
                  <a:cubicBezTo>
                    <a:pt x="12469" y="21600"/>
                    <a:pt x="15581" y="21543"/>
                    <a:pt x="18590" y="21444"/>
                  </a:cubicBezTo>
                  <a:cubicBezTo>
                    <a:pt x="21600" y="21323"/>
                    <a:pt x="21600" y="21323"/>
                    <a:pt x="21600" y="21323"/>
                  </a:cubicBezTo>
                  <a:cubicBezTo>
                    <a:pt x="21600" y="21323"/>
                    <a:pt x="20842" y="14875"/>
                    <a:pt x="20146" y="13393"/>
                  </a:cubicBezTo>
                  <a:cubicBezTo>
                    <a:pt x="19512" y="11917"/>
                    <a:pt x="17894" y="5909"/>
                    <a:pt x="17792" y="5306"/>
                  </a:cubicBezTo>
                  <a:cubicBezTo>
                    <a:pt x="17669" y="4710"/>
                    <a:pt x="16236" y="305"/>
                    <a:pt x="16236" y="305"/>
                  </a:cubicBezTo>
                  <a:lnTo>
                    <a:pt x="0" y="0"/>
                  </a:lnTo>
                </a:path>
              </a:pathLst>
            </a:custGeom>
            <a:solidFill>
              <a:srgbClr val="2D6CA3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4" name="Shape 970"/>
            <p:cNvSpPr/>
            <p:nvPr/>
          </p:nvSpPr>
          <p:spPr>
            <a:xfrm>
              <a:off x="1584696" y="2194773"/>
              <a:ext cx="507853" cy="132131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497" h="21539" extrusionOk="0">
                  <a:moveTo>
                    <a:pt x="1018" y="0"/>
                  </a:moveTo>
                  <a:cubicBezTo>
                    <a:pt x="1018" y="0"/>
                    <a:pt x="5654" y="1536"/>
                    <a:pt x="5654" y="4773"/>
                  </a:cubicBezTo>
                  <a:cubicBezTo>
                    <a:pt x="5654" y="7982"/>
                    <a:pt x="7705" y="9927"/>
                    <a:pt x="8367" y="10827"/>
                  </a:cubicBezTo>
                  <a:cubicBezTo>
                    <a:pt x="9029" y="11727"/>
                    <a:pt x="19455" y="17545"/>
                    <a:pt x="19455" y="17545"/>
                  </a:cubicBezTo>
                  <a:cubicBezTo>
                    <a:pt x="19455" y="17545"/>
                    <a:pt x="20246" y="20400"/>
                    <a:pt x="14926" y="21500"/>
                  </a:cubicBezTo>
                  <a:cubicBezTo>
                    <a:pt x="14456" y="21600"/>
                    <a:pt x="13238" y="21500"/>
                    <a:pt x="12533" y="21291"/>
                  </a:cubicBezTo>
                  <a:cubicBezTo>
                    <a:pt x="7213" y="18827"/>
                    <a:pt x="3175" y="15191"/>
                    <a:pt x="2449" y="13927"/>
                  </a:cubicBezTo>
                  <a:cubicBezTo>
                    <a:pt x="2449" y="13927"/>
                    <a:pt x="825" y="9536"/>
                    <a:pt x="1018" y="7900"/>
                  </a:cubicBezTo>
                  <a:cubicBezTo>
                    <a:pt x="1188" y="6255"/>
                    <a:pt x="-1354" y="1127"/>
                    <a:pt x="1018" y="0"/>
                  </a:cubicBezTo>
                </a:path>
              </a:pathLst>
            </a:custGeom>
            <a:solidFill>
              <a:srgbClr val="084A6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5" name="Shape 971"/>
            <p:cNvSpPr/>
            <p:nvPr/>
          </p:nvSpPr>
          <p:spPr>
            <a:xfrm>
              <a:off x="910549" y="2142967"/>
              <a:ext cx="790918" cy="16420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031" h="21184" extrusionOk="0">
                  <a:moveTo>
                    <a:pt x="229" y="3409"/>
                  </a:moveTo>
                  <a:cubicBezTo>
                    <a:pt x="229" y="3409"/>
                    <a:pt x="1698" y="2028"/>
                    <a:pt x="5004" y="1136"/>
                  </a:cubicBezTo>
                  <a:cubicBezTo>
                    <a:pt x="6402" y="769"/>
                    <a:pt x="9595" y="-252"/>
                    <a:pt x="11347" y="57"/>
                  </a:cubicBezTo>
                  <a:cubicBezTo>
                    <a:pt x="13099" y="359"/>
                    <a:pt x="16885" y="144"/>
                    <a:pt x="18085" y="949"/>
                  </a:cubicBezTo>
                  <a:cubicBezTo>
                    <a:pt x="19244" y="1762"/>
                    <a:pt x="20713" y="3855"/>
                    <a:pt x="19682" y="6315"/>
                  </a:cubicBezTo>
                  <a:cubicBezTo>
                    <a:pt x="18650" y="8768"/>
                    <a:pt x="17647" y="9739"/>
                    <a:pt x="17775" y="10695"/>
                  </a:cubicBezTo>
                  <a:cubicBezTo>
                    <a:pt x="17930" y="11674"/>
                    <a:pt x="16885" y="16781"/>
                    <a:pt x="17167" y="17536"/>
                  </a:cubicBezTo>
                  <a:cubicBezTo>
                    <a:pt x="17450" y="18284"/>
                    <a:pt x="16291" y="20737"/>
                    <a:pt x="14822" y="21039"/>
                  </a:cubicBezTo>
                  <a:cubicBezTo>
                    <a:pt x="13339" y="21348"/>
                    <a:pt x="8677" y="21132"/>
                    <a:pt x="6332" y="20679"/>
                  </a:cubicBezTo>
                  <a:cubicBezTo>
                    <a:pt x="3973" y="20233"/>
                    <a:pt x="780" y="20312"/>
                    <a:pt x="1500" y="18003"/>
                  </a:cubicBezTo>
                  <a:cubicBezTo>
                    <a:pt x="2221" y="15687"/>
                    <a:pt x="2970" y="9379"/>
                    <a:pt x="2659" y="7876"/>
                  </a:cubicBezTo>
                  <a:cubicBezTo>
                    <a:pt x="2419" y="6394"/>
                    <a:pt x="-887" y="3956"/>
                    <a:pt x="229" y="3409"/>
                  </a:cubicBezTo>
                </a:path>
              </a:pathLst>
            </a:custGeom>
            <a:solidFill>
              <a:srgbClr val="2D6CA3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6" name="Shape 972"/>
            <p:cNvSpPr/>
            <p:nvPr/>
          </p:nvSpPr>
          <p:spPr>
            <a:xfrm>
              <a:off x="978566" y="2181185"/>
              <a:ext cx="724726" cy="16155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843" h="21121" extrusionOk="0">
                  <a:moveTo>
                    <a:pt x="10580" y="4262"/>
                  </a:moveTo>
                  <a:cubicBezTo>
                    <a:pt x="10580" y="4262"/>
                    <a:pt x="12352" y="8338"/>
                    <a:pt x="13085" y="9694"/>
                  </a:cubicBezTo>
                  <a:cubicBezTo>
                    <a:pt x="13772" y="11051"/>
                    <a:pt x="14292" y="13253"/>
                    <a:pt x="14032" y="14347"/>
                  </a:cubicBezTo>
                  <a:cubicBezTo>
                    <a:pt x="13772" y="15412"/>
                    <a:pt x="13482" y="19401"/>
                    <a:pt x="12489" y="19773"/>
                  </a:cubicBezTo>
                  <a:cubicBezTo>
                    <a:pt x="10366" y="20553"/>
                    <a:pt x="2392" y="19707"/>
                    <a:pt x="635" y="19481"/>
                  </a:cubicBezTo>
                  <a:cubicBezTo>
                    <a:pt x="-1137" y="19255"/>
                    <a:pt x="1109" y="19999"/>
                    <a:pt x="3599" y="20494"/>
                  </a:cubicBezTo>
                  <a:cubicBezTo>
                    <a:pt x="6104" y="21005"/>
                    <a:pt x="9342" y="21027"/>
                    <a:pt x="10931" y="21107"/>
                  </a:cubicBezTo>
                  <a:cubicBezTo>
                    <a:pt x="13176" y="21231"/>
                    <a:pt x="16018" y="20494"/>
                    <a:pt x="16751" y="19875"/>
                  </a:cubicBezTo>
                  <a:cubicBezTo>
                    <a:pt x="17438" y="19255"/>
                    <a:pt x="17836" y="19196"/>
                    <a:pt x="17836" y="16484"/>
                  </a:cubicBezTo>
                  <a:cubicBezTo>
                    <a:pt x="17836" y="15908"/>
                    <a:pt x="17744" y="9694"/>
                    <a:pt x="18431" y="9016"/>
                  </a:cubicBezTo>
                  <a:cubicBezTo>
                    <a:pt x="19119" y="8338"/>
                    <a:pt x="20112" y="4772"/>
                    <a:pt x="19776" y="3481"/>
                  </a:cubicBezTo>
                  <a:cubicBezTo>
                    <a:pt x="19424" y="2183"/>
                    <a:pt x="20463" y="535"/>
                    <a:pt x="16109" y="39"/>
                  </a:cubicBezTo>
                  <a:cubicBezTo>
                    <a:pt x="12749" y="-369"/>
                    <a:pt x="9816" y="2490"/>
                    <a:pt x="10580" y="4262"/>
                  </a:cubicBezTo>
                </a:path>
              </a:pathLst>
            </a:custGeom>
            <a:solidFill>
              <a:srgbClr val="1456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7" name="Shape 973"/>
            <p:cNvSpPr/>
            <p:nvPr/>
          </p:nvSpPr>
          <p:spPr>
            <a:xfrm>
              <a:off x="958933" y="2296467"/>
              <a:ext cx="236231" cy="96266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038" h="20433" extrusionOk="0">
                  <a:moveTo>
                    <a:pt x="5276" y="20433"/>
                  </a:moveTo>
                  <a:cubicBezTo>
                    <a:pt x="5276" y="20433"/>
                    <a:pt x="8466" y="13549"/>
                    <a:pt x="10646" y="12175"/>
                  </a:cubicBezTo>
                  <a:cubicBezTo>
                    <a:pt x="12786" y="10800"/>
                    <a:pt x="19488" y="3513"/>
                    <a:pt x="16097" y="1606"/>
                  </a:cubicBezTo>
                  <a:cubicBezTo>
                    <a:pt x="12665" y="-302"/>
                    <a:pt x="4711" y="-1167"/>
                    <a:pt x="1279" y="2814"/>
                  </a:cubicBezTo>
                  <a:cubicBezTo>
                    <a:pt x="-2112" y="6760"/>
                    <a:pt x="2208" y="8419"/>
                    <a:pt x="3137" y="9627"/>
                  </a:cubicBezTo>
                  <a:cubicBezTo>
                    <a:pt x="4025" y="10824"/>
                    <a:pt x="4388" y="14580"/>
                    <a:pt x="4025" y="15990"/>
                  </a:cubicBezTo>
                  <a:cubicBezTo>
                    <a:pt x="3702" y="17293"/>
                    <a:pt x="5276" y="20433"/>
                    <a:pt x="5276" y="20433"/>
                  </a:cubicBezTo>
                </a:path>
              </a:pathLst>
            </a:custGeom>
            <a:solidFill>
              <a:srgbClr val="1456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8" name="Shape 974"/>
            <p:cNvSpPr/>
            <p:nvPr/>
          </p:nvSpPr>
          <p:spPr>
            <a:xfrm>
              <a:off x="424674" y="2341739"/>
              <a:ext cx="712440" cy="118872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873" h="20848" extrusionOk="0">
                  <a:moveTo>
                    <a:pt x="18729" y="164"/>
                  </a:moveTo>
                  <a:cubicBezTo>
                    <a:pt x="18729" y="164"/>
                    <a:pt x="21551" y="1515"/>
                    <a:pt x="20719" y="3697"/>
                  </a:cubicBezTo>
                  <a:cubicBezTo>
                    <a:pt x="20115" y="5293"/>
                    <a:pt x="17864" y="7974"/>
                    <a:pt x="15058" y="9550"/>
                  </a:cubicBezTo>
                  <a:cubicBezTo>
                    <a:pt x="13117" y="10626"/>
                    <a:pt x="10082" y="13612"/>
                    <a:pt x="9903" y="14766"/>
                  </a:cubicBezTo>
                  <a:cubicBezTo>
                    <a:pt x="9707" y="15872"/>
                    <a:pt x="7178" y="19435"/>
                    <a:pt x="6852" y="20345"/>
                  </a:cubicBezTo>
                  <a:cubicBezTo>
                    <a:pt x="6542" y="21265"/>
                    <a:pt x="49" y="20903"/>
                    <a:pt x="0" y="19415"/>
                  </a:cubicBezTo>
                  <a:cubicBezTo>
                    <a:pt x="-49" y="18143"/>
                    <a:pt x="5482" y="10460"/>
                    <a:pt x="5987" y="9550"/>
                  </a:cubicBezTo>
                  <a:cubicBezTo>
                    <a:pt x="6493" y="8640"/>
                    <a:pt x="13443" y="2180"/>
                    <a:pt x="14454" y="1260"/>
                  </a:cubicBezTo>
                  <a:cubicBezTo>
                    <a:pt x="15515" y="379"/>
                    <a:pt x="17946" y="-335"/>
                    <a:pt x="18729" y="164"/>
                  </a:cubicBezTo>
                </a:path>
              </a:pathLst>
            </a:custGeom>
            <a:solidFill>
              <a:srgbClr val="3A7CBA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9" name="Shape 975"/>
            <p:cNvSpPr/>
            <p:nvPr/>
          </p:nvSpPr>
          <p:spPr>
            <a:xfrm>
              <a:off x="1205100" y="2007027"/>
              <a:ext cx="306740" cy="40361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920" h="19940" extrusionOk="0">
                  <a:moveTo>
                    <a:pt x="2781" y="761"/>
                  </a:moveTo>
                  <a:cubicBezTo>
                    <a:pt x="3010" y="-1660"/>
                    <a:pt x="18895" y="2467"/>
                    <a:pt x="18895" y="2467"/>
                  </a:cubicBezTo>
                  <a:cubicBezTo>
                    <a:pt x="18895" y="2467"/>
                    <a:pt x="19429" y="9429"/>
                    <a:pt x="20533" y="11685"/>
                  </a:cubicBezTo>
                  <a:cubicBezTo>
                    <a:pt x="21600" y="13914"/>
                    <a:pt x="20419" y="19940"/>
                    <a:pt x="17524" y="19940"/>
                  </a:cubicBezTo>
                  <a:cubicBezTo>
                    <a:pt x="14590" y="19940"/>
                    <a:pt x="533" y="12236"/>
                    <a:pt x="0" y="10695"/>
                  </a:cubicBezTo>
                  <a:cubicBezTo>
                    <a:pt x="0" y="10695"/>
                    <a:pt x="2552" y="3155"/>
                    <a:pt x="2781" y="761"/>
                  </a:cubicBezTo>
                </a:path>
              </a:pathLst>
            </a:custGeom>
            <a:solidFill>
              <a:srgbClr val="CCDFAC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0" name="Shape 976"/>
            <p:cNvSpPr/>
            <p:nvPr/>
          </p:nvSpPr>
          <p:spPr>
            <a:xfrm>
              <a:off x="1214095" y="2022617"/>
              <a:ext cx="172762" cy="2324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33" h="18940" extrusionOk="0">
                  <a:moveTo>
                    <a:pt x="3115" y="0"/>
                  </a:moveTo>
                  <a:cubicBezTo>
                    <a:pt x="3115" y="0"/>
                    <a:pt x="15305" y="5854"/>
                    <a:pt x="16375" y="10982"/>
                  </a:cubicBezTo>
                  <a:cubicBezTo>
                    <a:pt x="17444" y="16109"/>
                    <a:pt x="13060" y="21600"/>
                    <a:pt x="4452" y="17516"/>
                  </a:cubicBezTo>
                  <a:cubicBezTo>
                    <a:pt x="-4156" y="13568"/>
                    <a:pt x="2206" y="11118"/>
                    <a:pt x="3115" y="0"/>
                  </a:cubicBezTo>
                </a:path>
              </a:pathLst>
            </a:custGeom>
            <a:solidFill>
              <a:srgbClr val="E1FFDC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1" name="Shape 977"/>
            <p:cNvSpPr/>
            <p:nvPr/>
          </p:nvSpPr>
          <p:spPr>
            <a:xfrm>
              <a:off x="1247290" y="1978551"/>
              <a:ext cx="258803" cy="3209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072" h="17645" extrusionOk="0">
                  <a:moveTo>
                    <a:pt x="70" y="2508"/>
                  </a:moveTo>
                  <a:cubicBezTo>
                    <a:pt x="70" y="2508"/>
                    <a:pt x="7490" y="16212"/>
                    <a:pt x="13744" y="17594"/>
                  </a:cubicBezTo>
                  <a:cubicBezTo>
                    <a:pt x="16386" y="18209"/>
                    <a:pt x="20543" y="13170"/>
                    <a:pt x="16153" y="4874"/>
                  </a:cubicBezTo>
                  <a:cubicBezTo>
                    <a:pt x="11802" y="-3391"/>
                    <a:pt x="-1057" y="1033"/>
                    <a:pt x="70" y="2508"/>
                  </a:cubicBezTo>
                </a:path>
              </a:pathLst>
            </a:custGeom>
            <a:solidFill>
              <a:srgbClr val="8BAC8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2" name="Shape 978"/>
            <p:cNvSpPr/>
            <p:nvPr/>
          </p:nvSpPr>
          <p:spPr>
            <a:xfrm>
              <a:off x="1204319" y="2140667"/>
              <a:ext cx="236327" cy="3265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439" h="21600" extrusionOk="0">
                  <a:moveTo>
                    <a:pt x="1729" y="0"/>
                  </a:moveTo>
                  <a:cubicBezTo>
                    <a:pt x="1729" y="0"/>
                    <a:pt x="-2161" y="6362"/>
                    <a:pt x="1729" y="10985"/>
                  </a:cubicBezTo>
                  <a:cubicBezTo>
                    <a:pt x="5619" y="15571"/>
                    <a:pt x="10881" y="21600"/>
                    <a:pt x="10881" y="21600"/>
                  </a:cubicBezTo>
                  <a:cubicBezTo>
                    <a:pt x="10881" y="21600"/>
                    <a:pt x="18386" y="15756"/>
                    <a:pt x="19439" y="12945"/>
                  </a:cubicBezTo>
                  <a:cubicBezTo>
                    <a:pt x="11293" y="9727"/>
                    <a:pt x="5207" y="6879"/>
                    <a:pt x="1729" y="0"/>
                  </a:cubicBezTo>
                </a:path>
              </a:pathLst>
            </a:custGeom>
            <a:solidFill>
              <a:srgbClr val="E3FFF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3" name="Shape 979"/>
            <p:cNvSpPr/>
            <p:nvPr/>
          </p:nvSpPr>
          <p:spPr>
            <a:xfrm>
              <a:off x="1318232" y="2300527"/>
              <a:ext cx="233922" cy="5405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13" h="21600" extrusionOk="0">
                  <a:moveTo>
                    <a:pt x="0" y="2647"/>
                  </a:moveTo>
                  <a:cubicBezTo>
                    <a:pt x="0" y="2647"/>
                    <a:pt x="1712" y="3960"/>
                    <a:pt x="3524" y="5717"/>
                  </a:cubicBezTo>
                  <a:cubicBezTo>
                    <a:pt x="5085" y="7163"/>
                    <a:pt x="6394" y="10433"/>
                    <a:pt x="7250" y="11879"/>
                  </a:cubicBezTo>
                  <a:cubicBezTo>
                    <a:pt x="10372" y="17018"/>
                    <a:pt x="14350" y="20288"/>
                    <a:pt x="15910" y="21600"/>
                  </a:cubicBezTo>
                  <a:cubicBezTo>
                    <a:pt x="19032" y="18152"/>
                    <a:pt x="21600" y="13814"/>
                    <a:pt x="20895" y="7408"/>
                  </a:cubicBezTo>
                  <a:cubicBezTo>
                    <a:pt x="20039" y="1001"/>
                    <a:pt x="17471" y="0"/>
                    <a:pt x="17471" y="0"/>
                  </a:cubicBezTo>
                  <a:cubicBezTo>
                    <a:pt x="17471" y="0"/>
                    <a:pt x="16313" y="2959"/>
                    <a:pt x="4985" y="133"/>
                  </a:cubicBezTo>
                  <a:lnTo>
                    <a:pt x="0" y="2647"/>
                  </a:lnTo>
                </a:path>
              </a:pathLst>
            </a:custGeom>
            <a:solidFill>
              <a:srgbClr val="E3FFF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4" name="Shape 980"/>
            <p:cNvSpPr/>
            <p:nvPr/>
          </p:nvSpPr>
          <p:spPr>
            <a:xfrm>
              <a:off x="1441201" y="2177140"/>
              <a:ext cx="113377" cy="2817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11" h="18640" extrusionOk="0">
                  <a:moveTo>
                    <a:pt x="0" y="10525"/>
                  </a:moveTo>
                  <a:cubicBezTo>
                    <a:pt x="0" y="10525"/>
                    <a:pt x="15648" y="16479"/>
                    <a:pt x="18624" y="18477"/>
                  </a:cubicBezTo>
                  <a:cubicBezTo>
                    <a:pt x="21600" y="20326"/>
                    <a:pt x="17568" y="5938"/>
                    <a:pt x="10272" y="1352"/>
                  </a:cubicBezTo>
                  <a:cubicBezTo>
                    <a:pt x="5952" y="-1274"/>
                    <a:pt x="4608" y="316"/>
                    <a:pt x="5952" y="2794"/>
                  </a:cubicBezTo>
                  <a:cubicBezTo>
                    <a:pt x="7584" y="6345"/>
                    <a:pt x="4032" y="9378"/>
                    <a:pt x="0" y="10525"/>
                  </a:cubicBezTo>
                </a:path>
              </a:pathLst>
            </a:custGeom>
            <a:solidFill>
              <a:srgbClr val="E3FFF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5" name="Shape 981"/>
            <p:cNvSpPr/>
            <p:nvPr/>
          </p:nvSpPr>
          <p:spPr>
            <a:xfrm>
              <a:off x="1337907" y="2334959"/>
              <a:ext cx="213408" cy="1519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64" y="21600"/>
                  </a:moveTo>
                  <a:lnTo>
                    <a:pt x="10602" y="5834"/>
                  </a:lnTo>
                  <a:lnTo>
                    <a:pt x="21487" y="21600"/>
                  </a:lnTo>
                  <a:lnTo>
                    <a:pt x="21600" y="16949"/>
                  </a:lnTo>
                  <a:lnTo>
                    <a:pt x="10602" y="0"/>
                  </a:lnTo>
                  <a:lnTo>
                    <a:pt x="0" y="18447"/>
                  </a:lnTo>
                  <a:lnTo>
                    <a:pt x="964" y="21600"/>
                  </a:lnTo>
                </a:path>
              </a:pathLst>
            </a:custGeom>
            <a:solidFill>
              <a:srgbClr val="75CBD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6" name="Shape 982"/>
            <p:cNvSpPr/>
            <p:nvPr/>
          </p:nvSpPr>
          <p:spPr>
            <a:xfrm>
              <a:off x="1396932" y="2357093"/>
              <a:ext cx="130169" cy="486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5709" h="21600" extrusionOk="0">
                  <a:moveTo>
                    <a:pt x="3970" y="544"/>
                  </a:moveTo>
                  <a:lnTo>
                    <a:pt x="0" y="3188"/>
                  </a:lnTo>
                  <a:lnTo>
                    <a:pt x="5316" y="4869"/>
                  </a:lnTo>
                  <a:cubicBezTo>
                    <a:pt x="5316" y="4869"/>
                    <a:pt x="7738" y="14359"/>
                    <a:pt x="6258" y="17769"/>
                  </a:cubicBezTo>
                  <a:lnTo>
                    <a:pt x="11574" y="21600"/>
                  </a:lnTo>
                  <a:cubicBezTo>
                    <a:pt x="11574" y="21600"/>
                    <a:pt x="21600" y="16237"/>
                    <a:pt x="10430" y="4869"/>
                  </a:cubicBezTo>
                  <a:lnTo>
                    <a:pt x="11574" y="2496"/>
                  </a:lnTo>
                  <a:lnTo>
                    <a:pt x="7940" y="0"/>
                  </a:lnTo>
                  <a:lnTo>
                    <a:pt x="3970" y="544"/>
                  </a:lnTo>
                </a:path>
              </a:pathLst>
            </a:custGeom>
            <a:solidFill>
              <a:srgbClr val="3F735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7" name="Shape 983"/>
            <p:cNvSpPr/>
            <p:nvPr/>
          </p:nvSpPr>
          <p:spPr>
            <a:xfrm>
              <a:off x="0" y="3572031"/>
              <a:ext cx="820879" cy="9782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000" y="0"/>
                  </a:moveTo>
                  <a:lnTo>
                    <a:pt x="2684" y="247"/>
                  </a:lnTo>
                  <a:lnTo>
                    <a:pt x="0" y="14499"/>
                  </a:lnTo>
                  <a:lnTo>
                    <a:pt x="16966" y="21600"/>
                  </a:lnTo>
                  <a:lnTo>
                    <a:pt x="19034" y="20725"/>
                  </a:lnTo>
                  <a:lnTo>
                    <a:pt x="21600" y="7015"/>
                  </a:lnTo>
                  <a:lnTo>
                    <a:pt x="5000" y="0"/>
                  </a:lnTo>
                </a:path>
              </a:pathLst>
            </a:custGeom>
            <a:solidFill>
              <a:srgbClr val="397B7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8" name="Shape 984"/>
            <p:cNvSpPr/>
            <p:nvPr/>
          </p:nvSpPr>
          <p:spPr>
            <a:xfrm>
              <a:off x="7378" y="3599085"/>
              <a:ext cx="727423" cy="9364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894" y="0"/>
                  </a:moveTo>
                  <a:lnTo>
                    <a:pt x="0" y="14276"/>
                  </a:lnTo>
                  <a:lnTo>
                    <a:pt x="18706" y="21600"/>
                  </a:lnTo>
                  <a:lnTo>
                    <a:pt x="21600" y="7311"/>
                  </a:lnTo>
                  <a:lnTo>
                    <a:pt x="2894" y="0"/>
                  </a:lnTo>
                </a:path>
              </a:pathLst>
            </a:custGeom>
            <a:solidFill>
              <a:srgbClr val="5D917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9" name="Shape 985"/>
            <p:cNvSpPr/>
            <p:nvPr/>
          </p:nvSpPr>
          <p:spPr>
            <a:xfrm>
              <a:off x="356267" y="3456136"/>
              <a:ext cx="254013" cy="3229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700" h="17862" extrusionOk="0">
                  <a:moveTo>
                    <a:pt x="18903" y="5378"/>
                  </a:moveTo>
                  <a:cubicBezTo>
                    <a:pt x="19040" y="3471"/>
                    <a:pt x="8240" y="-2160"/>
                    <a:pt x="6827" y="886"/>
                  </a:cubicBezTo>
                  <a:cubicBezTo>
                    <a:pt x="5414" y="3840"/>
                    <a:pt x="766" y="9963"/>
                    <a:pt x="128" y="11348"/>
                  </a:cubicBezTo>
                  <a:cubicBezTo>
                    <a:pt x="-373" y="12732"/>
                    <a:pt x="402" y="12486"/>
                    <a:pt x="5916" y="15440"/>
                  </a:cubicBezTo>
                  <a:cubicBezTo>
                    <a:pt x="11566" y="18394"/>
                    <a:pt x="13754" y="16548"/>
                    <a:pt x="15440" y="16640"/>
                  </a:cubicBezTo>
                  <a:cubicBezTo>
                    <a:pt x="16989" y="16732"/>
                    <a:pt x="20224" y="19440"/>
                    <a:pt x="20589" y="16486"/>
                  </a:cubicBezTo>
                  <a:cubicBezTo>
                    <a:pt x="21227" y="13625"/>
                    <a:pt x="18903" y="5378"/>
                    <a:pt x="18903" y="5378"/>
                  </a:cubicBezTo>
                </a:path>
              </a:pathLst>
            </a:custGeom>
            <a:solidFill>
              <a:srgbClr val="CBDEAC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" name="Shape 986"/>
            <p:cNvSpPr/>
            <p:nvPr/>
          </p:nvSpPr>
          <p:spPr>
            <a:xfrm>
              <a:off x="385028" y="3504465"/>
              <a:ext cx="163461" cy="22116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773" h="18718" extrusionOk="0">
                  <a:moveTo>
                    <a:pt x="17632" y="3046"/>
                  </a:moveTo>
                  <a:cubicBezTo>
                    <a:pt x="17451" y="-310"/>
                    <a:pt x="7254" y="-1775"/>
                    <a:pt x="4358" y="3330"/>
                  </a:cubicBezTo>
                  <a:cubicBezTo>
                    <a:pt x="1462" y="8387"/>
                    <a:pt x="-2822" y="12074"/>
                    <a:pt x="2608" y="15949"/>
                  </a:cubicBezTo>
                  <a:cubicBezTo>
                    <a:pt x="8280" y="19825"/>
                    <a:pt x="10452" y="19541"/>
                    <a:pt x="14555" y="15666"/>
                  </a:cubicBezTo>
                  <a:cubicBezTo>
                    <a:pt x="18778" y="11932"/>
                    <a:pt x="17632" y="3046"/>
                    <a:pt x="17632" y="3046"/>
                  </a:cubicBezTo>
                </a:path>
              </a:pathLst>
            </a:custGeom>
            <a:solidFill>
              <a:srgbClr val="E1FFDC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" name="Shape 987"/>
            <p:cNvSpPr/>
            <p:nvPr/>
          </p:nvSpPr>
          <p:spPr>
            <a:xfrm>
              <a:off x="412239" y="3408812"/>
              <a:ext cx="199591" cy="1727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37" h="16715" extrusionOk="0">
                  <a:moveTo>
                    <a:pt x="4151" y="733"/>
                  </a:moveTo>
                  <a:cubicBezTo>
                    <a:pt x="2894" y="4234"/>
                    <a:pt x="-1163" y="11237"/>
                    <a:pt x="323" y="13499"/>
                  </a:cubicBezTo>
                  <a:cubicBezTo>
                    <a:pt x="9637" y="18832"/>
                    <a:pt x="19351" y="15923"/>
                    <a:pt x="19351" y="15923"/>
                  </a:cubicBezTo>
                  <a:lnTo>
                    <a:pt x="20437" y="7413"/>
                  </a:lnTo>
                  <a:cubicBezTo>
                    <a:pt x="20437" y="7413"/>
                    <a:pt x="5466" y="-2768"/>
                    <a:pt x="4151" y="733"/>
                  </a:cubicBezTo>
                </a:path>
              </a:pathLst>
            </a:custGeom>
            <a:solidFill>
              <a:srgbClr val="E3FFF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" name="Shape 988"/>
            <p:cNvSpPr/>
            <p:nvPr/>
          </p:nvSpPr>
          <p:spPr>
            <a:xfrm>
              <a:off x="518930" y="3682916"/>
              <a:ext cx="53550" cy="1049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7147" extrusionOk="0">
                  <a:moveTo>
                    <a:pt x="4500" y="3020"/>
                  </a:moveTo>
                  <a:cubicBezTo>
                    <a:pt x="0" y="12225"/>
                    <a:pt x="0" y="15871"/>
                    <a:pt x="0" y="15871"/>
                  </a:cubicBezTo>
                  <a:lnTo>
                    <a:pt x="16425" y="17147"/>
                  </a:lnTo>
                  <a:lnTo>
                    <a:pt x="21600" y="4296"/>
                  </a:lnTo>
                  <a:cubicBezTo>
                    <a:pt x="21600" y="4296"/>
                    <a:pt x="15750" y="-4453"/>
                    <a:pt x="4500" y="3020"/>
                  </a:cubicBezTo>
                </a:path>
              </a:pathLst>
            </a:custGeom>
            <a:solidFill>
              <a:srgbClr val="397B7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" name="Shape 989"/>
            <p:cNvSpPr/>
            <p:nvPr/>
          </p:nvSpPr>
          <p:spPr>
            <a:xfrm>
              <a:off x="427933" y="2300692"/>
              <a:ext cx="715529" cy="12363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87" h="20732" extrusionOk="0">
                  <a:moveTo>
                    <a:pt x="20002" y="838"/>
                  </a:moveTo>
                  <a:cubicBezTo>
                    <a:pt x="18726" y="-828"/>
                    <a:pt x="15449" y="332"/>
                    <a:pt x="14723" y="1362"/>
                  </a:cubicBezTo>
                  <a:cubicBezTo>
                    <a:pt x="14126" y="2176"/>
                    <a:pt x="12350" y="3973"/>
                    <a:pt x="11252" y="5349"/>
                  </a:cubicBezTo>
                  <a:cubicBezTo>
                    <a:pt x="10203" y="6725"/>
                    <a:pt x="6022" y="9757"/>
                    <a:pt x="5424" y="10842"/>
                  </a:cubicBezTo>
                  <a:cubicBezTo>
                    <a:pt x="4827" y="11900"/>
                    <a:pt x="2373" y="15962"/>
                    <a:pt x="1921" y="16785"/>
                  </a:cubicBezTo>
                  <a:cubicBezTo>
                    <a:pt x="1469" y="17599"/>
                    <a:pt x="0" y="19265"/>
                    <a:pt x="0" y="19509"/>
                  </a:cubicBezTo>
                  <a:cubicBezTo>
                    <a:pt x="0" y="19714"/>
                    <a:pt x="452" y="19761"/>
                    <a:pt x="1921" y="20164"/>
                  </a:cubicBezTo>
                  <a:cubicBezTo>
                    <a:pt x="3374" y="20557"/>
                    <a:pt x="5021" y="20772"/>
                    <a:pt x="5796" y="20725"/>
                  </a:cubicBezTo>
                  <a:cubicBezTo>
                    <a:pt x="6570" y="20669"/>
                    <a:pt x="6409" y="20538"/>
                    <a:pt x="6877" y="20061"/>
                  </a:cubicBezTo>
                  <a:cubicBezTo>
                    <a:pt x="7329" y="19583"/>
                    <a:pt x="10945" y="14539"/>
                    <a:pt x="11623" y="13753"/>
                  </a:cubicBezTo>
                  <a:cubicBezTo>
                    <a:pt x="12301" y="12957"/>
                    <a:pt x="13625" y="10580"/>
                    <a:pt x="16999" y="8231"/>
                  </a:cubicBezTo>
                  <a:cubicBezTo>
                    <a:pt x="20325" y="5854"/>
                    <a:pt x="21600" y="2944"/>
                    <a:pt x="20002" y="838"/>
                  </a:cubicBezTo>
                </a:path>
              </a:pathLst>
            </a:custGeom>
            <a:solidFill>
              <a:srgbClr val="2D6CA3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" name="Shape 990"/>
            <p:cNvSpPr/>
            <p:nvPr/>
          </p:nvSpPr>
          <p:spPr>
            <a:xfrm>
              <a:off x="1173535" y="1617295"/>
              <a:ext cx="444543" cy="5720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974" h="16986" extrusionOk="0">
                  <a:moveTo>
                    <a:pt x="18888" y="11258"/>
                  </a:moveTo>
                  <a:cubicBezTo>
                    <a:pt x="18222" y="6289"/>
                    <a:pt x="15724" y="1998"/>
                    <a:pt x="15724" y="1998"/>
                  </a:cubicBezTo>
                  <a:cubicBezTo>
                    <a:pt x="4449" y="-4031"/>
                    <a:pt x="-2117" y="5129"/>
                    <a:pt x="619" y="9105"/>
                  </a:cubicBezTo>
                  <a:cubicBezTo>
                    <a:pt x="3045" y="12567"/>
                    <a:pt x="6946" y="15979"/>
                    <a:pt x="11966" y="16774"/>
                  </a:cubicBezTo>
                  <a:cubicBezTo>
                    <a:pt x="16938" y="17569"/>
                    <a:pt x="19483" y="16211"/>
                    <a:pt x="18888" y="11258"/>
                  </a:cubicBezTo>
                </a:path>
              </a:pathLst>
            </a:custGeom>
            <a:solidFill>
              <a:srgbClr val="E1FFDC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" name="Shape 991"/>
            <p:cNvSpPr/>
            <p:nvPr/>
          </p:nvSpPr>
          <p:spPr>
            <a:xfrm>
              <a:off x="1355123" y="1631574"/>
              <a:ext cx="267512" cy="5610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50" h="21446" extrusionOk="0">
                  <a:moveTo>
                    <a:pt x="20524" y="14265"/>
                  </a:moveTo>
                  <a:cubicBezTo>
                    <a:pt x="19276" y="7889"/>
                    <a:pt x="16480" y="1557"/>
                    <a:pt x="16480" y="1557"/>
                  </a:cubicBezTo>
                  <a:cubicBezTo>
                    <a:pt x="12994" y="235"/>
                    <a:pt x="7874" y="299"/>
                    <a:pt x="4862" y="0"/>
                  </a:cubicBezTo>
                  <a:cubicBezTo>
                    <a:pt x="5335" y="171"/>
                    <a:pt x="5938" y="362"/>
                    <a:pt x="6540" y="597"/>
                  </a:cubicBezTo>
                  <a:cubicBezTo>
                    <a:pt x="6540" y="597"/>
                    <a:pt x="10800" y="3007"/>
                    <a:pt x="12478" y="6973"/>
                  </a:cubicBezTo>
                  <a:cubicBezTo>
                    <a:pt x="12865" y="7825"/>
                    <a:pt x="11015" y="8231"/>
                    <a:pt x="11273" y="9147"/>
                  </a:cubicBezTo>
                  <a:cubicBezTo>
                    <a:pt x="11531" y="9915"/>
                    <a:pt x="11747" y="11664"/>
                    <a:pt x="12134" y="12516"/>
                  </a:cubicBezTo>
                  <a:cubicBezTo>
                    <a:pt x="14931" y="18892"/>
                    <a:pt x="8864" y="20577"/>
                    <a:pt x="0" y="19681"/>
                  </a:cubicBezTo>
                  <a:cubicBezTo>
                    <a:pt x="2410" y="20513"/>
                    <a:pt x="4862" y="21365"/>
                    <a:pt x="7745" y="21429"/>
                  </a:cubicBezTo>
                  <a:cubicBezTo>
                    <a:pt x="15662" y="21600"/>
                    <a:pt x="21600" y="20577"/>
                    <a:pt x="20524" y="14265"/>
                  </a:cubicBezTo>
                </a:path>
              </a:pathLst>
            </a:custGeom>
            <a:solidFill>
              <a:srgbClr val="CEE2B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" name="Shape 992"/>
            <p:cNvSpPr/>
            <p:nvPr/>
          </p:nvSpPr>
          <p:spPr>
            <a:xfrm>
              <a:off x="1109184" y="3648273"/>
              <a:ext cx="503618" cy="168707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388" extrusionOk="0">
                  <a:moveTo>
                    <a:pt x="0" y="1258"/>
                  </a:moveTo>
                  <a:cubicBezTo>
                    <a:pt x="0" y="1258"/>
                    <a:pt x="11482" y="2142"/>
                    <a:pt x="12439" y="3831"/>
                  </a:cubicBezTo>
                  <a:cubicBezTo>
                    <a:pt x="13371" y="5527"/>
                    <a:pt x="14185" y="9634"/>
                    <a:pt x="14711" y="10630"/>
                  </a:cubicBezTo>
                  <a:cubicBezTo>
                    <a:pt x="15261" y="11606"/>
                    <a:pt x="16218" y="12602"/>
                    <a:pt x="16003" y="13260"/>
                  </a:cubicBezTo>
                  <a:cubicBezTo>
                    <a:pt x="15811" y="13924"/>
                    <a:pt x="16888" y="17373"/>
                    <a:pt x="17366" y="18087"/>
                  </a:cubicBezTo>
                  <a:cubicBezTo>
                    <a:pt x="17821" y="18808"/>
                    <a:pt x="19926" y="20823"/>
                    <a:pt x="19591" y="21218"/>
                  </a:cubicBezTo>
                  <a:cubicBezTo>
                    <a:pt x="19184" y="21600"/>
                    <a:pt x="21600" y="21218"/>
                    <a:pt x="21600" y="21218"/>
                  </a:cubicBezTo>
                  <a:lnTo>
                    <a:pt x="20117" y="17550"/>
                  </a:lnTo>
                  <a:cubicBezTo>
                    <a:pt x="20117" y="17550"/>
                    <a:pt x="19375" y="13104"/>
                    <a:pt x="19041" y="12666"/>
                  </a:cubicBezTo>
                  <a:cubicBezTo>
                    <a:pt x="18634" y="12228"/>
                    <a:pt x="17342" y="6305"/>
                    <a:pt x="17151" y="5485"/>
                  </a:cubicBezTo>
                  <a:cubicBezTo>
                    <a:pt x="16936" y="4665"/>
                    <a:pt x="17414" y="1873"/>
                    <a:pt x="17414" y="1873"/>
                  </a:cubicBezTo>
                  <a:lnTo>
                    <a:pt x="16074" y="0"/>
                  </a:lnTo>
                  <a:lnTo>
                    <a:pt x="0" y="1258"/>
                  </a:lnTo>
                </a:path>
              </a:pathLst>
            </a:custGeom>
            <a:solidFill>
              <a:srgbClr val="1456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" name="Shape 993"/>
            <p:cNvSpPr/>
            <p:nvPr/>
          </p:nvSpPr>
          <p:spPr>
            <a:xfrm>
              <a:off x="557777" y="4141789"/>
              <a:ext cx="511500" cy="6997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15" h="19712" extrusionOk="0">
                  <a:moveTo>
                    <a:pt x="21415" y="112"/>
                  </a:moveTo>
                  <a:cubicBezTo>
                    <a:pt x="21415" y="112"/>
                    <a:pt x="20155" y="7652"/>
                    <a:pt x="17520" y="10574"/>
                  </a:cubicBezTo>
                  <a:cubicBezTo>
                    <a:pt x="14884" y="13512"/>
                    <a:pt x="8492" y="18240"/>
                    <a:pt x="5996" y="19481"/>
                  </a:cubicBezTo>
                  <a:cubicBezTo>
                    <a:pt x="3477" y="20722"/>
                    <a:pt x="212" y="16559"/>
                    <a:pt x="2" y="16198"/>
                  </a:cubicBezTo>
                  <a:cubicBezTo>
                    <a:pt x="-185" y="15836"/>
                    <a:pt x="14487" y="6929"/>
                    <a:pt x="15560" y="5955"/>
                  </a:cubicBezTo>
                  <a:cubicBezTo>
                    <a:pt x="16656" y="4981"/>
                    <a:pt x="21415" y="-878"/>
                    <a:pt x="21415" y="112"/>
                  </a:cubicBezTo>
                </a:path>
              </a:pathLst>
            </a:custGeom>
            <a:solidFill>
              <a:srgbClr val="2D6CA3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" name="Shape 994"/>
            <p:cNvSpPr/>
            <p:nvPr/>
          </p:nvSpPr>
          <p:spPr>
            <a:xfrm>
              <a:off x="1930583" y="3296580"/>
              <a:ext cx="162155" cy="2375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5187" h="19722" extrusionOk="0">
                  <a:moveTo>
                    <a:pt x="12808" y="0"/>
                  </a:moveTo>
                  <a:cubicBezTo>
                    <a:pt x="12808" y="0"/>
                    <a:pt x="2503" y="508"/>
                    <a:pt x="473" y="7662"/>
                  </a:cubicBezTo>
                  <a:cubicBezTo>
                    <a:pt x="-1609" y="14815"/>
                    <a:pt x="3700" y="21600"/>
                    <a:pt x="6354" y="19246"/>
                  </a:cubicBezTo>
                  <a:cubicBezTo>
                    <a:pt x="8853" y="16892"/>
                    <a:pt x="19991" y="6369"/>
                    <a:pt x="12808" y="0"/>
                  </a:cubicBezTo>
                </a:path>
              </a:pathLst>
            </a:custGeom>
            <a:solidFill>
              <a:srgbClr val="E3FFF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" name="Shape 995"/>
            <p:cNvSpPr/>
            <p:nvPr/>
          </p:nvSpPr>
          <p:spPr>
            <a:xfrm>
              <a:off x="1973882" y="3333470"/>
              <a:ext cx="221078" cy="3635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892" h="19030" extrusionOk="0">
                  <a:moveTo>
                    <a:pt x="443" y="2776"/>
                  </a:moveTo>
                  <a:cubicBezTo>
                    <a:pt x="443" y="2776"/>
                    <a:pt x="-1175" y="6153"/>
                    <a:pt x="1775" y="10083"/>
                  </a:cubicBezTo>
                  <a:cubicBezTo>
                    <a:pt x="4725" y="14042"/>
                    <a:pt x="9149" y="16545"/>
                    <a:pt x="8340" y="18030"/>
                  </a:cubicBezTo>
                  <a:cubicBezTo>
                    <a:pt x="7532" y="19427"/>
                    <a:pt x="16143" y="20184"/>
                    <a:pt x="18284" y="14537"/>
                  </a:cubicBezTo>
                  <a:cubicBezTo>
                    <a:pt x="20425" y="8860"/>
                    <a:pt x="16666" y="4668"/>
                    <a:pt x="10910" y="1291"/>
                  </a:cubicBezTo>
                  <a:cubicBezTo>
                    <a:pt x="6342" y="-1416"/>
                    <a:pt x="1394" y="651"/>
                    <a:pt x="443" y="2776"/>
                  </a:cubicBezTo>
                </a:path>
              </a:pathLst>
            </a:custGeom>
            <a:solidFill>
              <a:srgbClr val="CEE2B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40" name="Shape 996"/>
            <p:cNvSpPr/>
            <p:nvPr/>
          </p:nvSpPr>
          <p:spPr>
            <a:xfrm>
              <a:off x="2015086" y="3345767"/>
              <a:ext cx="180591" cy="2312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070" h="18675" extrusionOk="0">
                  <a:moveTo>
                    <a:pt x="4172" y="0"/>
                  </a:moveTo>
                  <a:cubicBezTo>
                    <a:pt x="4172" y="0"/>
                    <a:pt x="-3530" y="2300"/>
                    <a:pt x="1996" y="7891"/>
                  </a:cubicBezTo>
                  <a:cubicBezTo>
                    <a:pt x="7465" y="13483"/>
                    <a:pt x="10647" y="7846"/>
                    <a:pt x="12377" y="14746"/>
                  </a:cubicBezTo>
                  <a:cubicBezTo>
                    <a:pt x="14107" y="21600"/>
                    <a:pt x="18070" y="18083"/>
                    <a:pt x="18070" y="14746"/>
                  </a:cubicBezTo>
                  <a:cubicBezTo>
                    <a:pt x="18070" y="11454"/>
                    <a:pt x="14554" y="2796"/>
                    <a:pt x="4172" y="0"/>
                  </a:cubicBezTo>
                </a:path>
              </a:pathLst>
            </a:custGeom>
            <a:solidFill>
              <a:srgbClr val="DFFFD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41" name="Shape 997"/>
            <p:cNvSpPr/>
            <p:nvPr/>
          </p:nvSpPr>
          <p:spPr>
            <a:xfrm>
              <a:off x="1131945" y="1582672"/>
              <a:ext cx="463641" cy="4467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411" h="20461" extrusionOk="0">
                  <a:moveTo>
                    <a:pt x="19411" y="1462"/>
                  </a:moveTo>
                  <a:cubicBezTo>
                    <a:pt x="19411" y="1462"/>
                    <a:pt x="18430" y="8373"/>
                    <a:pt x="7362" y="8781"/>
                  </a:cubicBezTo>
                  <a:cubicBezTo>
                    <a:pt x="8156" y="10745"/>
                    <a:pt x="7899" y="16126"/>
                    <a:pt x="8809" y="18293"/>
                  </a:cubicBezTo>
                  <a:cubicBezTo>
                    <a:pt x="9136" y="19084"/>
                    <a:pt x="8086" y="18650"/>
                    <a:pt x="8086" y="18650"/>
                  </a:cubicBezTo>
                  <a:cubicBezTo>
                    <a:pt x="5447" y="15208"/>
                    <a:pt x="3672" y="17579"/>
                    <a:pt x="4933" y="20461"/>
                  </a:cubicBezTo>
                  <a:cubicBezTo>
                    <a:pt x="1687" y="19007"/>
                    <a:pt x="-2189" y="8781"/>
                    <a:pt x="1501" y="3910"/>
                  </a:cubicBezTo>
                  <a:cubicBezTo>
                    <a:pt x="6428" y="-1139"/>
                    <a:pt x="12826" y="-425"/>
                    <a:pt x="16726" y="1233"/>
                  </a:cubicBezTo>
                  <a:cubicBezTo>
                    <a:pt x="17520" y="1513"/>
                    <a:pt x="18827" y="1105"/>
                    <a:pt x="19411" y="1462"/>
                  </a:cubicBezTo>
                </a:path>
              </a:pathLst>
            </a:custGeom>
            <a:solidFill>
              <a:srgbClr val="00262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42" name="Shape 998"/>
            <p:cNvSpPr/>
            <p:nvPr/>
          </p:nvSpPr>
          <p:spPr>
            <a:xfrm>
              <a:off x="2347771" y="3397417"/>
              <a:ext cx="388025" cy="381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816"/>
                  </a:moveTo>
                  <a:cubicBezTo>
                    <a:pt x="21600" y="12779"/>
                    <a:pt x="21164" y="14494"/>
                    <a:pt x="20168" y="16208"/>
                  </a:cubicBezTo>
                  <a:cubicBezTo>
                    <a:pt x="19172" y="17953"/>
                    <a:pt x="17927" y="19169"/>
                    <a:pt x="16216" y="20166"/>
                  </a:cubicBezTo>
                  <a:cubicBezTo>
                    <a:pt x="14473" y="21164"/>
                    <a:pt x="12792" y="21600"/>
                    <a:pt x="10800" y="21600"/>
                  </a:cubicBezTo>
                  <a:cubicBezTo>
                    <a:pt x="8808" y="21600"/>
                    <a:pt x="7096" y="21164"/>
                    <a:pt x="5384" y="20166"/>
                  </a:cubicBezTo>
                  <a:cubicBezTo>
                    <a:pt x="3641" y="19169"/>
                    <a:pt x="2428" y="17953"/>
                    <a:pt x="1432" y="16208"/>
                  </a:cubicBezTo>
                  <a:cubicBezTo>
                    <a:pt x="436" y="14494"/>
                    <a:pt x="0" y="12779"/>
                    <a:pt x="0" y="10816"/>
                  </a:cubicBezTo>
                  <a:cubicBezTo>
                    <a:pt x="0" y="8821"/>
                    <a:pt x="436" y="7138"/>
                    <a:pt x="1432" y="5423"/>
                  </a:cubicBezTo>
                  <a:cubicBezTo>
                    <a:pt x="2428" y="3678"/>
                    <a:pt x="3641" y="2431"/>
                    <a:pt x="5384" y="1465"/>
                  </a:cubicBezTo>
                  <a:cubicBezTo>
                    <a:pt x="7096" y="468"/>
                    <a:pt x="8808" y="0"/>
                    <a:pt x="10800" y="0"/>
                  </a:cubicBezTo>
                  <a:cubicBezTo>
                    <a:pt x="12792" y="0"/>
                    <a:pt x="14473" y="468"/>
                    <a:pt x="16216" y="1465"/>
                  </a:cubicBezTo>
                  <a:cubicBezTo>
                    <a:pt x="17927" y="2431"/>
                    <a:pt x="19172" y="3678"/>
                    <a:pt x="20168" y="5423"/>
                  </a:cubicBezTo>
                  <a:cubicBezTo>
                    <a:pt x="21164" y="7138"/>
                    <a:pt x="21600" y="8821"/>
                    <a:pt x="21600" y="10816"/>
                  </a:cubicBezTo>
                </a:path>
              </a:pathLst>
            </a:custGeom>
            <a:solidFill>
              <a:schemeClr val="tx2"/>
            </a:solidFill>
            <a:ln w="3175" cap="flat">
              <a:solidFill>
                <a:schemeClr val="tx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43" name="Shape 999"/>
            <p:cNvSpPr/>
            <p:nvPr/>
          </p:nvSpPr>
          <p:spPr>
            <a:xfrm>
              <a:off x="5202585" y="1433524"/>
              <a:ext cx="587238" cy="2847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51" y="3431"/>
                  </a:moveTo>
                  <a:cubicBezTo>
                    <a:pt x="8886" y="3431"/>
                    <a:pt x="7268" y="6776"/>
                    <a:pt x="7268" y="10842"/>
                  </a:cubicBezTo>
                  <a:cubicBezTo>
                    <a:pt x="7268" y="14908"/>
                    <a:pt x="8886" y="18254"/>
                    <a:pt x="10851" y="18254"/>
                  </a:cubicBezTo>
                  <a:cubicBezTo>
                    <a:pt x="12817" y="18254"/>
                    <a:pt x="14434" y="14908"/>
                    <a:pt x="14434" y="10842"/>
                  </a:cubicBezTo>
                  <a:cubicBezTo>
                    <a:pt x="14434" y="6776"/>
                    <a:pt x="12817" y="3431"/>
                    <a:pt x="10851" y="3431"/>
                  </a:cubicBezTo>
                  <a:close/>
                  <a:moveTo>
                    <a:pt x="11199" y="15289"/>
                  </a:moveTo>
                  <a:lnTo>
                    <a:pt x="11199" y="16602"/>
                  </a:lnTo>
                  <a:lnTo>
                    <a:pt x="10503" y="16602"/>
                  </a:lnTo>
                  <a:lnTo>
                    <a:pt x="10503" y="15416"/>
                  </a:lnTo>
                  <a:cubicBezTo>
                    <a:pt x="10155" y="15416"/>
                    <a:pt x="9582" y="15035"/>
                    <a:pt x="9357" y="14908"/>
                  </a:cubicBezTo>
                  <a:lnTo>
                    <a:pt x="9582" y="13256"/>
                  </a:lnTo>
                  <a:cubicBezTo>
                    <a:pt x="9807" y="13595"/>
                    <a:pt x="10278" y="13849"/>
                    <a:pt x="10687" y="13849"/>
                  </a:cubicBezTo>
                  <a:cubicBezTo>
                    <a:pt x="11138" y="13849"/>
                    <a:pt x="11363" y="13468"/>
                    <a:pt x="11363" y="12875"/>
                  </a:cubicBezTo>
                  <a:cubicBezTo>
                    <a:pt x="11363" y="12282"/>
                    <a:pt x="11199" y="12071"/>
                    <a:pt x="10687" y="11562"/>
                  </a:cubicBezTo>
                  <a:cubicBezTo>
                    <a:pt x="9930" y="11096"/>
                    <a:pt x="9459" y="10249"/>
                    <a:pt x="9459" y="8936"/>
                  </a:cubicBezTo>
                  <a:cubicBezTo>
                    <a:pt x="9459" y="7624"/>
                    <a:pt x="9868" y="6692"/>
                    <a:pt x="10565" y="6311"/>
                  </a:cubicBezTo>
                  <a:lnTo>
                    <a:pt x="10565" y="5125"/>
                  </a:lnTo>
                  <a:lnTo>
                    <a:pt x="11261" y="5125"/>
                  </a:lnTo>
                  <a:lnTo>
                    <a:pt x="11261" y="6311"/>
                  </a:lnTo>
                  <a:cubicBezTo>
                    <a:pt x="11609" y="6311"/>
                    <a:pt x="12018" y="6565"/>
                    <a:pt x="12243" y="6776"/>
                  </a:cubicBezTo>
                  <a:lnTo>
                    <a:pt x="12018" y="8471"/>
                  </a:lnTo>
                  <a:cubicBezTo>
                    <a:pt x="11834" y="8344"/>
                    <a:pt x="11486" y="8089"/>
                    <a:pt x="11076" y="8089"/>
                  </a:cubicBezTo>
                  <a:cubicBezTo>
                    <a:pt x="10687" y="8089"/>
                    <a:pt x="10442" y="8471"/>
                    <a:pt x="10442" y="8936"/>
                  </a:cubicBezTo>
                  <a:cubicBezTo>
                    <a:pt x="10442" y="9529"/>
                    <a:pt x="10687" y="9784"/>
                    <a:pt x="11261" y="10249"/>
                  </a:cubicBezTo>
                  <a:cubicBezTo>
                    <a:pt x="12018" y="10842"/>
                    <a:pt x="12407" y="11647"/>
                    <a:pt x="12407" y="12875"/>
                  </a:cubicBezTo>
                  <a:cubicBezTo>
                    <a:pt x="12407" y="14061"/>
                    <a:pt x="11834" y="15035"/>
                    <a:pt x="11199" y="15289"/>
                  </a:cubicBezTo>
                  <a:close/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  <a:lnTo>
                    <a:pt x="21600" y="0"/>
                  </a:lnTo>
                  <a:lnTo>
                    <a:pt x="0" y="0"/>
                  </a:lnTo>
                  <a:close/>
                  <a:moveTo>
                    <a:pt x="20617" y="6692"/>
                  </a:moveTo>
                  <a:lnTo>
                    <a:pt x="20617" y="14908"/>
                  </a:lnTo>
                  <a:cubicBezTo>
                    <a:pt x="19573" y="15501"/>
                    <a:pt x="18775" y="17322"/>
                    <a:pt x="18488" y="19101"/>
                  </a:cubicBezTo>
                  <a:lnTo>
                    <a:pt x="3173" y="19101"/>
                  </a:lnTo>
                  <a:cubicBezTo>
                    <a:pt x="2887" y="17322"/>
                    <a:pt x="2068" y="15501"/>
                    <a:pt x="1024" y="14908"/>
                  </a:cubicBezTo>
                  <a:lnTo>
                    <a:pt x="1024" y="6692"/>
                  </a:lnTo>
                  <a:cubicBezTo>
                    <a:pt x="2068" y="6056"/>
                    <a:pt x="2887" y="4405"/>
                    <a:pt x="3173" y="2245"/>
                  </a:cubicBezTo>
                  <a:lnTo>
                    <a:pt x="18488" y="2245"/>
                  </a:lnTo>
                  <a:cubicBezTo>
                    <a:pt x="18713" y="4405"/>
                    <a:pt x="19512" y="6184"/>
                    <a:pt x="20617" y="6692"/>
                  </a:cubicBezTo>
                  <a:close/>
                </a:path>
              </a:pathLst>
            </a:custGeom>
            <a:solidFill>
              <a:srgbClr val="355C7D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44" name="Shape 1000"/>
            <p:cNvSpPr/>
            <p:nvPr/>
          </p:nvSpPr>
          <p:spPr>
            <a:xfrm>
              <a:off x="5938904" y="1304942"/>
              <a:ext cx="4736008" cy="426808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noAutofit/>
            </a:bodyPr>
            <a:lstStyle>
              <a:lvl1pPr algn="l" defTabSz="590133">
                <a:lnSpc>
                  <a:spcPct val="93000"/>
                </a:lnSpc>
                <a:tabLst>
                  <a:tab pos="584200" algn="l"/>
                  <a:tab pos="1168400" algn="l"/>
                  <a:tab pos="1765300" algn="l"/>
                  <a:tab pos="2349500" algn="l"/>
                  <a:tab pos="2946400" algn="l"/>
                  <a:tab pos="3530600" algn="l"/>
                  <a:tab pos="4127500" algn="l"/>
                  <a:tab pos="4711700" algn="l"/>
                  <a:tab pos="5308600" algn="l"/>
                  <a:tab pos="5892800" algn="l"/>
                  <a:tab pos="6489700" algn="l"/>
                  <a:tab pos="7073900" algn="l"/>
                  <a:tab pos="7670800" algn="l"/>
                  <a:tab pos="8255000" algn="l"/>
                  <a:tab pos="8851900" algn="l"/>
                  <a:tab pos="9436100" algn="l"/>
                  <a:tab pos="10020300" algn="l"/>
                  <a:tab pos="10617200" algn="l"/>
                  <a:tab pos="11201400" algn="l"/>
                  <a:tab pos="11798300" algn="l"/>
                </a:tabLst>
                <a:defRPr sz="2400">
                  <a:solidFill>
                    <a:srgbClr val="726658"/>
                  </a:solidFill>
                  <a:latin typeface="Roboto Bold"/>
                  <a:ea typeface="Roboto Bold"/>
                  <a:cs typeface="Roboto Bold"/>
                  <a:sym typeface="Roboto Bold"/>
                </a:defRPr>
              </a:lvl1pPr>
            </a:lstStyle>
            <a:p>
              <a:r>
                <a:rPr lang="en-US" dirty="0" smtClean="0"/>
                <a:t>Open your own business </a:t>
              </a:r>
              <a:endParaRPr lang="en-US" dirty="0"/>
            </a:p>
          </p:txBody>
        </p:sp>
        <p:sp>
          <p:nvSpPr>
            <p:cNvPr id="45" name="Shape 1005"/>
            <p:cNvSpPr/>
            <p:nvPr/>
          </p:nvSpPr>
          <p:spPr>
            <a:xfrm>
              <a:off x="8475054" y="1552873"/>
              <a:ext cx="41253" cy="412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652"/>
                  </a:moveTo>
                  <a:cubicBezTo>
                    <a:pt x="21600" y="12723"/>
                    <a:pt x="21308" y="14499"/>
                    <a:pt x="20141" y="16274"/>
                  </a:cubicBezTo>
                  <a:cubicBezTo>
                    <a:pt x="19265" y="18049"/>
                    <a:pt x="17805" y="18937"/>
                    <a:pt x="16054" y="20121"/>
                  </a:cubicBezTo>
                  <a:cubicBezTo>
                    <a:pt x="14303" y="21008"/>
                    <a:pt x="12843" y="21600"/>
                    <a:pt x="10800" y="21600"/>
                  </a:cubicBezTo>
                  <a:cubicBezTo>
                    <a:pt x="8757" y="21600"/>
                    <a:pt x="7005" y="21008"/>
                    <a:pt x="5254" y="20121"/>
                  </a:cubicBezTo>
                  <a:cubicBezTo>
                    <a:pt x="3795" y="18937"/>
                    <a:pt x="2335" y="18049"/>
                    <a:pt x="1459" y="16274"/>
                  </a:cubicBezTo>
                  <a:cubicBezTo>
                    <a:pt x="584" y="14499"/>
                    <a:pt x="0" y="12427"/>
                    <a:pt x="0" y="10652"/>
                  </a:cubicBezTo>
                  <a:cubicBezTo>
                    <a:pt x="0" y="8581"/>
                    <a:pt x="584" y="7101"/>
                    <a:pt x="1459" y="5326"/>
                  </a:cubicBezTo>
                  <a:cubicBezTo>
                    <a:pt x="2335" y="3551"/>
                    <a:pt x="3795" y="2367"/>
                    <a:pt x="5254" y="1479"/>
                  </a:cubicBezTo>
                  <a:cubicBezTo>
                    <a:pt x="7005" y="296"/>
                    <a:pt x="8757" y="0"/>
                    <a:pt x="10800" y="0"/>
                  </a:cubicBezTo>
                  <a:cubicBezTo>
                    <a:pt x="12843" y="0"/>
                    <a:pt x="14303" y="296"/>
                    <a:pt x="16054" y="1479"/>
                  </a:cubicBezTo>
                  <a:cubicBezTo>
                    <a:pt x="17805" y="2367"/>
                    <a:pt x="19265" y="3551"/>
                    <a:pt x="20141" y="5326"/>
                  </a:cubicBezTo>
                  <a:cubicBezTo>
                    <a:pt x="21308" y="7101"/>
                    <a:pt x="21600" y="8877"/>
                    <a:pt x="21600" y="10652"/>
                  </a:cubicBezTo>
                </a:path>
              </a:pathLst>
            </a:custGeom>
            <a:solidFill>
              <a:srgbClr val="355C7D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sp>
        <p:nvSpPr>
          <p:cNvPr id="46" name="Title 2"/>
          <p:cNvSpPr txBox="1">
            <a:spLocks/>
          </p:cNvSpPr>
          <p:nvPr/>
        </p:nvSpPr>
        <p:spPr>
          <a:xfrm>
            <a:off x="458986" y="368301"/>
            <a:ext cx="8145462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GB" dirty="0">
                <a:solidFill>
                  <a:schemeClr val="bg1"/>
                </a:solidFill>
              </a:rPr>
              <a:t>To start </a:t>
            </a:r>
            <a:r>
              <a:rPr lang="en-GB" dirty="0" smtClean="0">
                <a:solidFill>
                  <a:schemeClr val="bg1"/>
                </a:solidFill>
              </a:rPr>
              <a:t>your professional </a:t>
            </a:r>
            <a:r>
              <a:rPr lang="en-GB" dirty="0">
                <a:solidFill>
                  <a:schemeClr val="bg1"/>
                </a:solidFill>
              </a:rPr>
              <a:t>path there are </a:t>
            </a:r>
            <a:r>
              <a:rPr lang="en-GB" dirty="0" smtClean="0">
                <a:solidFill>
                  <a:schemeClr val="bg1"/>
                </a:solidFill>
              </a:rPr>
              <a:t>two </a:t>
            </a:r>
            <a:r>
              <a:rPr lang="en-GB" dirty="0">
                <a:solidFill>
                  <a:schemeClr val="bg1"/>
                </a:solidFill>
              </a:rPr>
              <a:t>ways </a:t>
            </a:r>
            <a:endParaRPr lang="es-A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311284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40"/>
          <p:cNvSpPr/>
          <p:nvPr/>
        </p:nvSpPr>
        <p:spPr>
          <a:xfrm>
            <a:off x="2647691" y="3620164"/>
            <a:ext cx="1987074" cy="71701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cubicBezTo>
                  <a:pt x="21600" y="10800"/>
                  <a:pt x="0" y="10800"/>
                  <a:pt x="0" y="21600"/>
                </a:cubicBezTo>
              </a:path>
            </a:pathLst>
          </a:custGeom>
          <a:ln w="381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>
              <a:solidFill>
                <a:schemeClr val="tx2"/>
              </a:solidFill>
            </a:endParaRPr>
          </a:p>
        </p:txBody>
      </p:sp>
      <p:sp>
        <p:nvSpPr>
          <p:cNvPr id="12" name="Shape 1141"/>
          <p:cNvSpPr/>
          <p:nvPr/>
        </p:nvSpPr>
        <p:spPr>
          <a:xfrm>
            <a:off x="2580122" y="4511456"/>
            <a:ext cx="99088" cy="990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35"/>
                </a:moveTo>
                <a:cubicBezTo>
                  <a:pt x="21600" y="12818"/>
                  <a:pt x="21104" y="14518"/>
                  <a:pt x="20113" y="16218"/>
                </a:cubicBezTo>
                <a:cubicBezTo>
                  <a:pt x="19121" y="17917"/>
                  <a:pt x="17847" y="19192"/>
                  <a:pt x="16147" y="20184"/>
                </a:cubicBezTo>
                <a:cubicBezTo>
                  <a:pt x="14376" y="21175"/>
                  <a:pt x="12748" y="21600"/>
                  <a:pt x="10765" y="21600"/>
                </a:cubicBezTo>
                <a:cubicBezTo>
                  <a:pt x="8782" y="21600"/>
                  <a:pt x="7082" y="21175"/>
                  <a:pt x="5382" y="20184"/>
                </a:cubicBezTo>
                <a:cubicBezTo>
                  <a:pt x="3683" y="19192"/>
                  <a:pt x="2408" y="17917"/>
                  <a:pt x="1416" y="16218"/>
                </a:cubicBezTo>
                <a:cubicBezTo>
                  <a:pt x="425" y="14518"/>
                  <a:pt x="0" y="12818"/>
                  <a:pt x="0" y="10835"/>
                </a:cubicBezTo>
                <a:cubicBezTo>
                  <a:pt x="0" y="8852"/>
                  <a:pt x="425" y="7224"/>
                  <a:pt x="1416" y="5453"/>
                </a:cubicBezTo>
                <a:cubicBezTo>
                  <a:pt x="2408" y="3753"/>
                  <a:pt x="3683" y="2479"/>
                  <a:pt x="5382" y="1487"/>
                </a:cubicBezTo>
                <a:cubicBezTo>
                  <a:pt x="7082" y="496"/>
                  <a:pt x="8782" y="0"/>
                  <a:pt x="10765" y="0"/>
                </a:cubicBezTo>
                <a:cubicBezTo>
                  <a:pt x="12748" y="0"/>
                  <a:pt x="14376" y="496"/>
                  <a:pt x="16147" y="1487"/>
                </a:cubicBezTo>
                <a:cubicBezTo>
                  <a:pt x="17847" y="2479"/>
                  <a:pt x="19121" y="3753"/>
                  <a:pt x="20113" y="5453"/>
                </a:cubicBezTo>
                <a:cubicBezTo>
                  <a:pt x="21104" y="7224"/>
                  <a:pt x="21600" y="8852"/>
                  <a:pt x="21600" y="10835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3" name="Shape 1142"/>
          <p:cNvSpPr/>
          <p:nvPr/>
        </p:nvSpPr>
        <p:spPr>
          <a:xfrm>
            <a:off x="4635092" y="3620164"/>
            <a:ext cx="558" cy="717011"/>
          </a:xfrm>
          <a:prstGeom prst="line">
            <a:avLst/>
          </a:prstGeom>
          <a:ln w="381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14" name="Shape 1143"/>
          <p:cNvSpPr/>
          <p:nvPr/>
        </p:nvSpPr>
        <p:spPr>
          <a:xfrm>
            <a:off x="4590356" y="4511456"/>
            <a:ext cx="99088" cy="990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35"/>
                </a:moveTo>
                <a:cubicBezTo>
                  <a:pt x="21600" y="12818"/>
                  <a:pt x="21104" y="14518"/>
                  <a:pt x="20113" y="16218"/>
                </a:cubicBezTo>
                <a:cubicBezTo>
                  <a:pt x="19121" y="17917"/>
                  <a:pt x="17988" y="19192"/>
                  <a:pt x="16218" y="20184"/>
                </a:cubicBezTo>
                <a:cubicBezTo>
                  <a:pt x="14518" y="21175"/>
                  <a:pt x="12748" y="21600"/>
                  <a:pt x="10765" y="21600"/>
                </a:cubicBezTo>
                <a:cubicBezTo>
                  <a:pt x="8782" y="21600"/>
                  <a:pt x="7082" y="21175"/>
                  <a:pt x="5382" y="20184"/>
                </a:cubicBezTo>
                <a:cubicBezTo>
                  <a:pt x="3683" y="19192"/>
                  <a:pt x="2408" y="17917"/>
                  <a:pt x="1416" y="16218"/>
                </a:cubicBezTo>
                <a:cubicBezTo>
                  <a:pt x="425" y="14518"/>
                  <a:pt x="0" y="12818"/>
                  <a:pt x="0" y="10835"/>
                </a:cubicBezTo>
                <a:cubicBezTo>
                  <a:pt x="0" y="8852"/>
                  <a:pt x="425" y="7224"/>
                  <a:pt x="1416" y="5453"/>
                </a:cubicBezTo>
                <a:cubicBezTo>
                  <a:pt x="2408" y="3753"/>
                  <a:pt x="3683" y="2479"/>
                  <a:pt x="5382" y="1487"/>
                </a:cubicBezTo>
                <a:cubicBezTo>
                  <a:pt x="7082" y="496"/>
                  <a:pt x="8782" y="0"/>
                  <a:pt x="10765" y="0"/>
                </a:cubicBezTo>
                <a:cubicBezTo>
                  <a:pt x="12748" y="0"/>
                  <a:pt x="14518" y="496"/>
                  <a:pt x="16218" y="1487"/>
                </a:cubicBezTo>
                <a:cubicBezTo>
                  <a:pt x="17988" y="2479"/>
                  <a:pt x="19121" y="3753"/>
                  <a:pt x="20113" y="5453"/>
                </a:cubicBezTo>
                <a:cubicBezTo>
                  <a:pt x="21104" y="7224"/>
                  <a:pt x="21600" y="8852"/>
                  <a:pt x="21600" y="10835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" name="Shape 1144"/>
          <p:cNvSpPr/>
          <p:nvPr/>
        </p:nvSpPr>
        <p:spPr>
          <a:xfrm>
            <a:off x="4635092" y="3620164"/>
            <a:ext cx="1755053" cy="71701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0" y="10800"/>
                  <a:pt x="21600" y="10800"/>
                  <a:pt x="21600" y="21600"/>
                </a:cubicBezTo>
              </a:path>
            </a:pathLst>
          </a:custGeom>
          <a:ln w="381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>
              <a:solidFill>
                <a:schemeClr val="tx2"/>
              </a:solidFill>
            </a:endParaRPr>
          </a:p>
        </p:txBody>
      </p:sp>
      <p:sp>
        <p:nvSpPr>
          <p:cNvPr id="16" name="Shape 1145"/>
          <p:cNvSpPr/>
          <p:nvPr/>
        </p:nvSpPr>
        <p:spPr>
          <a:xfrm>
            <a:off x="6327680" y="4511456"/>
            <a:ext cx="99088" cy="990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35"/>
                </a:moveTo>
                <a:cubicBezTo>
                  <a:pt x="21600" y="12818"/>
                  <a:pt x="21175" y="14518"/>
                  <a:pt x="20113" y="16218"/>
                </a:cubicBezTo>
                <a:cubicBezTo>
                  <a:pt x="19121" y="17917"/>
                  <a:pt x="17988" y="19192"/>
                  <a:pt x="16218" y="20184"/>
                </a:cubicBezTo>
                <a:cubicBezTo>
                  <a:pt x="14518" y="21175"/>
                  <a:pt x="12889" y="21600"/>
                  <a:pt x="10835" y="21600"/>
                </a:cubicBezTo>
                <a:cubicBezTo>
                  <a:pt x="8852" y="21600"/>
                  <a:pt x="7153" y="21175"/>
                  <a:pt x="5382" y="20184"/>
                </a:cubicBezTo>
                <a:cubicBezTo>
                  <a:pt x="3683" y="19192"/>
                  <a:pt x="2479" y="17917"/>
                  <a:pt x="1487" y="16218"/>
                </a:cubicBezTo>
                <a:cubicBezTo>
                  <a:pt x="496" y="14518"/>
                  <a:pt x="0" y="12818"/>
                  <a:pt x="0" y="10835"/>
                </a:cubicBezTo>
                <a:cubicBezTo>
                  <a:pt x="0" y="8852"/>
                  <a:pt x="496" y="7224"/>
                  <a:pt x="1487" y="5453"/>
                </a:cubicBezTo>
                <a:cubicBezTo>
                  <a:pt x="2479" y="3753"/>
                  <a:pt x="3683" y="2479"/>
                  <a:pt x="5382" y="1487"/>
                </a:cubicBezTo>
                <a:cubicBezTo>
                  <a:pt x="7153" y="496"/>
                  <a:pt x="8782" y="0"/>
                  <a:pt x="10835" y="0"/>
                </a:cubicBezTo>
                <a:cubicBezTo>
                  <a:pt x="12818" y="0"/>
                  <a:pt x="14518" y="496"/>
                  <a:pt x="16218" y="1487"/>
                </a:cubicBezTo>
                <a:cubicBezTo>
                  <a:pt x="17988" y="2479"/>
                  <a:pt x="19121" y="3753"/>
                  <a:pt x="20113" y="5453"/>
                </a:cubicBezTo>
                <a:cubicBezTo>
                  <a:pt x="21175" y="7224"/>
                  <a:pt x="21600" y="8852"/>
                  <a:pt x="21600" y="10835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" name="Shape 1146"/>
          <p:cNvSpPr/>
          <p:nvPr/>
        </p:nvSpPr>
        <p:spPr>
          <a:xfrm>
            <a:off x="4635093" y="3620164"/>
            <a:ext cx="3664006" cy="71701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0" y="10800"/>
                  <a:pt x="21600" y="10800"/>
                  <a:pt x="21600" y="21600"/>
                </a:cubicBezTo>
              </a:path>
            </a:pathLst>
          </a:custGeom>
          <a:ln w="381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>
              <a:solidFill>
                <a:schemeClr val="tx2"/>
              </a:solidFill>
            </a:endParaRPr>
          </a:p>
        </p:txBody>
      </p:sp>
      <p:sp>
        <p:nvSpPr>
          <p:cNvPr id="18" name="Shape 1147"/>
          <p:cNvSpPr/>
          <p:nvPr/>
        </p:nvSpPr>
        <p:spPr>
          <a:xfrm>
            <a:off x="8261304" y="4511456"/>
            <a:ext cx="99088" cy="990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35"/>
                </a:moveTo>
                <a:cubicBezTo>
                  <a:pt x="21600" y="12818"/>
                  <a:pt x="21175" y="14518"/>
                  <a:pt x="20184" y="16218"/>
                </a:cubicBezTo>
                <a:cubicBezTo>
                  <a:pt x="19192" y="17917"/>
                  <a:pt x="17917" y="19192"/>
                  <a:pt x="16218" y="20184"/>
                </a:cubicBezTo>
                <a:cubicBezTo>
                  <a:pt x="14518" y="21175"/>
                  <a:pt x="12818" y="21600"/>
                  <a:pt x="10835" y="21600"/>
                </a:cubicBezTo>
                <a:cubicBezTo>
                  <a:pt x="8852" y="21600"/>
                  <a:pt x="7153" y="21175"/>
                  <a:pt x="5382" y="20184"/>
                </a:cubicBezTo>
                <a:cubicBezTo>
                  <a:pt x="3683" y="19192"/>
                  <a:pt x="2479" y="17917"/>
                  <a:pt x="1487" y="16218"/>
                </a:cubicBezTo>
                <a:cubicBezTo>
                  <a:pt x="496" y="14518"/>
                  <a:pt x="0" y="12818"/>
                  <a:pt x="0" y="10835"/>
                </a:cubicBezTo>
                <a:cubicBezTo>
                  <a:pt x="0" y="8852"/>
                  <a:pt x="496" y="7224"/>
                  <a:pt x="1487" y="5453"/>
                </a:cubicBezTo>
                <a:cubicBezTo>
                  <a:pt x="2479" y="3753"/>
                  <a:pt x="3683" y="2479"/>
                  <a:pt x="5382" y="1487"/>
                </a:cubicBezTo>
                <a:cubicBezTo>
                  <a:pt x="7153" y="496"/>
                  <a:pt x="8852" y="0"/>
                  <a:pt x="10835" y="0"/>
                </a:cubicBezTo>
                <a:cubicBezTo>
                  <a:pt x="12818" y="0"/>
                  <a:pt x="14518" y="496"/>
                  <a:pt x="16218" y="1487"/>
                </a:cubicBezTo>
                <a:cubicBezTo>
                  <a:pt x="17917" y="2479"/>
                  <a:pt x="19192" y="3753"/>
                  <a:pt x="20184" y="5453"/>
                </a:cubicBezTo>
                <a:cubicBezTo>
                  <a:pt x="21175" y="7224"/>
                  <a:pt x="21600" y="8852"/>
                  <a:pt x="21600" y="10835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9" name="Shape 1148"/>
          <p:cNvSpPr/>
          <p:nvPr/>
        </p:nvSpPr>
        <p:spPr>
          <a:xfrm>
            <a:off x="3554491" y="1484784"/>
            <a:ext cx="2157088" cy="21350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790"/>
                  <a:pt x="21147" y="14478"/>
                  <a:pt x="20150" y="16202"/>
                </a:cubicBezTo>
                <a:cubicBezTo>
                  <a:pt x="19157" y="17922"/>
                  <a:pt x="17918" y="19161"/>
                  <a:pt x="16198" y="20154"/>
                </a:cubicBezTo>
                <a:cubicBezTo>
                  <a:pt x="14478" y="21147"/>
                  <a:pt x="12786" y="21600"/>
                  <a:pt x="10796" y="21600"/>
                </a:cubicBezTo>
                <a:cubicBezTo>
                  <a:pt x="8810" y="21600"/>
                  <a:pt x="7122" y="21147"/>
                  <a:pt x="5402" y="20154"/>
                </a:cubicBezTo>
                <a:cubicBezTo>
                  <a:pt x="3678" y="19161"/>
                  <a:pt x="2439" y="17922"/>
                  <a:pt x="1446" y="16202"/>
                </a:cubicBezTo>
                <a:cubicBezTo>
                  <a:pt x="449" y="14478"/>
                  <a:pt x="0" y="12786"/>
                  <a:pt x="0" y="10800"/>
                </a:cubicBezTo>
                <a:cubicBezTo>
                  <a:pt x="0" y="8810"/>
                  <a:pt x="449" y="7122"/>
                  <a:pt x="1446" y="5402"/>
                </a:cubicBezTo>
                <a:cubicBezTo>
                  <a:pt x="2439" y="3678"/>
                  <a:pt x="3678" y="2439"/>
                  <a:pt x="5402" y="1446"/>
                </a:cubicBezTo>
                <a:cubicBezTo>
                  <a:pt x="7122" y="449"/>
                  <a:pt x="8814" y="0"/>
                  <a:pt x="10796" y="0"/>
                </a:cubicBezTo>
                <a:cubicBezTo>
                  <a:pt x="12786" y="0"/>
                  <a:pt x="14478" y="449"/>
                  <a:pt x="16198" y="1446"/>
                </a:cubicBezTo>
                <a:cubicBezTo>
                  <a:pt x="17918" y="2439"/>
                  <a:pt x="19157" y="3678"/>
                  <a:pt x="20150" y="5402"/>
                </a:cubicBezTo>
                <a:cubicBezTo>
                  <a:pt x="21147" y="7122"/>
                  <a:pt x="21600" y="8814"/>
                  <a:pt x="21600" y="10800"/>
                </a:cubicBezTo>
              </a:path>
            </a:pathLst>
          </a:custGeom>
          <a:ln w="38100">
            <a:solidFill>
              <a:schemeClr val="tx2"/>
            </a:solidFill>
            <a:miter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>
              <a:solidFill>
                <a:schemeClr val="tx2"/>
              </a:solidFill>
            </a:endParaRPr>
          </a:p>
        </p:txBody>
      </p:sp>
      <p:sp>
        <p:nvSpPr>
          <p:cNvPr id="175" name="Shape 1304"/>
          <p:cNvSpPr/>
          <p:nvPr/>
        </p:nvSpPr>
        <p:spPr>
          <a:xfrm>
            <a:off x="7445380" y="5345871"/>
            <a:ext cx="1714976" cy="915892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20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algn="ctr"/>
            <a:r>
              <a:rPr lang="en-US" sz="1600" b="1" dirty="0"/>
              <a:t>The Communication Process – Basic Model</a:t>
            </a:r>
            <a:endParaRPr sz="1600" b="1" dirty="0"/>
          </a:p>
        </p:txBody>
      </p:sp>
      <p:sp>
        <p:nvSpPr>
          <p:cNvPr id="181" name="Shape 1310"/>
          <p:cNvSpPr/>
          <p:nvPr/>
        </p:nvSpPr>
        <p:spPr>
          <a:xfrm>
            <a:off x="1676550" y="5345871"/>
            <a:ext cx="1931331" cy="457946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20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algn="ctr"/>
            <a:r>
              <a:rPr lang="en-US" altLang="de-DE" sz="1600" b="1" dirty="0" smtClean="0"/>
              <a:t>Developing </a:t>
            </a:r>
            <a:r>
              <a:rPr lang="en-US" altLang="de-DE" sz="1600" b="1" dirty="0"/>
              <a:t>a Network at Work</a:t>
            </a:r>
            <a:endParaRPr sz="1600" dirty="0"/>
          </a:p>
        </p:txBody>
      </p:sp>
      <p:sp>
        <p:nvSpPr>
          <p:cNvPr id="185" name="Shape 1308"/>
          <p:cNvSpPr/>
          <p:nvPr/>
        </p:nvSpPr>
        <p:spPr>
          <a:xfrm>
            <a:off x="5579139" y="5345871"/>
            <a:ext cx="1694807" cy="915892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20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algn="ctr"/>
            <a:r>
              <a:rPr lang="en-US" sz="1600" b="1" dirty="0"/>
              <a:t>Understanding</a:t>
            </a:r>
            <a:r>
              <a:rPr lang="en-US" sz="1600" dirty="0" smtClean="0"/>
              <a:t> </a:t>
            </a:r>
            <a:r>
              <a:rPr lang="en-US" sz="1600" b="1" dirty="0"/>
              <a:t>Vs</a:t>
            </a:r>
            <a:r>
              <a:rPr lang="en-US" sz="1600" dirty="0" smtClean="0"/>
              <a:t>. </a:t>
            </a:r>
            <a:r>
              <a:rPr lang="en-US" sz="1600" b="1" dirty="0" smtClean="0"/>
              <a:t>Misunderstanding</a:t>
            </a:r>
            <a:r>
              <a:rPr lang="en-US" sz="1600" dirty="0" smtClean="0"/>
              <a:t> </a:t>
            </a:r>
            <a:endParaRPr sz="1600" dirty="0"/>
          </a:p>
        </p:txBody>
      </p:sp>
      <p:sp>
        <p:nvSpPr>
          <p:cNvPr id="186" name="Shape 1134"/>
          <p:cNvSpPr/>
          <p:nvPr/>
        </p:nvSpPr>
        <p:spPr>
          <a:xfrm>
            <a:off x="5755108" y="5993157"/>
            <a:ext cx="1407437" cy="515141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200">
                <a:solidFill>
                  <a:srgbClr val="726658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pPr algn="ctr"/>
            <a:r>
              <a:rPr lang="en-US" altLang="de-DE" dirty="0"/>
              <a:t>Factors </a:t>
            </a:r>
            <a:endParaRPr lang="en-US" altLang="de-DE" dirty="0" smtClean="0"/>
          </a:p>
          <a:p>
            <a:pPr algn="ctr"/>
            <a:r>
              <a:rPr lang="en-US" dirty="0" smtClean="0"/>
              <a:t>Barriers</a:t>
            </a:r>
          </a:p>
          <a:p>
            <a:pPr algn="ctr"/>
            <a:r>
              <a:rPr lang="en-US" dirty="0"/>
              <a:t>Overcoming </a:t>
            </a:r>
            <a:r>
              <a:rPr lang="en-US" dirty="0" smtClean="0"/>
              <a:t>Barriers</a:t>
            </a:r>
            <a:endParaRPr lang="en-US" altLang="de-DE" dirty="0"/>
          </a:p>
        </p:txBody>
      </p:sp>
      <p:sp>
        <p:nvSpPr>
          <p:cNvPr id="188" name="Shape 1134"/>
          <p:cNvSpPr/>
          <p:nvPr/>
        </p:nvSpPr>
        <p:spPr>
          <a:xfrm>
            <a:off x="4345426" y="5993156"/>
            <a:ext cx="537006" cy="85856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200">
                <a:solidFill>
                  <a:srgbClr val="726658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pPr algn="ctr"/>
            <a:r>
              <a:rPr lang="en-US" altLang="de-DE" dirty="0"/>
              <a:t>Who</a:t>
            </a:r>
            <a:r>
              <a:rPr lang="en-US" altLang="de-DE" dirty="0" smtClean="0"/>
              <a:t>?</a:t>
            </a:r>
            <a:endParaRPr lang="en-US" altLang="de-DE" dirty="0"/>
          </a:p>
          <a:p>
            <a:pPr algn="ctr"/>
            <a:r>
              <a:rPr lang="en-US" altLang="de-DE" dirty="0"/>
              <a:t>What?</a:t>
            </a:r>
          </a:p>
          <a:p>
            <a:pPr algn="ctr"/>
            <a:r>
              <a:rPr lang="en-US" altLang="de-DE" dirty="0"/>
              <a:t>Where?</a:t>
            </a:r>
          </a:p>
          <a:p>
            <a:pPr algn="ctr"/>
            <a:r>
              <a:rPr lang="en-US" altLang="de-DE" dirty="0"/>
              <a:t>When?</a:t>
            </a:r>
          </a:p>
          <a:p>
            <a:pPr algn="ctr"/>
            <a:r>
              <a:rPr lang="en-US" altLang="de-DE" dirty="0"/>
              <a:t>How?</a:t>
            </a:r>
          </a:p>
        </p:txBody>
      </p:sp>
      <p:sp>
        <p:nvSpPr>
          <p:cNvPr id="189" name="Shape 1306"/>
          <p:cNvSpPr/>
          <p:nvPr/>
        </p:nvSpPr>
        <p:spPr>
          <a:xfrm>
            <a:off x="4012748" y="5345872"/>
            <a:ext cx="1316451" cy="228973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20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r>
              <a:rPr lang="de-DE" sz="1600" b="1" dirty="0"/>
              <a:t>5 </a:t>
            </a:r>
            <a:r>
              <a:rPr lang="de-DE" sz="1600" b="1" dirty="0" err="1"/>
              <a:t>W’s</a:t>
            </a:r>
            <a:r>
              <a:rPr lang="de-DE" sz="1600" b="1" dirty="0"/>
              <a:t> </a:t>
            </a:r>
            <a:r>
              <a:rPr lang="de-DE" sz="1600" b="1" dirty="0" err="1" smtClean="0"/>
              <a:t>Method</a:t>
            </a:r>
            <a:endParaRPr lang="de-DE" sz="1600" b="1" dirty="0"/>
          </a:p>
        </p:txBody>
      </p:sp>
      <p:grpSp>
        <p:nvGrpSpPr>
          <p:cNvPr id="190" name="bcgIcons_LargeGroupMeeting">
            <a:extLst>
              <a:ext uri="{FF2B5EF4-FFF2-40B4-BE49-F238E27FC236}">
                <a16:creationId xmlns:a16="http://schemas.microsoft.com/office/drawing/2014/main" id="{A2FD7D8A-1B63-45BD-BCF6-3D772C394A2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73832" y="1729351"/>
            <a:ext cx="1517904" cy="1645920"/>
            <a:chOff x="1682" y="0"/>
            <a:chExt cx="4316" cy="4320"/>
          </a:xfrm>
        </p:grpSpPr>
        <p:sp>
          <p:nvSpPr>
            <p:cNvPr id="191" name="AutoShape 33">
              <a:extLst>
                <a:ext uri="{FF2B5EF4-FFF2-40B4-BE49-F238E27FC236}">
                  <a16:creationId xmlns:a16="http://schemas.microsoft.com/office/drawing/2014/main" id="{4AD8728A-3137-4D5E-94A2-7EE2495C153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92" name="Freeform 35">
              <a:extLst>
                <a:ext uri="{FF2B5EF4-FFF2-40B4-BE49-F238E27FC236}">
                  <a16:creationId xmlns:a16="http://schemas.microsoft.com/office/drawing/2014/main" id="{9E8BEE28-E024-4AD9-AECF-5DD9B0801C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9" y="2160"/>
              <a:ext cx="3833" cy="735"/>
            </a:xfrm>
            <a:custGeom>
              <a:avLst/>
              <a:gdLst>
                <a:gd name="T0" fmla="*/ 353 w 2046"/>
                <a:gd name="T1" fmla="*/ 382 h 392"/>
                <a:gd name="T2" fmla="*/ 561 w 2046"/>
                <a:gd name="T3" fmla="*/ 165 h 392"/>
                <a:gd name="T4" fmla="*/ 663 w 2046"/>
                <a:gd name="T5" fmla="*/ 197 h 392"/>
                <a:gd name="T6" fmla="*/ 762 w 2046"/>
                <a:gd name="T7" fmla="*/ 165 h 392"/>
                <a:gd name="T8" fmla="*/ 895 w 2046"/>
                <a:gd name="T9" fmla="*/ 188 h 392"/>
                <a:gd name="T10" fmla="*/ 963 w 2046"/>
                <a:gd name="T11" fmla="*/ 392 h 392"/>
                <a:gd name="T12" fmla="*/ 1679 w 2046"/>
                <a:gd name="T13" fmla="*/ 392 h 392"/>
                <a:gd name="T14" fmla="*/ 1612 w 2046"/>
                <a:gd name="T15" fmla="*/ 188 h 392"/>
                <a:gd name="T16" fmla="*/ 1479 w 2046"/>
                <a:gd name="T17" fmla="*/ 165 h 392"/>
                <a:gd name="T18" fmla="*/ 1380 w 2046"/>
                <a:gd name="T19" fmla="*/ 197 h 392"/>
                <a:gd name="T20" fmla="*/ 1278 w 2046"/>
                <a:gd name="T21" fmla="*/ 165 h 392"/>
                <a:gd name="T22" fmla="*/ 1070 w 2046"/>
                <a:gd name="T23" fmla="*/ 382 h 392"/>
                <a:gd name="T24" fmla="*/ 1679 w 2046"/>
                <a:gd name="T25" fmla="*/ 392 h 392"/>
                <a:gd name="T26" fmla="*/ 1262 w 2046"/>
                <a:gd name="T27" fmla="*/ 122 h 392"/>
                <a:gd name="T28" fmla="*/ 1238 w 2046"/>
                <a:gd name="T29" fmla="*/ 84 h 392"/>
                <a:gd name="T30" fmla="*/ 1187 w 2046"/>
                <a:gd name="T31" fmla="*/ 5 h 392"/>
                <a:gd name="T32" fmla="*/ 1120 w 2046"/>
                <a:gd name="T33" fmla="*/ 3 h 392"/>
                <a:gd name="T34" fmla="*/ 1126 w 2046"/>
                <a:gd name="T35" fmla="*/ 148 h 392"/>
                <a:gd name="T36" fmla="*/ 546 w 2046"/>
                <a:gd name="T37" fmla="*/ 122 h 392"/>
                <a:gd name="T38" fmla="*/ 522 w 2046"/>
                <a:gd name="T39" fmla="*/ 84 h 392"/>
                <a:gd name="T40" fmla="*/ 471 w 2046"/>
                <a:gd name="T41" fmla="*/ 5 h 392"/>
                <a:gd name="T42" fmla="*/ 304 w 2046"/>
                <a:gd name="T43" fmla="*/ 48 h 392"/>
                <a:gd name="T44" fmla="*/ 70 w 2046"/>
                <a:gd name="T45" fmla="*/ 23 h 392"/>
                <a:gd name="T46" fmla="*/ 363 w 2046"/>
                <a:gd name="T47" fmla="*/ 201 h 392"/>
                <a:gd name="T48" fmla="*/ 804 w 2046"/>
                <a:gd name="T49" fmla="*/ 78 h 392"/>
                <a:gd name="T50" fmla="*/ 793 w 2046"/>
                <a:gd name="T51" fmla="*/ 103 h 392"/>
                <a:gd name="T52" fmla="*/ 778 w 2046"/>
                <a:gd name="T53" fmla="*/ 122 h 392"/>
                <a:gd name="T54" fmla="*/ 945 w 2046"/>
                <a:gd name="T55" fmla="*/ 175 h 392"/>
                <a:gd name="T56" fmla="*/ 917 w 2046"/>
                <a:gd name="T57" fmla="*/ 0 h 392"/>
                <a:gd name="T58" fmla="*/ 804 w 2046"/>
                <a:gd name="T59" fmla="*/ 78 h 392"/>
                <a:gd name="T60" fmla="*/ 1970 w 2046"/>
                <a:gd name="T61" fmla="*/ 23 h 392"/>
                <a:gd name="T62" fmla="*/ 1836 w 2046"/>
                <a:gd name="T63" fmla="*/ 3 h 392"/>
                <a:gd name="T64" fmla="*/ 1728 w 2046"/>
                <a:gd name="T65" fmla="*/ 105 h 392"/>
                <a:gd name="T66" fmla="*/ 1633 w 2046"/>
                <a:gd name="T67" fmla="*/ 0 h 392"/>
                <a:gd name="T68" fmla="*/ 1520 w 2046"/>
                <a:gd name="T69" fmla="*/ 78 h 392"/>
                <a:gd name="T70" fmla="*/ 1509 w 2046"/>
                <a:gd name="T71" fmla="*/ 103 h 392"/>
                <a:gd name="T72" fmla="*/ 1494 w 2046"/>
                <a:gd name="T73" fmla="*/ 122 h 392"/>
                <a:gd name="T74" fmla="*/ 1686 w 2046"/>
                <a:gd name="T75" fmla="*/ 222 h 392"/>
                <a:gd name="T76" fmla="*/ 1784 w 2046"/>
                <a:gd name="T77" fmla="*/ 222 h 392"/>
                <a:gd name="T78" fmla="*/ 2045 w 2046"/>
                <a:gd name="T79" fmla="*/ 21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046" h="392">
                  <a:moveTo>
                    <a:pt x="361" y="392"/>
                  </a:moveTo>
                  <a:cubicBezTo>
                    <a:pt x="355" y="392"/>
                    <a:pt x="352" y="387"/>
                    <a:pt x="353" y="382"/>
                  </a:cubicBezTo>
                  <a:cubicBezTo>
                    <a:pt x="363" y="357"/>
                    <a:pt x="390" y="205"/>
                    <a:pt x="428" y="188"/>
                  </a:cubicBezTo>
                  <a:cubicBezTo>
                    <a:pt x="475" y="166"/>
                    <a:pt x="561" y="165"/>
                    <a:pt x="561" y="165"/>
                  </a:cubicBezTo>
                  <a:cubicBezTo>
                    <a:pt x="561" y="165"/>
                    <a:pt x="561" y="165"/>
                    <a:pt x="561" y="165"/>
                  </a:cubicBezTo>
                  <a:cubicBezTo>
                    <a:pt x="561" y="165"/>
                    <a:pt x="596" y="197"/>
                    <a:pt x="663" y="197"/>
                  </a:cubicBezTo>
                  <a:cubicBezTo>
                    <a:pt x="660" y="197"/>
                    <a:pt x="660" y="197"/>
                    <a:pt x="660" y="197"/>
                  </a:cubicBezTo>
                  <a:cubicBezTo>
                    <a:pt x="728" y="197"/>
                    <a:pt x="762" y="165"/>
                    <a:pt x="762" y="165"/>
                  </a:cubicBezTo>
                  <a:cubicBezTo>
                    <a:pt x="762" y="165"/>
                    <a:pt x="762" y="165"/>
                    <a:pt x="762" y="165"/>
                  </a:cubicBezTo>
                  <a:cubicBezTo>
                    <a:pt x="762" y="165"/>
                    <a:pt x="849" y="166"/>
                    <a:pt x="895" y="188"/>
                  </a:cubicBezTo>
                  <a:cubicBezTo>
                    <a:pt x="933" y="205"/>
                    <a:pt x="961" y="357"/>
                    <a:pt x="970" y="382"/>
                  </a:cubicBezTo>
                  <a:cubicBezTo>
                    <a:pt x="972" y="387"/>
                    <a:pt x="968" y="392"/>
                    <a:pt x="963" y="392"/>
                  </a:cubicBezTo>
                  <a:lnTo>
                    <a:pt x="361" y="392"/>
                  </a:lnTo>
                  <a:close/>
                  <a:moveTo>
                    <a:pt x="1679" y="392"/>
                  </a:moveTo>
                  <a:cubicBezTo>
                    <a:pt x="1685" y="392"/>
                    <a:pt x="1688" y="387"/>
                    <a:pt x="1687" y="382"/>
                  </a:cubicBezTo>
                  <a:cubicBezTo>
                    <a:pt x="1677" y="357"/>
                    <a:pt x="1650" y="205"/>
                    <a:pt x="1612" y="188"/>
                  </a:cubicBezTo>
                  <a:cubicBezTo>
                    <a:pt x="1565" y="166"/>
                    <a:pt x="1479" y="165"/>
                    <a:pt x="1479" y="165"/>
                  </a:cubicBezTo>
                  <a:cubicBezTo>
                    <a:pt x="1479" y="165"/>
                    <a:pt x="1479" y="165"/>
                    <a:pt x="1479" y="165"/>
                  </a:cubicBezTo>
                  <a:cubicBezTo>
                    <a:pt x="1479" y="165"/>
                    <a:pt x="1444" y="197"/>
                    <a:pt x="1377" y="197"/>
                  </a:cubicBezTo>
                  <a:cubicBezTo>
                    <a:pt x="1380" y="197"/>
                    <a:pt x="1380" y="197"/>
                    <a:pt x="1380" y="197"/>
                  </a:cubicBezTo>
                  <a:cubicBezTo>
                    <a:pt x="1312" y="197"/>
                    <a:pt x="1278" y="165"/>
                    <a:pt x="1278" y="165"/>
                  </a:cubicBezTo>
                  <a:cubicBezTo>
                    <a:pt x="1278" y="165"/>
                    <a:pt x="1278" y="165"/>
                    <a:pt x="1278" y="165"/>
                  </a:cubicBezTo>
                  <a:cubicBezTo>
                    <a:pt x="1278" y="165"/>
                    <a:pt x="1191" y="166"/>
                    <a:pt x="1145" y="188"/>
                  </a:cubicBezTo>
                  <a:cubicBezTo>
                    <a:pt x="1107" y="205"/>
                    <a:pt x="1079" y="357"/>
                    <a:pt x="1070" y="382"/>
                  </a:cubicBezTo>
                  <a:cubicBezTo>
                    <a:pt x="1068" y="387"/>
                    <a:pt x="1072" y="392"/>
                    <a:pt x="1077" y="392"/>
                  </a:cubicBezTo>
                  <a:lnTo>
                    <a:pt x="1679" y="392"/>
                  </a:lnTo>
                  <a:close/>
                  <a:moveTo>
                    <a:pt x="1126" y="148"/>
                  </a:moveTo>
                  <a:cubicBezTo>
                    <a:pt x="1169" y="128"/>
                    <a:pt x="1233" y="123"/>
                    <a:pt x="1262" y="122"/>
                  </a:cubicBezTo>
                  <a:cubicBezTo>
                    <a:pt x="1257" y="117"/>
                    <a:pt x="1253" y="112"/>
                    <a:pt x="1250" y="108"/>
                  </a:cubicBezTo>
                  <a:cubicBezTo>
                    <a:pt x="1244" y="99"/>
                    <a:pt x="1241" y="94"/>
                    <a:pt x="1238" y="84"/>
                  </a:cubicBezTo>
                  <a:cubicBezTo>
                    <a:pt x="1237" y="82"/>
                    <a:pt x="1237" y="80"/>
                    <a:pt x="1235" y="76"/>
                  </a:cubicBezTo>
                  <a:cubicBezTo>
                    <a:pt x="1219" y="59"/>
                    <a:pt x="1199" y="30"/>
                    <a:pt x="1187" y="5"/>
                  </a:cubicBezTo>
                  <a:cubicBezTo>
                    <a:pt x="1158" y="1"/>
                    <a:pt x="1132" y="0"/>
                    <a:pt x="1123" y="0"/>
                  </a:cubicBezTo>
                  <a:cubicBezTo>
                    <a:pt x="1122" y="0"/>
                    <a:pt x="1120" y="1"/>
                    <a:pt x="1120" y="3"/>
                  </a:cubicBezTo>
                  <a:cubicBezTo>
                    <a:pt x="1095" y="175"/>
                    <a:pt x="1095" y="175"/>
                    <a:pt x="1095" y="175"/>
                  </a:cubicBezTo>
                  <a:cubicBezTo>
                    <a:pt x="1104" y="162"/>
                    <a:pt x="1114" y="153"/>
                    <a:pt x="1126" y="148"/>
                  </a:cubicBezTo>
                  <a:close/>
                  <a:moveTo>
                    <a:pt x="410" y="148"/>
                  </a:moveTo>
                  <a:cubicBezTo>
                    <a:pt x="453" y="128"/>
                    <a:pt x="517" y="123"/>
                    <a:pt x="546" y="122"/>
                  </a:cubicBezTo>
                  <a:cubicBezTo>
                    <a:pt x="541" y="117"/>
                    <a:pt x="537" y="112"/>
                    <a:pt x="534" y="108"/>
                  </a:cubicBezTo>
                  <a:cubicBezTo>
                    <a:pt x="527" y="99"/>
                    <a:pt x="525" y="94"/>
                    <a:pt x="522" y="84"/>
                  </a:cubicBezTo>
                  <a:cubicBezTo>
                    <a:pt x="521" y="82"/>
                    <a:pt x="520" y="80"/>
                    <a:pt x="519" y="76"/>
                  </a:cubicBezTo>
                  <a:cubicBezTo>
                    <a:pt x="503" y="59"/>
                    <a:pt x="482" y="30"/>
                    <a:pt x="471" y="5"/>
                  </a:cubicBezTo>
                  <a:cubicBezTo>
                    <a:pt x="436" y="0"/>
                    <a:pt x="404" y="0"/>
                    <a:pt x="404" y="0"/>
                  </a:cubicBezTo>
                  <a:cubicBezTo>
                    <a:pt x="404" y="0"/>
                    <a:pt x="370" y="47"/>
                    <a:pt x="304" y="48"/>
                  </a:cubicBezTo>
                  <a:cubicBezTo>
                    <a:pt x="237" y="47"/>
                    <a:pt x="203" y="0"/>
                    <a:pt x="203" y="0"/>
                  </a:cubicBezTo>
                  <a:cubicBezTo>
                    <a:pt x="203" y="0"/>
                    <a:pt x="117" y="1"/>
                    <a:pt x="70" y="23"/>
                  </a:cubicBezTo>
                  <a:cubicBezTo>
                    <a:pt x="37" y="38"/>
                    <a:pt x="12" y="154"/>
                    <a:pt x="0" y="201"/>
                  </a:cubicBezTo>
                  <a:cubicBezTo>
                    <a:pt x="363" y="201"/>
                    <a:pt x="363" y="201"/>
                    <a:pt x="363" y="201"/>
                  </a:cubicBezTo>
                  <a:cubicBezTo>
                    <a:pt x="376" y="174"/>
                    <a:pt x="391" y="157"/>
                    <a:pt x="410" y="148"/>
                  </a:cubicBezTo>
                  <a:close/>
                  <a:moveTo>
                    <a:pt x="804" y="78"/>
                  </a:moveTo>
                  <a:cubicBezTo>
                    <a:pt x="803" y="81"/>
                    <a:pt x="802" y="83"/>
                    <a:pt x="802" y="84"/>
                  </a:cubicBezTo>
                  <a:cubicBezTo>
                    <a:pt x="799" y="92"/>
                    <a:pt x="798" y="95"/>
                    <a:pt x="793" y="103"/>
                  </a:cubicBezTo>
                  <a:cubicBezTo>
                    <a:pt x="792" y="105"/>
                    <a:pt x="792" y="105"/>
                    <a:pt x="792" y="105"/>
                  </a:cubicBezTo>
                  <a:cubicBezTo>
                    <a:pt x="789" y="110"/>
                    <a:pt x="784" y="116"/>
                    <a:pt x="778" y="122"/>
                  </a:cubicBezTo>
                  <a:cubicBezTo>
                    <a:pt x="807" y="123"/>
                    <a:pt x="871" y="128"/>
                    <a:pt x="914" y="148"/>
                  </a:cubicBezTo>
                  <a:cubicBezTo>
                    <a:pt x="926" y="153"/>
                    <a:pt x="936" y="162"/>
                    <a:pt x="945" y="175"/>
                  </a:cubicBezTo>
                  <a:cubicBezTo>
                    <a:pt x="920" y="3"/>
                    <a:pt x="920" y="3"/>
                    <a:pt x="920" y="3"/>
                  </a:cubicBezTo>
                  <a:cubicBezTo>
                    <a:pt x="920" y="1"/>
                    <a:pt x="918" y="0"/>
                    <a:pt x="917" y="0"/>
                  </a:cubicBezTo>
                  <a:cubicBezTo>
                    <a:pt x="908" y="0"/>
                    <a:pt x="882" y="1"/>
                    <a:pt x="853" y="5"/>
                  </a:cubicBezTo>
                  <a:cubicBezTo>
                    <a:pt x="842" y="28"/>
                    <a:pt x="823" y="59"/>
                    <a:pt x="804" y="78"/>
                  </a:cubicBezTo>
                  <a:close/>
                  <a:moveTo>
                    <a:pt x="2045" y="212"/>
                  </a:moveTo>
                  <a:cubicBezTo>
                    <a:pt x="2035" y="186"/>
                    <a:pt x="2008" y="40"/>
                    <a:pt x="1970" y="23"/>
                  </a:cubicBezTo>
                  <a:cubicBezTo>
                    <a:pt x="1928" y="3"/>
                    <a:pt x="1855" y="0"/>
                    <a:pt x="1839" y="0"/>
                  </a:cubicBezTo>
                  <a:cubicBezTo>
                    <a:pt x="1838" y="0"/>
                    <a:pt x="1836" y="1"/>
                    <a:pt x="1836" y="3"/>
                  </a:cubicBezTo>
                  <a:cubicBezTo>
                    <a:pt x="1744" y="105"/>
                    <a:pt x="1744" y="105"/>
                    <a:pt x="1744" y="105"/>
                  </a:cubicBezTo>
                  <a:cubicBezTo>
                    <a:pt x="1740" y="111"/>
                    <a:pt x="1732" y="111"/>
                    <a:pt x="1728" y="105"/>
                  </a:cubicBezTo>
                  <a:cubicBezTo>
                    <a:pt x="1636" y="3"/>
                    <a:pt x="1636" y="3"/>
                    <a:pt x="1636" y="3"/>
                  </a:cubicBezTo>
                  <a:cubicBezTo>
                    <a:pt x="1636" y="1"/>
                    <a:pt x="1635" y="0"/>
                    <a:pt x="1633" y="0"/>
                  </a:cubicBezTo>
                  <a:cubicBezTo>
                    <a:pt x="1625" y="0"/>
                    <a:pt x="1598" y="1"/>
                    <a:pt x="1569" y="5"/>
                  </a:cubicBezTo>
                  <a:cubicBezTo>
                    <a:pt x="1559" y="28"/>
                    <a:pt x="1539" y="59"/>
                    <a:pt x="1520" y="78"/>
                  </a:cubicBezTo>
                  <a:cubicBezTo>
                    <a:pt x="1519" y="81"/>
                    <a:pt x="1519" y="83"/>
                    <a:pt x="1518" y="84"/>
                  </a:cubicBezTo>
                  <a:cubicBezTo>
                    <a:pt x="1515" y="92"/>
                    <a:pt x="1514" y="95"/>
                    <a:pt x="1509" y="103"/>
                  </a:cubicBezTo>
                  <a:cubicBezTo>
                    <a:pt x="1508" y="105"/>
                    <a:pt x="1508" y="105"/>
                    <a:pt x="1508" y="105"/>
                  </a:cubicBezTo>
                  <a:cubicBezTo>
                    <a:pt x="1505" y="110"/>
                    <a:pt x="1500" y="116"/>
                    <a:pt x="1494" y="122"/>
                  </a:cubicBezTo>
                  <a:cubicBezTo>
                    <a:pt x="1524" y="123"/>
                    <a:pt x="1588" y="128"/>
                    <a:pt x="1630" y="148"/>
                  </a:cubicBezTo>
                  <a:cubicBezTo>
                    <a:pt x="1653" y="159"/>
                    <a:pt x="1670" y="183"/>
                    <a:pt x="1686" y="222"/>
                  </a:cubicBezTo>
                  <a:cubicBezTo>
                    <a:pt x="1688" y="222"/>
                    <a:pt x="1688" y="222"/>
                    <a:pt x="1688" y="222"/>
                  </a:cubicBezTo>
                  <a:cubicBezTo>
                    <a:pt x="1784" y="222"/>
                    <a:pt x="1784" y="222"/>
                    <a:pt x="1784" y="222"/>
                  </a:cubicBezTo>
                  <a:cubicBezTo>
                    <a:pt x="2038" y="222"/>
                    <a:pt x="2038" y="222"/>
                    <a:pt x="2038" y="222"/>
                  </a:cubicBezTo>
                  <a:cubicBezTo>
                    <a:pt x="2043" y="222"/>
                    <a:pt x="2046" y="217"/>
                    <a:pt x="2045" y="212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93" name="Freeform 36">
              <a:extLst>
                <a:ext uri="{FF2B5EF4-FFF2-40B4-BE49-F238E27FC236}">
                  <a16:creationId xmlns:a16="http://schemas.microsoft.com/office/drawing/2014/main" id="{E74F14F1-CFDF-47CE-B213-4A6E4774DF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36" y="1279"/>
              <a:ext cx="4025" cy="1427"/>
            </a:xfrm>
            <a:custGeom>
              <a:avLst/>
              <a:gdLst>
                <a:gd name="T0" fmla="*/ 1233 w 2149"/>
                <a:gd name="T1" fmla="*/ 232 h 761"/>
                <a:gd name="T2" fmla="*/ 1201 w 2149"/>
                <a:gd name="T3" fmla="*/ 259 h 761"/>
                <a:gd name="T4" fmla="*/ 977 w 2149"/>
                <a:gd name="T5" fmla="*/ 139 h 761"/>
                <a:gd name="T6" fmla="*/ 925 w 2149"/>
                <a:gd name="T7" fmla="*/ 255 h 761"/>
                <a:gd name="T8" fmla="*/ 908 w 2149"/>
                <a:gd name="T9" fmla="*/ 234 h 761"/>
                <a:gd name="T10" fmla="*/ 1070 w 2149"/>
                <a:gd name="T11" fmla="*/ 0 h 761"/>
                <a:gd name="T12" fmla="*/ 1233 w 2149"/>
                <a:gd name="T13" fmla="*/ 232 h 761"/>
                <a:gd name="T14" fmla="*/ 354 w 2149"/>
                <a:gd name="T15" fmla="*/ 0 h 761"/>
                <a:gd name="T16" fmla="*/ 192 w 2149"/>
                <a:gd name="T17" fmla="*/ 234 h 761"/>
                <a:gd name="T18" fmla="*/ 208 w 2149"/>
                <a:gd name="T19" fmla="*/ 255 h 761"/>
                <a:gd name="T20" fmla="*/ 261 w 2149"/>
                <a:gd name="T21" fmla="*/ 139 h 761"/>
                <a:gd name="T22" fmla="*/ 485 w 2149"/>
                <a:gd name="T23" fmla="*/ 259 h 761"/>
                <a:gd name="T24" fmla="*/ 516 w 2149"/>
                <a:gd name="T25" fmla="*/ 232 h 761"/>
                <a:gd name="T26" fmla="*/ 523 w 2149"/>
                <a:gd name="T27" fmla="*/ 173 h 761"/>
                <a:gd name="T28" fmla="*/ 712 w 2149"/>
                <a:gd name="T29" fmla="*/ 218 h 761"/>
                <a:gd name="T30" fmla="*/ 554 w 2149"/>
                <a:gd name="T31" fmla="*/ 440 h 761"/>
                <a:gd name="T32" fmla="*/ 607 w 2149"/>
                <a:gd name="T33" fmla="*/ 522 h 761"/>
                <a:gd name="T34" fmla="*/ 712 w 2149"/>
                <a:gd name="T35" fmla="*/ 597 h 761"/>
                <a:gd name="T36" fmla="*/ 817 w 2149"/>
                <a:gd name="T37" fmla="*/ 522 h 761"/>
                <a:gd name="T38" fmla="*/ 868 w 2149"/>
                <a:gd name="T39" fmla="*/ 445 h 761"/>
                <a:gd name="T40" fmla="*/ 1056 w 2149"/>
                <a:gd name="T41" fmla="*/ 535 h 761"/>
                <a:gd name="T42" fmla="*/ 1033 w 2149"/>
                <a:gd name="T43" fmla="*/ 671 h 761"/>
                <a:gd name="T44" fmla="*/ 1084 w 2149"/>
                <a:gd name="T45" fmla="*/ 538 h 761"/>
                <a:gd name="T46" fmla="*/ 1106 w 2149"/>
                <a:gd name="T47" fmla="*/ 500 h 761"/>
                <a:gd name="T48" fmla="*/ 1071 w 2149"/>
                <a:gd name="T49" fmla="*/ 491 h 761"/>
                <a:gd name="T50" fmla="*/ 1034 w 2149"/>
                <a:gd name="T51" fmla="*/ 500 h 761"/>
                <a:gd name="T52" fmla="*/ 1597 w 2149"/>
                <a:gd name="T53" fmla="*/ 391 h 761"/>
                <a:gd name="T54" fmla="*/ 1259 w 2149"/>
                <a:gd name="T55" fmla="*/ 391 h 761"/>
                <a:gd name="T56" fmla="*/ 1271 w 2149"/>
                <a:gd name="T57" fmla="*/ 442 h 761"/>
                <a:gd name="T58" fmla="*/ 1336 w 2149"/>
                <a:gd name="T59" fmla="*/ 553 h 761"/>
                <a:gd name="T60" fmla="*/ 1520 w 2149"/>
                <a:gd name="T61" fmla="*/ 553 h 761"/>
                <a:gd name="T62" fmla="*/ 1584 w 2149"/>
                <a:gd name="T63" fmla="*/ 446 h 761"/>
                <a:gd name="T64" fmla="*/ 1597 w 2149"/>
                <a:gd name="T65" fmla="*/ 391 h 761"/>
                <a:gd name="T66" fmla="*/ 1786 w 2149"/>
                <a:gd name="T67" fmla="*/ 0 h 761"/>
                <a:gd name="T68" fmla="*/ 1624 w 2149"/>
                <a:gd name="T69" fmla="*/ 246 h 761"/>
                <a:gd name="T70" fmla="*/ 1691 w 2149"/>
                <a:gd name="T71" fmla="*/ 140 h 761"/>
                <a:gd name="T72" fmla="*/ 1919 w 2149"/>
                <a:gd name="T73" fmla="*/ 260 h 761"/>
                <a:gd name="T74" fmla="*/ 1931 w 2149"/>
                <a:gd name="T75" fmla="*/ 261 h 761"/>
                <a:gd name="T76" fmla="*/ 1952 w 2149"/>
                <a:gd name="T77" fmla="*/ 233 h 761"/>
                <a:gd name="T78" fmla="*/ 1958 w 2149"/>
                <a:gd name="T79" fmla="*/ 175 h 761"/>
                <a:gd name="T80" fmla="*/ 22 w 2149"/>
                <a:gd name="T81" fmla="*/ 717 h 761"/>
                <a:gd name="T82" fmla="*/ 22 w 2149"/>
                <a:gd name="T83" fmla="*/ 761 h 761"/>
                <a:gd name="T84" fmla="*/ 395 w 2149"/>
                <a:gd name="T85" fmla="*/ 717 h 761"/>
                <a:gd name="T86" fmla="*/ 1745 w 2149"/>
                <a:gd name="T87" fmla="*/ 717 h 761"/>
                <a:gd name="T88" fmla="*/ 2127 w 2149"/>
                <a:gd name="T89" fmla="*/ 761 h 761"/>
                <a:gd name="T90" fmla="*/ 2127 w 2149"/>
                <a:gd name="T91" fmla="*/ 717 h 761"/>
                <a:gd name="T92" fmla="*/ 1029 w 2149"/>
                <a:gd name="T93" fmla="*/ 717 h 761"/>
                <a:gd name="T94" fmla="*/ 1098 w 2149"/>
                <a:gd name="T95" fmla="*/ 761 h 761"/>
                <a:gd name="T96" fmla="*/ 1644 w 2149"/>
                <a:gd name="T97" fmla="*/ 449 h 761"/>
                <a:gd name="T98" fmla="*/ 1686 w 2149"/>
                <a:gd name="T99" fmla="*/ 445 h 761"/>
                <a:gd name="T100" fmla="*/ 1636 w 2149"/>
                <a:gd name="T101" fmla="*/ 304 h 761"/>
                <a:gd name="T102" fmla="*/ 1641 w 2149"/>
                <a:gd name="T103" fmla="*/ 391 h 761"/>
                <a:gd name="T104" fmla="*/ 1644 w 2149"/>
                <a:gd name="T105" fmla="*/ 449 h 761"/>
                <a:gd name="T106" fmla="*/ 1929 w 2149"/>
                <a:gd name="T107" fmla="*/ 449 h 761"/>
                <a:gd name="T108" fmla="*/ 1936 w 2149"/>
                <a:gd name="T109" fmla="*/ 304 h 761"/>
                <a:gd name="T110" fmla="*/ 1887 w 2149"/>
                <a:gd name="T111" fmla="*/ 445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49" h="761">
                  <a:moveTo>
                    <a:pt x="1233" y="232"/>
                  </a:moveTo>
                  <a:cubicBezTo>
                    <a:pt x="1233" y="232"/>
                    <a:pt x="1233" y="232"/>
                    <a:pt x="1233" y="232"/>
                  </a:cubicBezTo>
                  <a:cubicBezTo>
                    <a:pt x="1232" y="232"/>
                    <a:pt x="1229" y="241"/>
                    <a:pt x="1214" y="259"/>
                  </a:cubicBezTo>
                  <a:cubicBezTo>
                    <a:pt x="1214" y="259"/>
                    <a:pt x="1214" y="259"/>
                    <a:pt x="1201" y="259"/>
                  </a:cubicBezTo>
                  <a:cubicBezTo>
                    <a:pt x="1201" y="259"/>
                    <a:pt x="1201" y="252"/>
                    <a:pt x="1200" y="131"/>
                  </a:cubicBezTo>
                  <a:cubicBezTo>
                    <a:pt x="1180" y="228"/>
                    <a:pt x="977" y="139"/>
                    <a:pt x="977" y="139"/>
                  </a:cubicBezTo>
                  <a:cubicBezTo>
                    <a:pt x="927" y="155"/>
                    <a:pt x="936" y="256"/>
                    <a:pt x="936" y="256"/>
                  </a:cubicBezTo>
                  <a:cubicBezTo>
                    <a:pt x="936" y="256"/>
                    <a:pt x="936" y="256"/>
                    <a:pt x="925" y="255"/>
                  </a:cubicBezTo>
                  <a:cubicBezTo>
                    <a:pt x="925" y="255"/>
                    <a:pt x="925" y="249"/>
                    <a:pt x="908" y="234"/>
                  </a:cubicBezTo>
                  <a:cubicBezTo>
                    <a:pt x="908" y="234"/>
                    <a:pt x="908" y="234"/>
                    <a:pt x="908" y="234"/>
                  </a:cubicBezTo>
                  <a:cubicBezTo>
                    <a:pt x="901" y="215"/>
                    <a:pt x="901" y="195"/>
                    <a:pt x="901" y="173"/>
                  </a:cubicBezTo>
                  <a:cubicBezTo>
                    <a:pt x="901" y="78"/>
                    <a:pt x="974" y="0"/>
                    <a:pt x="1070" y="0"/>
                  </a:cubicBezTo>
                  <a:cubicBezTo>
                    <a:pt x="1166" y="0"/>
                    <a:pt x="1239" y="78"/>
                    <a:pt x="1239" y="173"/>
                  </a:cubicBezTo>
                  <a:cubicBezTo>
                    <a:pt x="1239" y="194"/>
                    <a:pt x="1239" y="214"/>
                    <a:pt x="1233" y="232"/>
                  </a:cubicBezTo>
                  <a:close/>
                  <a:moveTo>
                    <a:pt x="523" y="173"/>
                  </a:moveTo>
                  <a:cubicBezTo>
                    <a:pt x="523" y="78"/>
                    <a:pt x="449" y="0"/>
                    <a:pt x="354" y="0"/>
                  </a:cubicBezTo>
                  <a:cubicBezTo>
                    <a:pt x="258" y="0"/>
                    <a:pt x="185" y="78"/>
                    <a:pt x="185" y="173"/>
                  </a:cubicBezTo>
                  <a:cubicBezTo>
                    <a:pt x="185" y="195"/>
                    <a:pt x="185" y="215"/>
                    <a:pt x="192" y="234"/>
                  </a:cubicBezTo>
                  <a:cubicBezTo>
                    <a:pt x="192" y="234"/>
                    <a:pt x="192" y="234"/>
                    <a:pt x="192" y="234"/>
                  </a:cubicBezTo>
                  <a:cubicBezTo>
                    <a:pt x="208" y="249"/>
                    <a:pt x="208" y="255"/>
                    <a:pt x="208" y="255"/>
                  </a:cubicBezTo>
                  <a:cubicBezTo>
                    <a:pt x="220" y="256"/>
                    <a:pt x="220" y="256"/>
                    <a:pt x="220" y="256"/>
                  </a:cubicBezTo>
                  <a:cubicBezTo>
                    <a:pt x="220" y="256"/>
                    <a:pt x="211" y="155"/>
                    <a:pt x="261" y="139"/>
                  </a:cubicBezTo>
                  <a:cubicBezTo>
                    <a:pt x="261" y="139"/>
                    <a:pt x="464" y="228"/>
                    <a:pt x="483" y="131"/>
                  </a:cubicBezTo>
                  <a:cubicBezTo>
                    <a:pt x="485" y="252"/>
                    <a:pt x="485" y="259"/>
                    <a:pt x="485" y="259"/>
                  </a:cubicBezTo>
                  <a:cubicBezTo>
                    <a:pt x="497" y="259"/>
                    <a:pt x="497" y="259"/>
                    <a:pt x="497" y="259"/>
                  </a:cubicBezTo>
                  <a:cubicBezTo>
                    <a:pt x="513" y="241"/>
                    <a:pt x="516" y="232"/>
                    <a:pt x="516" y="232"/>
                  </a:cubicBezTo>
                  <a:cubicBezTo>
                    <a:pt x="516" y="232"/>
                    <a:pt x="516" y="232"/>
                    <a:pt x="517" y="232"/>
                  </a:cubicBezTo>
                  <a:cubicBezTo>
                    <a:pt x="523" y="214"/>
                    <a:pt x="523" y="194"/>
                    <a:pt x="523" y="173"/>
                  </a:cubicBezTo>
                  <a:close/>
                  <a:moveTo>
                    <a:pt x="881" y="391"/>
                  </a:moveTo>
                  <a:cubicBezTo>
                    <a:pt x="881" y="296"/>
                    <a:pt x="807" y="218"/>
                    <a:pt x="712" y="218"/>
                  </a:cubicBezTo>
                  <a:cubicBezTo>
                    <a:pt x="616" y="218"/>
                    <a:pt x="543" y="296"/>
                    <a:pt x="543" y="391"/>
                  </a:cubicBezTo>
                  <a:cubicBezTo>
                    <a:pt x="543" y="408"/>
                    <a:pt x="551" y="425"/>
                    <a:pt x="554" y="440"/>
                  </a:cubicBezTo>
                  <a:cubicBezTo>
                    <a:pt x="555" y="441"/>
                    <a:pt x="554" y="441"/>
                    <a:pt x="555" y="442"/>
                  </a:cubicBezTo>
                  <a:cubicBezTo>
                    <a:pt x="557" y="459"/>
                    <a:pt x="594" y="513"/>
                    <a:pt x="607" y="522"/>
                  </a:cubicBezTo>
                  <a:cubicBezTo>
                    <a:pt x="617" y="548"/>
                    <a:pt x="612" y="541"/>
                    <a:pt x="620" y="553"/>
                  </a:cubicBezTo>
                  <a:cubicBezTo>
                    <a:pt x="630" y="568"/>
                    <a:pt x="680" y="597"/>
                    <a:pt x="712" y="597"/>
                  </a:cubicBezTo>
                  <a:cubicBezTo>
                    <a:pt x="744" y="597"/>
                    <a:pt x="795" y="569"/>
                    <a:pt x="804" y="553"/>
                  </a:cubicBezTo>
                  <a:cubicBezTo>
                    <a:pt x="812" y="538"/>
                    <a:pt x="806" y="548"/>
                    <a:pt x="817" y="522"/>
                  </a:cubicBezTo>
                  <a:cubicBezTo>
                    <a:pt x="836" y="509"/>
                    <a:pt x="867" y="454"/>
                    <a:pt x="868" y="446"/>
                  </a:cubicBezTo>
                  <a:cubicBezTo>
                    <a:pt x="868" y="445"/>
                    <a:pt x="868" y="445"/>
                    <a:pt x="868" y="445"/>
                  </a:cubicBezTo>
                  <a:cubicBezTo>
                    <a:pt x="873" y="428"/>
                    <a:pt x="881" y="410"/>
                    <a:pt x="881" y="391"/>
                  </a:cubicBezTo>
                  <a:close/>
                  <a:moveTo>
                    <a:pt x="1056" y="535"/>
                  </a:moveTo>
                  <a:cubicBezTo>
                    <a:pt x="1056" y="536"/>
                    <a:pt x="1056" y="537"/>
                    <a:pt x="1056" y="538"/>
                  </a:cubicBezTo>
                  <a:cubicBezTo>
                    <a:pt x="1033" y="671"/>
                    <a:pt x="1033" y="671"/>
                    <a:pt x="1033" y="671"/>
                  </a:cubicBezTo>
                  <a:cubicBezTo>
                    <a:pt x="1105" y="671"/>
                    <a:pt x="1105" y="671"/>
                    <a:pt x="1105" y="671"/>
                  </a:cubicBezTo>
                  <a:cubicBezTo>
                    <a:pt x="1084" y="538"/>
                    <a:pt x="1084" y="538"/>
                    <a:pt x="1084" y="538"/>
                  </a:cubicBezTo>
                  <a:cubicBezTo>
                    <a:pt x="1084" y="537"/>
                    <a:pt x="1084" y="536"/>
                    <a:pt x="1084" y="535"/>
                  </a:cubicBezTo>
                  <a:cubicBezTo>
                    <a:pt x="1106" y="500"/>
                    <a:pt x="1106" y="500"/>
                    <a:pt x="1106" y="500"/>
                  </a:cubicBezTo>
                  <a:cubicBezTo>
                    <a:pt x="1107" y="498"/>
                    <a:pt x="1106" y="496"/>
                    <a:pt x="1104" y="496"/>
                  </a:cubicBezTo>
                  <a:cubicBezTo>
                    <a:pt x="1097" y="494"/>
                    <a:pt x="1083" y="491"/>
                    <a:pt x="1071" y="491"/>
                  </a:cubicBezTo>
                  <a:cubicBezTo>
                    <a:pt x="1059" y="491"/>
                    <a:pt x="1044" y="494"/>
                    <a:pt x="1036" y="496"/>
                  </a:cubicBezTo>
                  <a:cubicBezTo>
                    <a:pt x="1034" y="496"/>
                    <a:pt x="1033" y="499"/>
                    <a:pt x="1034" y="500"/>
                  </a:cubicBezTo>
                  <a:lnTo>
                    <a:pt x="1056" y="535"/>
                  </a:lnTo>
                  <a:close/>
                  <a:moveTo>
                    <a:pt x="1597" y="391"/>
                  </a:moveTo>
                  <a:cubicBezTo>
                    <a:pt x="1597" y="296"/>
                    <a:pt x="1524" y="218"/>
                    <a:pt x="1428" y="218"/>
                  </a:cubicBezTo>
                  <a:cubicBezTo>
                    <a:pt x="1333" y="218"/>
                    <a:pt x="1259" y="296"/>
                    <a:pt x="1259" y="391"/>
                  </a:cubicBezTo>
                  <a:cubicBezTo>
                    <a:pt x="1259" y="408"/>
                    <a:pt x="1267" y="425"/>
                    <a:pt x="1271" y="440"/>
                  </a:cubicBezTo>
                  <a:cubicBezTo>
                    <a:pt x="1271" y="441"/>
                    <a:pt x="1271" y="441"/>
                    <a:pt x="1271" y="442"/>
                  </a:cubicBezTo>
                  <a:cubicBezTo>
                    <a:pt x="1274" y="459"/>
                    <a:pt x="1310" y="513"/>
                    <a:pt x="1323" y="522"/>
                  </a:cubicBezTo>
                  <a:cubicBezTo>
                    <a:pt x="1333" y="548"/>
                    <a:pt x="1328" y="541"/>
                    <a:pt x="1336" y="553"/>
                  </a:cubicBezTo>
                  <a:cubicBezTo>
                    <a:pt x="1346" y="568"/>
                    <a:pt x="1396" y="597"/>
                    <a:pt x="1428" y="597"/>
                  </a:cubicBezTo>
                  <a:cubicBezTo>
                    <a:pt x="1460" y="597"/>
                    <a:pt x="1511" y="569"/>
                    <a:pt x="1520" y="553"/>
                  </a:cubicBezTo>
                  <a:cubicBezTo>
                    <a:pt x="1529" y="538"/>
                    <a:pt x="1523" y="548"/>
                    <a:pt x="1533" y="522"/>
                  </a:cubicBezTo>
                  <a:cubicBezTo>
                    <a:pt x="1552" y="509"/>
                    <a:pt x="1583" y="454"/>
                    <a:pt x="1584" y="446"/>
                  </a:cubicBezTo>
                  <a:cubicBezTo>
                    <a:pt x="1584" y="445"/>
                    <a:pt x="1584" y="445"/>
                    <a:pt x="1584" y="445"/>
                  </a:cubicBezTo>
                  <a:cubicBezTo>
                    <a:pt x="1589" y="428"/>
                    <a:pt x="1597" y="410"/>
                    <a:pt x="1597" y="391"/>
                  </a:cubicBezTo>
                  <a:close/>
                  <a:moveTo>
                    <a:pt x="1958" y="175"/>
                  </a:moveTo>
                  <a:cubicBezTo>
                    <a:pt x="1958" y="78"/>
                    <a:pt x="1883" y="0"/>
                    <a:pt x="1786" y="0"/>
                  </a:cubicBezTo>
                  <a:cubicBezTo>
                    <a:pt x="1689" y="0"/>
                    <a:pt x="1614" y="78"/>
                    <a:pt x="1614" y="175"/>
                  </a:cubicBezTo>
                  <a:cubicBezTo>
                    <a:pt x="1614" y="196"/>
                    <a:pt x="1617" y="227"/>
                    <a:pt x="1624" y="246"/>
                  </a:cubicBezTo>
                  <a:cubicBezTo>
                    <a:pt x="1624" y="246"/>
                    <a:pt x="1624" y="246"/>
                    <a:pt x="1624" y="246"/>
                  </a:cubicBezTo>
                  <a:cubicBezTo>
                    <a:pt x="1641" y="261"/>
                    <a:pt x="1641" y="157"/>
                    <a:pt x="1691" y="140"/>
                  </a:cubicBezTo>
                  <a:cubicBezTo>
                    <a:pt x="1692" y="140"/>
                    <a:pt x="1692" y="140"/>
                    <a:pt x="1693" y="141"/>
                  </a:cubicBezTo>
                  <a:cubicBezTo>
                    <a:pt x="1919" y="260"/>
                    <a:pt x="1919" y="260"/>
                    <a:pt x="1919" y="260"/>
                  </a:cubicBezTo>
                  <a:cubicBezTo>
                    <a:pt x="1920" y="261"/>
                    <a:pt x="1920" y="261"/>
                    <a:pt x="1920" y="261"/>
                  </a:cubicBezTo>
                  <a:cubicBezTo>
                    <a:pt x="1931" y="261"/>
                    <a:pt x="1931" y="261"/>
                    <a:pt x="1931" y="261"/>
                  </a:cubicBezTo>
                  <a:cubicBezTo>
                    <a:pt x="1932" y="261"/>
                    <a:pt x="1933" y="260"/>
                    <a:pt x="1933" y="260"/>
                  </a:cubicBezTo>
                  <a:cubicBezTo>
                    <a:pt x="1949" y="242"/>
                    <a:pt x="1951" y="234"/>
                    <a:pt x="1952" y="233"/>
                  </a:cubicBezTo>
                  <a:cubicBezTo>
                    <a:pt x="1952" y="233"/>
                    <a:pt x="1952" y="234"/>
                    <a:pt x="1952" y="234"/>
                  </a:cubicBezTo>
                  <a:cubicBezTo>
                    <a:pt x="1959" y="215"/>
                    <a:pt x="1958" y="195"/>
                    <a:pt x="1958" y="175"/>
                  </a:cubicBezTo>
                  <a:close/>
                  <a:moveTo>
                    <a:pt x="395" y="717"/>
                  </a:moveTo>
                  <a:cubicBezTo>
                    <a:pt x="22" y="717"/>
                    <a:pt x="22" y="717"/>
                    <a:pt x="22" y="717"/>
                  </a:cubicBezTo>
                  <a:cubicBezTo>
                    <a:pt x="9" y="717"/>
                    <a:pt x="0" y="727"/>
                    <a:pt x="0" y="739"/>
                  </a:cubicBezTo>
                  <a:cubicBezTo>
                    <a:pt x="0" y="752"/>
                    <a:pt x="9" y="761"/>
                    <a:pt x="22" y="761"/>
                  </a:cubicBezTo>
                  <a:cubicBezTo>
                    <a:pt x="382" y="761"/>
                    <a:pt x="382" y="761"/>
                    <a:pt x="382" y="761"/>
                  </a:cubicBezTo>
                  <a:cubicBezTo>
                    <a:pt x="386" y="745"/>
                    <a:pt x="391" y="731"/>
                    <a:pt x="395" y="717"/>
                  </a:cubicBezTo>
                  <a:close/>
                  <a:moveTo>
                    <a:pt x="2127" y="717"/>
                  </a:moveTo>
                  <a:cubicBezTo>
                    <a:pt x="1745" y="717"/>
                    <a:pt x="1745" y="717"/>
                    <a:pt x="1745" y="717"/>
                  </a:cubicBezTo>
                  <a:cubicBezTo>
                    <a:pt x="1749" y="731"/>
                    <a:pt x="1754" y="745"/>
                    <a:pt x="1758" y="761"/>
                  </a:cubicBezTo>
                  <a:cubicBezTo>
                    <a:pt x="2127" y="761"/>
                    <a:pt x="2127" y="761"/>
                    <a:pt x="2127" y="761"/>
                  </a:cubicBezTo>
                  <a:cubicBezTo>
                    <a:pt x="2139" y="761"/>
                    <a:pt x="2149" y="752"/>
                    <a:pt x="2149" y="739"/>
                  </a:cubicBezTo>
                  <a:cubicBezTo>
                    <a:pt x="2149" y="727"/>
                    <a:pt x="2139" y="717"/>
                    <a:pt x="2127" y="717"/>
                  </a:cubicBezTo>
                  <a:close/>
                  <a:moveTo>
                    <a:pt x="1111" y="717"/>
                  </a:moveTo>
                  <a:cubicBezTo>
                    <a:pt x="1029" y="717"/>
                    <a:pt x="1029" y="717"/>
                    <a:pt x="1029" y="717"/>
                  </a:cubicBezTo>
                  <a:cubicBezTo>
                    <a:pt x="1033" y="731"/>
                    <a:pt x="1037" y="745"/>
                    <a:pt x="1042" y="761"/>
                  </a:cubicBezTo>
                  <a:cubicBezTo>
                    <a:pt x="1098" y="761"/>
                    <a:pt x="1098" y="761"/>
                    <a:pt x="1098" y="761"/>
                  </a:cubicBezTo>
                  <a:cubicBezTo>
                    <a:pt x="1103" y="745"/>
                    <a:pt x="1107" y="731"/>
                    <a:pt x="1111" y="717"/>
                  </a:cubicBezTo>
                  <a:close/>
                  <a:moveTo>
                    <a:pt x="1644" y="449"/>
                  </a:moveTo>
                  <a:cubicBezTo>
                    <a:pt x="1662" y="447"/>
                    <a:pt x="1676" y="447"/>
                    <a:pt x="1682" y="447"/>
                  </a:cubicBezTo>
                  <a:cubicBezTo>
                    <a:pt x="1684" y="446"/>
                    <a:pt x="1686" y="445"/>
                    <a:pt x="1686" y="445"/>
                  </a:cubicBezTo>
                  <a:cubicBezTo>
                    <a:pt x="1686" y="412"/>
                    <a:pt x="1686" y="412"/>
                    <a:pt x="1686" y="412"/>
                  </a:cubicBezTo>
                  <a:cubicBezTo>
                    <a:pt x="1686" y="412"/>
                    <a:pt x="1643" y="333"/>
                    <a:pt x="1636" y="304"/>
                  </a:cubicBezTo>
                  <a:cubicBezTo>
                    <a:pt x="1633" y="304"/>
                    <a:pt x="1633" y="314"/>
                    <a:pt x="1632" y="328"/>
                  </a:cubicBezTo>
                  <a:cubicBezTo>
                    <a:pt x="1638" y="348"/>
                    <a:pt x="1641" y="369"/>
                    <a:pt x="1641" y="391"/>
                  </a:cubicBezTo>
                  <a:cubicBezTo>
                    <a:pt x="1641" y="412"/>
                    <a:pt x="1635" y="430"/>
                    <a:pt x="1630" y="445"/>
                  </a:cubicBezTo>
                  <a:cubicBezTo>
                    <a:pt x="1635" y="447"/>
                    <a:pt x="1640" y="448"/>
                    <a:pt x="1644" y="449"/>
                  </a:cubicBezTo>
                  <a:close/>
                  <a:moveTo>
                    <a:pt x="1891" y="447"/>
                  </a:moveTo>
                  <a:cubicBezTo>
                    <a:pt x="1898" y="447"/>
                    <a:pt x="1912" y="447"/>
                    <a:pt x="1929" y="449"/>
                  </a:cubicBezTo>
                  <a:cubicBezTo>
                    <a:pt x="1944" y="446"/>
                    <a:pt x="1963" y="438"/>
                    <a:pt x="1982" y="418"/>
                  </a:cubicBezTo>
                  <a:cubicBezTo>
                    <a:pt x="1928" y="413"/>
                    <a:pt x="1946" y="304"/>
                    <a:pt x="1936" y="304"/>
                  </a:cubicBezTo>
                  <a:cubicBezTo>
                    <a:pt x="1929" y="335"/>
                    <a:pt x="1887" y="412"/>
                    <a:pt x="1887" y="412"/>
                  </a:cubicBezTo>
                  <a:cubicBezTo>
                    <a:pt x="1887" y="445"/>
                    <a:pt x="1887" y="445"/>
                    <a:pt x="1887" y="445"/>
                  </a:cubicBezTo>
                  <a:cubicBezTo>
                    <a:pt x="1887" y="445"/>
                    <a:pt x="1889" y="446"/>
                    <a:pt x="1891" y="44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</p:grpSp>
      <p:sp>
        <p:nvSpPr>
          <p:cNvPr id="195" name="Shape 2901"/>
          <p:cNvSpPr/>
          <p:nvPr/>
        </p:nvSpPr>
        <p:spPr>
          <a:xfrm>
            <a:off x="6410940" y="4723058"/>
            <a:ext cx="81013" cy="8230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351" h="21297" extrusionOk="0">
                <a:moveTo>
                  <a:pt x="18143" y="3162"/>
                </a:moveTo>
                <a:cubicBezTo>
                  <a:pt x="19589" y="4512"/>
                  <a:pt x="20402" y="6042"/>
                  <a:pt x="20945" y="7932"/>
                </a:cubicBezTo>
                <a:cubicBezTo>
                  <a:pt x="21487" y="9822"/>
                  <a:pt x="21487" y="11532"/>
                  <a:pt x="20945" y="13422"/>
                </a:cubicBezTo>
                <a:cubicBezTo>
                  <a:pt x="20402" y="15312"/>
                  <a:pt x="19589" y="16752"/>
                  <a:pt x="18143" y="18192"/>
                </a:cubicBezTo>
                <a:cubicBezTo>
                  <a:pt x="16787" y="19542"/>
                  <a:pt x="15341" y="20352"/>
                  <a:pt x="13443" y="20892"/>
                </a:cubicBezTo>
                <a:cubicBezTo>
                  <a:pt x="11546" y="21432"/>
                  <a:pt x="9828" y="21432"/>
                  <a:pt x="7931" y="20892"/>
                </a:cubicBezTo>
                <a:cubicBezTo>
                  <a:pt x="6033" y="20352"/>
                  <a:pt x="4587" y="19542"/>
                  <a:pt x="3141" y="18192"/>
                </a:cubicBezTo>
                <a:cubicBezTo>
                  <a:pt x="1785" y="16752"/>
                  <a:pt x="881" y="15312"/>
                  <a:pt x="339" y="13422"/>
                </a:cubicBezTo>
                <a:cubicBezTo>
                  <a:pt x="-113" y="11532"/>
                  <a:pt x="-113" y="9822"/>
                  <a:pt x="339" y="7932"/>
                </a:cubicBezTo>
                <a:cubicBezTo>
                  <a:pt x="881" y="6042"/>
                  <a:pt x="1785" y="4512"/>
                  <a:pt x="3141" y="3162"/>
                </a:cubicBezTo>
                <a:cubicBezTo>
                  <a:pt x="4587" y="1812"/>
                  <a:pt x="6033" y="822"/>
                  <a:pt x="7931" y="372"/>
                </a:cubicBezTo>
                <a:cubicBezTo>
                  <a:pt x="9828" y="-168"/>
                  <a:pt x="11546" y="-78"/>
                  <a:pt x="13443" y="372"/>
                </a:cubicBezTo>
                <a:cubicBezTo>
                  <a:pt x="15341" y="912"/>
                  <a:pt x="16787" y="1812"/>
                  <a:pt x="18143" y="3162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96" name="Shape 2902"/>
          <p:cNvSpPr/>
          <p:nvPr/>
        </p:nvSpPr>
        <p:spPr>
          <a:xfrm>
            <a:off x="6281609" y="4723058"/>
            <a:ext cx="80801" cy="8230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96" h="21297" extrusionOk="0">
                <a:moveTo>
                  <a:pt x="18177" y="3162"/>
                </a:moveTo>
                <a:cubicBezTo>
                  <a:pt x="19533" y="4512"/>
                  <a:pt x="20437" y="6042"/>
                  <a:pt x="20889" y="7932"/>
                </a:cubicBezTo>
                <a:cubicBezTo>
                  <a:pt x="21431" y="9822"/>
                  <a:pt x="21431" y="11532"/>
                  <a:pt x="20889" y="13422"/>
                </a:cubicBezTo>
                <a:cubicBezTo>
                  <a:pt x="20437" y="15312"/>
                  <a:pt x="19533" y="16752"/>
                  <a:pt x="18177" y="18192"/>
                </a:cubicBezTo>
                <a:cubicBezTo>
                  <a:pt x="16822" y="19542"/>
                  <a:pt x="15285" y="20352"/>
                  <a:pt x="13387" y="20892"/>
                </a:cubicBezTo>
                <a:cubicBezTo>
                  <a:pt x="11490" y="21432"/>
                  <a:pt x="9772" y="21432"/>
                  <a:pt x="7875" y="20892"/>
                </a:cubicBezTo>
                <a:cubicBezTo>
                  <a:pt x="5977" y="20352"/>
                  <a:pt x="4531" y="19542"/>
                  <a:pt x="3085" y="18192"/>
                </a:cubicBezTo>
                <a:cubicBezTo>
                  <a:pt x="1729" y="16752"/>
                  <a:pt x="916" y="15312"/>
                  <a:pt x="373" y="13422"/>
                </a:cubicBezTo>
                <a:cubicBezTo>
                  <a:pt x="-79" y="11532"/>
                  <a:pt x="-169" y="9822"/>
                  <a:pt x="373" y="7932"/>
                </a:cubicBezTo>
                <a:cubicBezTo>
                  <a:pt x="825" y="6042"/>
                  <a:pt x="1729" y="4512"/>
                  <a:pt x="3085" y="3162"/>
                </a:cubicBezTo>
                <a:cubicBezTo>
                  <a:pt x="4531" y="1812"/>
                  <a:pt x="5977" y="822"/>
                  <a:pt x="7875" y="372"/>
                </a:cubicBezTo>
                <a:cubicBezTo>
                  <a:pt x="9772" y="-168"/>
                  <a:pt x="11490" y="-78"/>
                  <a:pt x="13387" y="372"/>
                </a:cubicBezTo>
                <a:cubicBezTo>
                  <a:pt x="15285" y="912"/>
                  <a:pt x="16822" y="1812"/>
                  <a:pt x="18177" y="3162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97" name="Shape 2903"/>
          <p:cNvSpPr/>
          <p:nvPr/>
        </p:nvSpPr>
        <p:spPr>
          <a:xfrm>
            <a:off x="6136186" y="4723059"/>
            <a:ext cx="502586" cy="3563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423" extrusionOk="0">
                <a:moveTo>
                  <a:pt x="401" y="5893"/>
                </a:moveTo>
                <a:lnTo>
                  <a:pt x="4237" y="530"/>
                </a:lnTo>
                <a:cubicBezTo>
                  <a:pt x="4757" y="-177"/>
                  <a:pt x="5604" y="-177"/>
                  <a:pt x="6095" y="530"/>
                </a:cubicBezTo>
                <a:cubicBezTo>
                  <a:pt x="6214" y="675"/>
                  <a:pt x="6600" y="1237"/>
                  <a:pt x="6704" y="1382"/>
                </a:cubicBezTo>
                <a:cubicBezTo>
                  <a:pt x="6838" y="1549"/>
                  <a:pt x="6927" y="1777"/>
                  <a:pt x="7002" y="1985"/>
                </a:cubicBezTo>
                <a:lnTo>
                  <a:pt x="8087" y="6143"/>
                </a:lnTo>
                <a:lnTo>
                  <a:pt x="10807" y="7910"/>
                </a:lnTo>
                <a:lnTo>
                  <a:pt x="13528" y="6143"/>
                </a:lnTo>
                <a:lnTo>
                  <a:pt x="14613" y="1985"/>
                </a:lnTo>
                <a:cubicBezTo>
                  <a:pt x="14687" y="1756"/>
                  <a:pt x="14777" y="1549"/>
                  <a:pt x="14896" y="1382"/>
                </a:cubicBezTo>
                <a:cubicBezTo>
                  <a:pt x="15000" y="1237"/>
                  <a:pt x="15401" y="675"/>
                  <a:pt x="15505" y="530"/>
                </a:cubicBezTo>
                <a:cubicBezTo>
                  <a:pt x="16010" y="-177"/>
                  <a:pt x="16828" y="-177"/>
                  <a:pt x="17363" y="530"/>
                </a:cubicBezTo>
                <a:lnTo>
                  <a:pt x="21213" y="5893"/>
                </a:lnTo>
                <a:cubicBezTo>
                  <a:pt x="21481" y="6288"/>
                  <a:pt x="21600" y="6725"/>
                  <a:pt x="21600" y="7224"/>
                </a:cubicBezTo>
                <a:lnTo>
                  <a:pt x="21600" y="19905"/>
                </a:lnTo>
                <a:cubicBezTo>
                  <a:pt x="21600" y="20758"/>
                  <a:pt x="21124" y="21423"/>
                  <a:pt x="20515" y="21423"/>
                </a:cubicBezTo>
                <a:cubicBezTo>
                  <a:pt x="19905" y="21423"/>
                  <a:pt x="19415" y="20758"/>
                  <a:pt x="19415" y="19905"/>
                </a:cubicBezTo>
                <a:lnTo>
                  <a:pt x="19415" y="9843"/>
                </a:lnTo>
                <a:cubicBezTo>
                  <a:pt x="19192" y="9802"/>
                  <a:pt x="18939" y="9594"/>
                  <a:pt x="18746" y="9344"/>
                </a:cubicBezTo>
                <a:lnTo>
                  <a:pt x="15490" y="4812"/>
                </a:lnTo>
                <a:lnTo>
                  <a:pt x="14821" y="7307"/>
                </a:lnTo>
                <a:cubicBezTo>
                  <a:pt x="14762" y="7577"/>
                  <a:pt x="14613" y="7806"/>
                  <a:pt x="14435" y="7910"/>
                </a:cubicBezTo>
                <a:lnTo>
                  <a:pt x="11268" y="9989"/>
                </a:lnTo>
                <a:cubicBezTo>
                  <a:pt x="11105" y="10072"/>
                  <a:pt x="10941" y="10114"/>
                  <a:pt x="10807" y="10051"/>
                </a:cubicBezTo>
                <a:cubicBezTo>
                  <a:pt x="10644" y="10114"/>
                  <a:pt x="10480" y="10072"/>
                  <a:pt x="10332" y="9989"/>
                </a:cubicBezTo>
                <a:lnTo>
                  <a:pt x="7180" y="7910"/>
                </a:lnTo>
                <a:cubicBezTo>
                  <a:pt x="7002" y="7785"/>
                  <a:pt x="6853" y="7577"/>
                  <a:pt x="6779" y="7307"/>
                </a:cubicBezTo>
                <a:lnTo>
                  <a:pt x="6125" y="4812"/>
                </a:lnTo>
                <a:lnTo>
                  <a:pt x="2869" y="9344"/>
                </a:lnTo>
                <a:cubicBezTo>
                  <a:pt x="2676" y="9594"/>
                  <a:pt x="2438" y="9781"/>
                  <a:pt x="2185" y="9843"/>
                </a:cubicBezTo>
                <a:lnTo>
                  <a:pt x="2185" y="19885"/>
                </a:lnTo>
                <a:cubicBezTo>
                  <a:pt x="2185" y="20737"/>
                  <a:pt x="1710" y="21402"/>
                  <a:pt x="1100" y="21402"/>
                </a:cubicBezTo>
                <a:cubicBezTo>
                  <a:pt x="491" y="21402"/>
                  <a:pt x="0" y="20737"/>
                  <a:pt x="0" y="19885"/>
                </a:cubicBezTo>
                <a:lnTo>
                  <a:pt x="0" y="7203"/>
                </a:lnTo>
                <a:cubicBezTo>
                  <a:pt x="0" y="6725"/>
                  <a:pt x="134" y="6247"/>
                  <a:pt x="401" y="5893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99" name="Shape 2996"/>
          <p:cNvSpPr/>
          <p:nvPr/>
        </p:nvSpPr>
        <p:spPr>
          <a:xfrm>
            <a:off x="4393747" y="4723058"/>
            <a:ext cx="427990" cy="4102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3" h="21600" extrusionOk="0">
                <a:moveTo>
                  <a:pt x="21583" y="8255"/>
                </a:moveTo>
                <a:cubicBezTo>
                  <a:pt x="21583" y="9154"/>
                  <a:pt x="20894" y="9856"/>
                  <a:pt x="20050" y="9856"/>
                </a:cubicBezTo>
                <a:lnTo>
                  <a:pt x="20050" y="15503"/>
                </a:lnTo>
                <a:lnTo>
                  <a:pt x="20033" y="15503"/>
                </a:lnTo>
                <a:cubicBezTo>
                  <a:pt x="19964" y="16025"/>
                  <a:pt x="19533" y="16420"/>
                  <a:pt x="19033" y="16420"/>
                </a:cubicBezTo>
                <a:cubicBezTo>
                  <a:pt x="18844" y="16420"/>
                  <a:pt x="18689" y="16366"/>
                  <a:pt x="18534" y="16294"/>
                </a:cubicBezTo>
                <a:cubicBezTo>
                  <a:pt x="18534" y="16258"/>
                  <a:pt x="18500" y="16258"/>
                  <a:pt x="18482" y="16240"/>
                </a:cubicBezTo>
                <a:cubicBezTo>
                  <a:pt x="18431" y="16222"/>
                  <a:pt x="18396" y="16187"/>
                  <a:pt x="18379" y="16151"/>
                </a:cubicBezTo>
                <a:cubicBezTo>
                  <a:pt x="16226" y="14316"/>
                  <a:pt x="13590" y="11888"/>
                  <a:pt x="9525" y="11528"/>
                </a:cubicBezTo>
                <a:cubicBezTo>
                  <a:pt x="9284" y="11510"/>
                  <a:pt x="8888" y="11492"/>
                  <a:pt x="8457" y="11492"/>
                </a:cubicBezTo>
                <a:lnTo>
                  <a:pt x="9388" y="17392"/>
                </a:lnTo>
                <a:lnTo>
                  <a:pt x="10249" y="17266"/>
                </a:lnTo>
                <a:lnTo>
                  <a:pt x="10507" y="19028"/>
                </a:lnTo>
                <a:lnTo>
                  <a:pt x="9611" y="19172"/>
                </a:lnTo>
                <a:lnTo>
                  <a:pt x="9835" y="21024"/>
                </a:lnTo>
                <a:lnTo>
                  <a:pt x="5426" y="21600"/>
                </a:lnTo>
                <a:lnTo>
                  <a:pt x="3962" y="11492"/>
                </a:lnTo>
                <a:lnTo>
                  <a:pt x="3273" y="11492"/>
                </a:lnTo>
                <a:cubicBezTo>
                  <a:pt x="3204" y="11492"/>
                  <a:pt x="3152" y="11456"/>
                  <a:pt x="3083" y="11456"/>
                </a:cubicBezTo>
                <a:cubicBezTo>
                  <a:pt x="3083" y="11456"/>
                  <a:pt x="3083" y="11456"/>
                  <a:pt x="3066" y="11456"/>
                </a:cubicBezTo>
                <a:cubicBezTo>
                  <a:pt x="1361" y="11456"/>
                  <a:pt x="0" y="10036"/>
                  <a:pt x="0" y="8255"/>
                </a:cubicBezTo>
                <a:cubicBezTo>
                  <a:pt x="0" y="6493"/>
                  <a:pt x="1361" y="5054"/>
                  <a:pt x="3066" y="5054"/>
                </a:cubicBezTo>
                <a:cubicBezTo>
                  <a:pt x="3066" y="5054"/>
                  <a:pt x="3066" y="5054"/>
                  <a:pt x="3083" y="5054"/>
                </a:cubicBezTo>
                <a:cubicBezTo>
                  <a:pt x="3152" y="5036"/>
                  <a:pt x="3204" y="5036"/>
                  <a:pt x="3273" y="5036"/>
                </a:cubicBezTo>
                <a:lnTo>
                  <a:pt x="8475" y="5036"/>
                </a:lnTo>
                <a:cubicBezTo>
                  <a:pt x="12884" y="5036"/>
                  <a:pt x="15830" y="2482"/>
                  <a:pt x="18172" y="522"/>
                </a:cubicBezTo>
                <a:cubicBezTo>
                  <a:pt x="18344" y="216"/>
                  <a:pt x="18655" y="0"/>
                  <a:pt x="19033" y="0"/>
                </a:cubicBezTo>
                <a:cubicBezTo>
                  <a:pt x="19567" y="0"/>
                  <a:pt x="20015" y="432"/>
                  <a:pt x="20050" y="971"/>
                </a:cubicBezTo>
                <a:lnTo>
                  <a:pt x="20050" y="6654"/>
                </a:lnTo>
                <a:cubicBezTo>
                  <a:pt x="20894" y="6654"/>
                  <a:pt x="21600" y="7356"/>
                  <a:pt x="21583" y="8255"/>
                </a:cubicBezTo>
                <a:close/>
                <a:moveTo>
                  <a:pt x="18500" y="2230"/>
                </a:moveTo>
                <a:cubicBezTo>
                  <a:pt x="15365" y="4766"/>
                  <a:pt x="13074" y="6187"/>
                  <a:pt x="10008" y="6547"/>
                </a:cubicBezTo>
                <a:lnTo>
                  <a:pt x="10008" y="9946"/>
                </a:lnTo>
                <a:cubicBezTo>
                  <a:pt x="13074" y="10323"/>
                  <a:pt x="15347" y="11726"/>
                  <a:pt x="18500" y="14226"/>
                </a:cubicBezTo>
                <a:lnTo>
                  <a:pt x="18500" y="2230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00" name="Shape 2912"/>
          <p:cNvSpPr/>
          <p:nvPr/>
        </p:nvSpPr>
        <p:spPr>
          <a:xfrm>
            <a:off x="2435476" y="4723058"/>
            <a:ext cx="426384" cy="4157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21510"/>
                </a:lnTo>
                <a:lnTo>
                  <a:pt x="19081" y="21510"/>
                </a:lnTo>
                <a:lnTo>
                  <a:pt x="19081" y="19086"/>
                </a:lnTo>
                <a:lnTo>
                  <a:pt x="17822" y="19086"/>
                </a:lnTo>
                <a:cubicBezTo>
                  <a:pt x="16073" y="19086"/>
                  <a:pt x="14604" y="17632"/>
                  <a:pt x="14604" y="15836"/>
                </a:cubicBezTo>
                <a:lnTo>
                  <a:pt x="14604" y="13538"/>
                </a:lnTo>
                <a:lnTo>
                  <a:pt x="13590" y="13538"/>
                </a:lnTo>
                <a:cubicBezTo>
                  <a:pt x="13222" y="13538"/>
                  <a:pt x="12943" y="13233"/>
                  <a:pt x="12943" y="12874"/>
                </a:cubicBezTo>
                <a:cubicBezTo>
                  <a:pt x="12943" y="12766"/>
                  <a:pt x="12960" y="12676"/>
                  <a:pt x="12995" y="12622"/>
                </a:cubicBezTo>
                <a:lnTo>
                  <a:pt x="14657" y="8295"/>
                </a:lnTo>
                <a:cubicBezTo>
                  <a:pt x="14657" y="8295"/>
                  <a:pt x="14831" y="6500"/>
                  <a:pt x="14971" y="5835"/>
                </a:cubicBezTo>
                <a:cubicBezTo>
                  <a:pt x="15601" y="3034"/>
                  <a:pt x="18399" y="485"/>
                  <a:pt x="21600" y="0"/>
                </a:cubicBezTo>
                <a:close/>
                <a:moveTo>
                  <a:pt x="17507" y="9013"/>
                </a:moveTo>
                <a:cubicBezTo>
                  <a:pt x="17507" y="8511"/>
                  <a:pt x="17105" y="8098"/>
                  <a:pt x="16615" y="8098"/>
                </a:cubicBezTo>
                <a:cubicBezTo>
                  <a:pt x="16126" y="8098"/>
                  <a:pt x="15741" y="8529"/>
                  <a:pt x="15741" y="9013"/>
                </a:cubicBezTo>
                <a:cubicBezTo>
                  <a:pt x="15741" y="9516"/>
                  <a:pt x="16126" y="9911"/>
                  <a:pt x="16615" y="9911"/>
                </a:cubicBezTo>
                <a:cubicBezTo>
                  <a:pt x="17105" y="9911"/>
                  <a:pt x="17507" y="9498"/>
                  <a:pt x="17507" y="9013"/>
                </a:cubicBezTo>
                <a:close/>
                <a:moveTo>
                  <a:pt x="8623" y="12676"/>
                </a:moveTo>
                <a:cubicBezTo>
                  <a:pt x="8657" y="12748"/>
                  <a:pt x="8692" y="12856"/>
                  <a:pt x="8692" y="12946"/>
                </a:cubicBezTo>
                <a:cubicBezTo>
                  <a:pt x="8692" y="13305"/>
                  <a:pt x="8395" y="13628"/>
                  <a:pt x="8028" y="13628"/>
                </a:cubicBezTo>
                <a:lnTo>
                  <a:pt x="6996" y="13628"/>
                </a:lnTo>
                <a:lnTo>
                  <a:pt x="6996" y="15890"/>
                </a:lnTo>
                <a:cubicBezTo>
                  <a:pt x="6996" y="17686"/>
                  <a:pt x="5544" y="19176"/>
                  <a:pt x="3813" y="19176"/>
                </a:cubicBezTo>
                <a:lnTo>
                  <a:pt x="2519" y="19176"/>
                </a:lnTo>
                <a:lnTo>
                  <a:pt x="2519" y="21600"/>
                </a:lnTo>
                <a:lnTo>
                  <a:pt x="0" y="21600"/>
                </a:lnTo>
                <a:lnTo>
                  <a:pt x="0" y="72"/>
                </a:lnTo>
                <a:cubicBezTo>
                  <a:pt x="3218" y="539"/>
                  <a:pt x="6017" y="3088"/>
                  <a:pt x="6646" y="5871"/>
                </a:cubicBezTo>
                <a:cubicBezTo>
                  <a:pt x="6786" y="6554"/>
                  <a:pt x="6978" y="8331"/>
                  <a:pt x="6978" y="8331"/>
                </a:cubicBezTo>
                <a:lnTo>
                  <a:pt x="8623" y="12676"/>
                </a:lnTo>
                <a:close/>
                <a:moveTo>
                  <a:pt x="5894" y="9067"/>
                </a:moveTo>
                <a:cubicBezTo>
                  <a:pt x="5894" y="8583"/>
                  <a:pt x="5492" y="8170"/>
                  <a:pt x="5002" y="8170"/>
                </a:cubicBezTo>
                <a:cubicBezTo>
                  <a:pt x="4530" y="8170"/>
                  <a:pt x="4128" y="8583"/>
                  <a:pt x="4128" y="9067"/>
                </a:cubicBezTo>
                <a:cubicBezTo>
                  <a:pt x="4128" y="9570"/>
                  <a:pt x="4530" y="9983"/>
                  <a:pt x="5002" y="9983"/>
                </a:cubicBezTo>
                <a:cubicBezTo>
                  <a:pt x="5492" y="9983"/>
                  <a:pt x="5894" y="9570"/>
                  <a:pt x="5894" y="9067"/>
                </a:cubicBezTo>
                <a:close/>
                <a:moveTo>
                  <a:pt x="15164" y="2370"/>
                </a:moveTo>
                <a:cubicBezTo>
                  <a:pt x="15251" y="2424"/>
                  <a:pt x="15304" y="2442"/>
                  <a:pt x="15391" y="2460"/>
                </a:cubicBezTo>
                <a:cubicBezTo>
                  <a:pt x="15583" y="2496"/>
                  <a:pt x="15776" y="2406"/>
                  <a:pt x="15863" y="2226"/>
                </a:cubicBezTo>
                <a:cubicBezTo>
                  <a:pt x="16003" y="1993"/>
                  <a:pt x="15951" y="1670"/>
                  <a:pt x="15706" y="1508"/>
                </a:cubicBezTo>
                <a:cubicBezTo>
                  <a:pt x="15479" y="1365"/>
                  <a:pt x="15164" y="1436"/>
                  <a:pt x="15024" y="1670"/>
                </a:cubicBezTo>
                <a:cubicBezTo>
                  <a:pt x="14866" y="1903"/>
                  <a:pt x="14936" y="2208"/>
                  <a:pt x="15164" y="2370"/>
                </a:cubicBezTo>
                <a:close/>
                <a:moveTo>
                  <a:pt x="5824" y="2603"/>
                </a:moveTo>
                <a:cubicBezTo>
                  <a:pt x="5947" y="2621"/>
                  <a:pt x="6051" y="2568"/>
                  <a:pt x="6156" y="2514"/>
                </a:cubicBezTo>
                <a:cubicBezTo>
                  <a:pt x="6401" y="2352"/>
                  <a:pt x="6454" y="2029"/>
                  <a:pt x="6296" y="1796"/>
                </a:cubicBezTo>
                <a:cubicBezTo>
                  <a:pt x="6139" y="1562"/>
                  <a:pt x="5824" y="1490"/>
                  <a:pt x="5597" y="1670"/>
                </a:cubicBezTo>
                <a:cubicBezTo>
                  <a:pt x="5369" y="1813"/>
                  <a:pt x="5299" y="2137"/>
                  <a:pt x="5474" y="2370"/>
                </a:cubicBezTo>
                <a:cubicBezTo>
                  <a:pt x="5544" y="2514"/>
                  <a:pt x="5684" y="2603"/>
                  <a:pt x="5824" y="2603"/>
                </a:cubicBezTo>
                <a:close/>
                <a:moveTo>
                  <a:pt x="8098" y="1472"/>
                </a:moveTo>
                <a:cubicBezTo>
                  <a:pt x="8168" y="1472"/>
                  <a:pt x="8220" y="1472"/>
                  <a:pt x="8308" y="1454"/>
                </a:cubicBezTo>
                <a:cubicBezTo>
                  <a:pt x="8588" y="1365"/>
                  <a:pt x="8727" y="1095"/>
                  <a:pt x="8640" y="808"/>
                </a:cubicBezTo>
                <a:cubicBezTo>
                  <a:pt x="8553" y="539"/>
                  <a:pt x="8273" y="377"/>
                  <a:pt x="8010" y="449"/>
                </a:cubicBezTo>
                <a:cubicBezTo>
                  <a:pt x="7748" y="539"/>
                  <a:pt x="7591" y="826"/>
                  <a:pt x="7678" y="1113"/>
                </a:cubicBezTo>
                <a:cubicBezTo>
                  <a:pt x="7713" y="1329"/>
                  <a:pt x="7888" y="1454"/>
                  <a:pt x="8098" y="1472"/>
                </a:cubicBezTo>
                <a:close/>
                <a:moveTo>
                  <a:pt x="13625" y="1023"/>
                </a:moveTo>
                <a:cubicBezTo>
                  <a:pt x="13712" y="736"/>
                  <a:pt x="13537" y="449"/>
                  <a:pt x="13292" y="377"/>
                </a:cubicBezTo>
                <a:cubicBezTo>
                  <a:pt x="13012" y="287"/>
                  <a:pt x="12750" y="449"/>
                  <a:pt x="12663" y="718"/>
                </a:cubicBezTo>
                <a:cubicBezTo>
                  <a:pt x="12575" y="1005"/>
                  <a:pt x="12750" y="1275"/>
                  <a:pt x="12995" y="1365"/>
                </a:cubicBezTo>
                <a:cubicBezTo>
                  <a:pt x="13047" y="1365"/>
                  <a:pt x="13065" y="1383"/>
                  <a:pt x="13082" y="1383"/>
                </a:cubicBezTo>
                <a:cubicBezTo>
                  <a:pt x="13327" y="1400"/>
                  <a:pt x="13537" y="1257"/>
                  <a:pt x="13625" y="1023"/>
                </a:cubicBezTo>
                <a:close/>
                <a:moveTo>
                  <a:pt x="10616" y="0"/>
                </a:moveTo>
                <a:cubicBezTo>
                  <a:pt x="10354" y="0"/>
                  <a:pt x="10109" y="233"/>
                  <a:pt x="10109" y="521"/>
                </a:cubicBezTo>
                <a:cubicBezTo>
                  <a:pt x="10109" y="772"/>
                  <a:pt x="10319" y="1005"/>
                  <a:pt x="10581" y="1041"/>
                </a:cubicBezTo>
                <a:cubicBezTo>
                  <a:pt x="10599" y="1041"/>
                  <a:pt x="10616" y="1041"/>
                  <a:pt x="10634" y="1041"/>
                </a:cubicBezTo>
                <a:cubicBezTo>
                  <a:pt x="10914" y="1041"/>
                  <a:pt x="11141" y="808"/>
                  <a:pt x="11141" y="521"/>
                </a:cubicBezTo>
                <a:cubicBezTo>
                  <a:pt x="11141" y="233"/>
                  <a:pt x="10914" y="0"/>
                  <a:pt x="10616" y="0"/>
                </a:cubicBez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02" name="Shape 2991"/>
          <p:cNvSpPr/>
          <p:nvPr/>
        </p:nvSpPr>
        <p:spPr>
          <a:xfrm>
            <a:off x="8105818" y="4723058"/>
            <a:ext cx="410059" cy="4099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9" h="21583" extrusionOk="0">
                <a:moveTo>
                  <a:pt x="19131" y="18476"/>
                </a:moveTo>
                <a:cubicBezTo>
                  <a:pt x="19149" y="18709"/>
                  <a:pt x="19131" y="18997"/>
                  <a:pt x="19059" y="19248"/>
                </a:cubicBezTo>
                <a:lnTo>
                  <a:pt x="16817" y="17183"/>
                </a:lnTo>
                <a:lnTo>
                  <a:pt x="14790" y="19392"/>
                </a:lnTo>
                <a:lnTo>
                  <a:pt x="17068" y="21438"/>
                </a:lnTo>
                <a:cubicBezTo>
                  <a:pt x="16799" y="21528"/>
                  <a:pt x="16548" y="21582"/>
                  <a:pt x="16279" y="21582"/>
                </a:cubicBezTo>
                <a:cubicBezTo>
                  <a:pt x="15507" y="21600"/>
                  <a:pt x="14843" y="21367"/>
                  <a:pt x="14251" y="20846"/>
                </a:cubicBezTo>
                <a:cubicBezTo>
                  <a:pt x="13677" y="20307"/>
                  <a:pt x="13372" y="19661"/>
                  <a:pt x="13354" y="18889"/>
                </a:cubicBezTo>
                <a:cubicBezTo>
                  <a:pt x="13354" y="18601"/>
                  <a:pt x="13372" y="18296"/>
                  <a:pt x="13444" y="18045"/>
                </a:cubicBezTo>
                <a:lnTo>
                  <a:pt x="12888" y="17524"/>
                </a:lnTo>
                <a:lnTo>
                  <a:pt x="9641" y="14544"/>
                </a:lnTo>
                <a:lnTo>
                  <a:pt x="4115" y="20630"/>
                </a:lnTo>
                <a:cubicBezTo>
                  <a:pt x="3774" y="21097"/>
                  <a:pt x="3254" y="21385"/>
                  <a:pt x="2662" y="21385"/>
                </a:cubicBezTo>
                <a:cubicBezTo>
                  <a:pt x="1693" y="21385"/>
                  <a:pt x="922" y="20612"/>
                  <a:pt x="922" y="19643"/>
                </a:cubicBezTo>
                <a:cubicBezTo>
                  <a:pt x="922" y="19122"/>
                  <a:pt x="1119" y="18655"/>
                  <a:pt x="1532" y="18296"/>
                </a:cubicBezTo>
                <a:lnTo>
                  <a:pt x="7273" y="12335"/>
                </a:lnTo>
                <a:lnTo>
                  <a:pt x="3792" y="9175"/>
                </a:lnTo>
                <a:cubicBezTo>
                  <a:pt x="3505" y="9301"/>
                  <a:pt x="3200" y="9373"/>
                  <a:pt x="2949" y="9373"/>
                </a:cubicBezTo>
                <a:cubicBezTo>
                  <a:pt x="2178" y="9391"/>
                  <a:pt x="1496" y="9139"/>
                  <a:pt x="922" y="8636"/>
                </a:cubicBezTo>
                <a:cubicBezTo>
                  <a:pt x="330" y="8116"/>
                  <a:pt x="43" y="7487"/>
                  <a:pt x="7" y="6679"/>
                </a:cubicBezTo>
                <a:cubicBezTo>
                  <a:pt x="-11" y="6446"/>
                  <a:pt x="7" y="6177"/>
                  <a:pt x="79" y="5907"/>
                </a:cubicBezTo>
                <a:lnTo>
                  <a:pt x="2339" y="7954"/>
                </a:lnTo>
                <a:lnTo>
                  <a:pt x="4348" y="5764"/>
                </a:lnTo>
                <a:lnTo>
                  <a:pt x="2088" y="3699"/>
                </a:lnTo>
                <a:cubicBezTo>
                  <a:pt x="2321" y="3627"/>
                  <a:pt x="2608" y="3555"/>
                  <a:pt x="2859" y="3555"/>
                </a:cubicBezTo>
                <a:cubicBezTo>
                  <a:pt x="3631" y="3537"/>
                  <a:pt x="4313" y="3771"/>
                  <a:pt x="4887" y="4291"/>
                </a:cubicBezTo>
                <a:cubicBezTo>
                  <a:pt x="5479" y="4812"/>
                  <a:pt x="5784" y="5476"/>
                  <a:pt x="5802" y="6248"/>
                </a:cubicBezTo>
                <a:cubicBezTo>
                  <a:pt x="5820" y="6518"/>
                  <a:pt x="5802" y="6769"/>
                  <a:pt x="5730" y="7038"/>
                </a:cubicBezTo>
                <a:lnTo>
                  <a:pt x="9318" y="10306"/>
                </a:lnTo>
                <a:lnTo>
                  <a:pt x="11919" y="7487"/>
                </a:lnTo>
                <a:lnTo>
                  <a:pt x="8026" y="4022"/>
                </a:lnTo>
                <a:lnTo>
                  <a:pt x="11560" y="0"/>
                </a:lnTo>
                <a:lnTo>
                  <a:pt x="21589" y="8852"/>
                </a:lnTo>
                <a:lnTo>
                  <a:pt x="18055" y="12892"/>
                </a:lnTo>
                <a:lnTo>
                  <a:pt x="14036" y="9337"/>
                </a:lnTo>
                <a:lnTo>
                  <a:pt x="11507" y="12317"/>
                </a:lnTo>
                <a:lnTo>
                  <a:pt x="15436" y="15908"/>
                </a:lnTo>
                <a:cubicBezTo>
                  <a:pt x="15705" y="15818"/>
                  <a:pt x="15956" y="15765"/>
                  <a:pt x="16225" y="15765"/>
                </a:cubicBezTo>
                <a:cubicBezTo>
                  <a:pt x="16996" y="15729"/>
                  <a:pt x="17660" y="15980"/>
                  <a:pt x="18252" y="16483"/>
                </a:cubicBezTo>
                <a:cubicBezTo>
                  <a:pt x="18808" y="17021"/>
                  <a:pt x="19113" y="17686"/>
                  <a:pt x="19131" y="18476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4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uccessful Workplace Communication</a:t>
            </a:r>
          </a:p>
        </p:txBody>
      </p:sp>
    </p:spTree>
    <p:extLst>
      <p:ext uri="{BB962C8B-B14F-4D97-AF65-F5344CB8AC3E}">
        <p14:creationId xmlns:p14="http://schemas.microsoft.com/office/powerpoint/2010/main" val="102483414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1135"/>
          <p:cNvSpPr/>
          <p:nvPr/>
        </p:nvSpPr>
        <p:spPr>
          <a:xfrm>
            <a:off x="771013" y="5560594"/>
            <a:ext cx="64" cy="184666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200">
                <a:solidFill>
                  <a:srgbClr val="726658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pPr algn="ctr" defTabSz="360000" rtl="1">
              <a:lnSpc>
                <a:spcPct val="100000"/>
              </a:lnSpc>
              <a:buClr>
                <a:srgbClr val="000099"/>
              </a:buClr>
              <a:buFont typeface="Wingdings" pitchFamily="28" charset="2"/>
              <a:buNone/>
              <a:tabLst>
                <a:tab pos="360000" algn="l"/>
                <a:tab pos="583200" algn="l"/>
                <a:tab pos="1170000" algn="l"/>
                <a:tab pos="1764000" algn="l"/>
                <a:tab pos="2350800" algn="l"/>
                <a:tab pos="2944800" algn="l"/>
                <a:tab pos="3531600" algn="l"/>
                <a:tab pos="4129200" algn="l"/>
                <a:tab pos="4712400" algn="l"/>
                <a:tab pos="5310000" algn="l"/>
                <a:tab pos="5893200" algn="l"/>
                <a:tab pos="6490800" algn="l"/>
                <a:tab pos="7074000" algn="l"/>
                <a:tab pos="7671600" algn="l"/>
                <a:tab pos="8254800" algn="l"/>
                <a:tab pos="8852400" algn="l"/>
                <a:tab pos="9435600" algn="l"/>
                <a:tab pos="10018800" algn="l"/>
                <a:tab pos="10616400" algn="l"/>
                <a:tab pos="11203200" algn="l"/>
                <a:tab pos="11797200" algn="l"/>
              </a:tabLst>
            </a:pPr>
            <a:endParaRPr lang="en-US" altLang="de-DE" dirty="0"/>
          </a:p>
        </p:txBody>
      </p:sp>
      <p:sp>
        <p:nvSpPr>
          <p:cNvPr id="9" name="Shape 1138"/>
          <p:cNvSpPr/>
          <p:nvPr/>
        </p:nvSpPr>
        <p:spPr>
          <a:xfrm>
            <a:off x="704879" y="3620164"/>
            <a:ext cx="3984564" cy="71701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cubicBezTo>
                  <a:pt x="21600" y="10800"/>
                  <a:pt x="0" y="10800"/>
                  <a:pt x="0" y="21600"/>
                </a:cubicBezTo>
              </a:path>
            </a:pathLst>
          </a:custGeom>
          <a:ln w="381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>
              <a:solidFill>
                <a:schemeClr val="tx2"/>
              </a:solidFill>
            </a:endParaRPr>
          </a:p>
        </p:txBody>
      </p:sp>
      <p:sp>
        <p:nvSpPr>
          <p:cNvPr id="10" name="Shape 1139"/>
          <p:cNvSpPr/>
          <p:nvPr/>
        </p:nvSpPr>
        <p:spPr>
          <a:xfrm>
            <a:off x="650448" y="4511456"/>
            <a:ext cx="99087" cy="990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35"/>
                </a:moveTo>
                <a:cubicBezTo>
                  <a:pt x="21600" y="12818"/>
                  <a:pt x="21174" y="14518"/>
                  <a:pt x="20179" y="16218"/>
                </a:cubicBezTo>
                <a:cubicBezTo>
                  <a:pt x="19184" y="17917"/>
                  <a:pt x="17905" y="19192"/>
                  <a:pt x="16200" y="20184"/>
                </a:cubicBezTo>
                <a:cubicBezTo>
                  <a:pt x="14495" y="21175"/>
                  <a:pt x="12789" y="21600"/>
                  <a:pt x="10800" y="21600"/>
                </a:cubicBezTo>
                <a:cubicBezTo>
                  <a:pt x="8811" y="21600"/>
                  <a:pt x="7105" y="21175"/>
                  <a:pt x="5400" y="20184"/>
                </a:cubicBezTo>
                <a:cubicBezTo>
                  <a:pt x="3695" y="19192"/>
                  <a:pt x="2416" y="17917"/>
                  <a:pt x="1421" y="16218"/>
                </a:cubicBezTo>
                <a:cubicBezTo>
                  <a:pt x="426" y="14518"/>
                  <a:pt x="0" y="12818"/>
                  <a:pt x="0" y="10835"/>
                </a:cubicBezTo>
                <a:cubicBezTo>
                  <a:pt x="0" y="8852"/>
                  <a:pt x="426" y="7224"/>
                  <a:pt x="1421" y="5453"/>
                </a:cubicBezTo>
                <a:cubicBezTo>
                  <a:pt x="2416" y="3753"/>
                  <a:pt x="3695" y="2479"/>
                  <a:pt x="5400" y="1487"/>
                </a:cubicBezTo>
                <a:cubicBezTo>
                  <a:pt x="7105" y="496"/>
                  <a:pt x="8811" y="0"/>
                  <a:pt x="10800" y="0"/>
                </a:cubicBezTo>
                <a:cubicBezTo>
                  <a:pt x="12789" y="0"/>
                  <a:pt x="14495" y="496"/>
                  <a:pt x="16200" y="1487"/>
                </a:cubicBezTo>
                <a:cubicBezTo>
                  <a:pt x="17905" y="2479"/>
                  <a:pt x="19184" y="3753"/>
                  <a:pt x="20179" y="5453"/>
                </a:cubicBezTo>
                <a:cubicBezTo>
                  <a:pt x="21174" y="7224"/>
                  <a:pt x="21600" y="8852"/>
                  <a:pt x="21600" y="10835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1" name="Shape 1140"/>
          <p:cNvSpPr/>
          <p:nvPr/>
        </p:nvSpPr>
        <p:spPr>
          <a:xfrm>
            <a:off x="2647691" y="3620164"/>
            <a:ext cx="1987074" cy="71701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cubicBezTo>
                  <a:pt x="21600" y="10800"/>
                  <a:pt x="0" y="10800"/>
                  <a:pt x="0" y="21600"/>
                </a:cubicBezTo>
              </a:path>
            </a:pathLst>
          </a:custGeom>
          <a:ln w="381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>
              <a:solidFill>
                <a:schemeClr val="tx2"/>
              </a:solidFill>
            </a:endParaRPr>
          </a:p>
        </p:txBody>
      </p:sp>
      <p:sp>
        <p:nvSpPr>
          <p:cNvPr id="12" name="Shape 1141"/>
          <p:cNvSpPr/>
          <p:nvPr/>
        </p:nvSpPr>
        <p:spPr>
          <a:xfrm>
            <a:off x="2580122" y="4511456"/>
            <a:ext cx="99088" cy="990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35"/>
                </a:moveTo>
                <a:cubicBezTo>
                  <a:pt x="21600" y="12818"/>
                  <a:pt x="21104" y="14518"/>
                  <a:pt x="20113" y="16218"/>
                </a:cubicBezTo>
                <a:cubicBezTo>
                  <a:pt x="19121" y="17917"/>
                  <a:pt x="17847" y="19192"/>
                  <a:pt x="16147" y="20184"/>
                </a:cubicBezTo>
                <a:cubicBezTo>
                  <a:pt x="14376" y="21175"/>
                  <a:pt x="12748" y="21600"/>
                  <a:pt x="10765" y="21600"/>
                </a:cubicBezTo>
                <a:cubicBezTo>
                  <a:pt x="8782" y="21600"/>
                  <a:pt x="7082" y="21175"/>
                  <a:pt x="5382" y="20184"/>
                </a:cubicBezTo>
                <a:cubicBezTo>
                  <a:pt x="3683" y="19192"/>
                  <a:pt x="2408" y="17917"/>
                  <a:pt x="1416" y="16218"/>
                </a:cubicBezTo>
                <a:cubicBezTo>
                  <a:pt x="425" y="14518"/>
                  <a:pt x="0" y="12818"/>
                  <a:pt x="0" y="10835"/>
                </a:cubicBezTo>
                <a:cubicBezTo>
                  <a:pt x="0" y="8852"/>
                  <a:pt x="425" y="7224"/>
                  <a:pt x="1416" y="5453"/>
                </a:cubicBezTo>
                <a:cubicBezTo>
                  <a:pt x="2408" y="3753"/>
                  <a:pt x="3683" y="2479"/>
                  <a:pt x="5382" y="1487"/>
                </a:cubicBezTo>
                <a:cubicBezTo>
                  <a:pt x="7082" y="496"/>
                  <a:pt x="8782" y="0"/>
                  <a:pt x="10765" y="0"/>
                </a:cubicBezTo>
                <a:cubicBezTo>
                  <a:pt x="12748" y="0"/>
                  <a:pt x="14376" y="496"/>
                  <a:pt x="16147" y="1487"/>
                </a:cubicBezTo>
                <a:cubicBezTo>
                  <a:pt x="17847" y="2479"/>
                  <a:pt x="19121" y="3753"/>
                  <a:pt x="20113" y="5453"/>
                </a:cubicBezTo>
                <a:cubicBezTo>
                  <a:pt x="21104" y="7224"/>
                  <a:pt x="21600" y="8852"/>
                  <a:pt x="21600" y="10835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3" name="Shape 1142"/>
          <p:cNvSpPr/>
          <p:nvPr/>
        </p:nvSpPr>
        <p:spPr>
          <a:xfrm>
            <a:off x="4635092" y="3620164"/>
            <a:ext cx="558" cy="717011"/>
          </a:xfrm>
          <a:prstGeom prst="line">
            <a:avLst/>
          </a:prstGeom>
          <a:ln w="381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14" name="Shape 1143"/>
          <p:cNvSpPr/>
          <p:nvPr/>
        </p:nvSpPr>
        <p:spPr>
          <a:xfrm>
            <a:off x="4590356" y="4511456"/>
            <a:ext cx="99088" cy="990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35"/>
                </a:moveTo>
                <a:cubicBezTo>
                  <a:pt x="21600" y="12818"/>
                  <a:pt x="21104" y="14518"/>
                  <a:pt x="20113" y="16218"/>
                </a:cubicBezTo>
                <a:cubicBezTo>
                  <a:pt x="19121" y="17917"/>
                  <a:pt x="17988" y="19192"/>
                  <a:pt x="16218" y="20184"/>
                </a:cubicBezTo>
                <a:cubicBezTo>
                  <a:pt x="14518" y="21175"/>
                  <a:pt x="12748" y="21600"/>
                  <a:pt x="10765" y="21600"/>
                </a:cubicBezTo>
                <a:cubicBezTo>
                  <a:pt x="8782" y="21600"/>
                  <a:pt x="7082" y="21175"/>
                  <a:pt x="5382" y="20184"/>
                </a:cubicBezTo>
                <a:cubicBezTo>
                  <a:pt x="3683" y="19192"/>
                  <a:pt x="2408" y="17917"/>
                  <a:pt x="1416" y="16218"/>
                </a:cubicBezTo>
                <a:cubicBezTo>
                  <a:pt x="425" y="14518"/>
                  <a:pt x="0" y="12818"/>
                  <a:pt x="0" y="10835"/>
                </a:cubicBezTo>
                <a:cubicBezTo>
                  <a:pt x="0" y="8852"/>
                  <a:pt x="425" y="7224"/>
                  <a:pt x="1416" y="5453"/>
                </a:cubicBezTo>
                <a:cubicBezTo>
                  <a:pt x="2408" y="3753"/>
                  <a:pt x="3683" y="2479"/>
                  <a:pt x="5382" y="1487"/>
                </a:cubicBezTo>
                <a:cubicBezTo>
                  <a:pt x="7082" y="496"/>
                  <a:pt x="8782" y="0"/>
                  <a:pt x="10765" y="0"/>
                </a:cubicBezTo>
                <a:cubicBezTo>
                  <a:pt x="12748" y="0"/>
                  <a:pt x="14518" y="496"/>
                  <a:pt x="16218" y="1487"/>
                </a:cubicBezTo>
                <a:cubicBezTo>
                  <a:pt x="17988" y="2479"/>
                  <a:pt x="19121" y="3753"/>
                  <a:pt x="20113" y="5453"/>
                </a:cubicBezTo>
                <a:cubicBezTo>
                  <a:pt x="21104" y="7224"/>
                  <a:pt x="21600" y="8852"/>
                  <a:pt x="21600" y="10835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" name="Shape 1144"/>
          <p:cNvSpPr/>
          <p:nvPr/>
        </p:nvSpPr>
        <p:spPr>
          <a:xfrm>
            <a:off x="4635092" y="3620164"/>
            <a:ext cx="1755053" cy="71701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0" y="10800"/>
                  <a:pt x="21600" y="10800"/>
                  <a:pt x="21600" y="21600"/>
                </a:cubicBezTo>
              </a:path>
            </a:pathLst>
          </a:custGeom>
          <a:ln w="381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>
              <a:solidFill>
                <a:schemeClr val="tx2"/>
              </a:solidFill>
            </a:endParaRPr>
          </a:p>
        </p:txBody>
      </p:sp>
      <p:sp>
        <p:nvSpPr>
          <p:cNvPr id="16" name="Shape 1145"/>
          <p:cNvSpPr/>
          <p:nvPr/>
        </p:nvSpPr>
        <p:spPr>
          <a:xfrm>
            <a:off x="6327680" y="4511456"/>
            <a:ext cx="99088" cy="990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35"/>
                </a:moveTo>
                <a:cubicBezTo>
                  <a:pt x="21600" y="12818"/>
                  <a:pt x="21175" y="14518"/>
                  <a:pt x="20113" y="16218"/>
                </a:cubicBezTo>
                <a:cubicBezTo>
                  <a:pt x="19121" y="17917"/>
                  <a:pt x="17988" y="19192"/>
                  <a:pt x="16218" y="20184"/>
                </a:cubicBezTo>
                <a:cubicBezTo>
                  <a:pt x="14518" y="21175"/>
                  <a:pt x="12889" y="21600"/>
                  <a:pt x="10835" y="21600"/>
                </a:cubicBezTo>
                <a:cubicBezTo>
                  <a:pt x="8852" y="21600"/>
                  <a:pt x="7153" y="21175"/>
                  <a:pt x="5382" y="20184"/>
                </a:cubicBezTo>
                <a:cubicBezTo>
                  <a:pt x="3683" y="19192"/>
                  <a:pt x="2479" y="17917"/>
                  <a:pt x="1487" y="16218"/>
                </a:cubicBezTo>
                <a:cubicBezTo>
                  <a:pt x="496" y="14518"/>
                  <a:pt x="0" y="12818"/>
                  <a:pt x="0" y="10835"/>
                </a:cubicBezTo>
                <a:cubicBezTo>
                  <a:pt x="0" y="8852"/>
                  <a:pt x="496" y="7224"/>
                  <a:pt x="1487" y="5453"/>
                </a:cubicBezTo>
                <a:cubicBezTo>
                  <a:pt x="2479" y="3753"/>
                  <a:pt x="3683" y="2479"/>
                  <a:pt x="5382" y="1487"/>
                </a:cubicBezTo>
                <a:cubicBezTo>
                  <a:pt x="7153" y="496"/>
                  <a:pt x="8782" y="0"/>
                  <a:pt x="10835" y="0"/>
                </a:cubicBezTo>
                <a:cubicBezTo>
                  <a:pt x="12818" y="0"/>
                  <a:pt x="14518" y="496"/>
                  <a:pt x="16218" y="1487"/>
                </a:cubicBezTo>
                <a:cubicBezTo>
                  <a:pt x="17988" y="2479"/>
                  <a:pt x="19121" y="3753"/>
                  <a:pt x="20113" y="5453"/>
                </a:cubicBezTo>
                <a:cubicBezTo>
                  <a:pt x="21175" y="7224"/>
                  <a:pt x="21600" y="8852"/>
                  <a:pt x="21600" y="10835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" name="Shape 1146"/>
          <p:cNvSpPr/>
          <p:nvPr/>
        </p:nvSpPr>
        <p:spPr>
          <a:xfrm>
            <a:off x="4635093" y="3620164"/>
            <a:ext cx="3664006" cy="71701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0" y="10800"/>
                  <a:pt x="21600" y="10800"/>
                  <a:pt x="21600" y="21600"/>
                </a:cubicBezTo>
              </a:path>
            </a:pathLst>
          </a:custGeom>
          <a:ln w="381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>
              <a:solidFill>
                <a:schemeClr val="tx2"/>
              </a:solidFill>
            </a:endParaRPr>
          </a:p>
        </p:txBody>
      </p:sp>
      <p:sp>
        <p:nvSpPr>
          <p:cNvPr id="18" name="Shape 1147"/>
          <p:cNvSpPr/>
          <p:nvPr/>
        </p:nvSpPr>
        <p:spPr>
          <a:xfrm>
            <a:off x="8261304" y="4511456"/>
            <a:ext cx="99088" cy="990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35"/>
                </a:moveTo>
                <a:cubicBezTo>
                  <a:pt x="21600" y="12818"/>
                  <a:pt x="21175" y="14518"/>
                  <a:pt x="20184" y="16218"/>
                </a:cubicBezTo>
                <a:cubicBezTo>
                  <a:pt x="19192" y="17917"/>
                  <a:pt x="17917" y="19192"/>
                  <a:pt x="16218" y="20184"/>
                </a:cubicBezTo>
                <a:cubicBezTo>
                  <a:pt x="14518" y="21175"/>
                  <a:pt x="12818" y="21600"/>
                  <a:pt x="10835" y="21600"/>
                </a:cubicBezTo>
                <a:cubicBezTo>
                  <a:pt x="8852" y="21600"/>
                  <a:pt x="7153" y="21175"/>
                  <a:pt x="5382" y="20184"/>
                </a:cubicBezTo>
                <a:cubicBezTo>
                  <a:pt x="3683" y="19192"/>
                  <a:pt x="2479" y="17917"/>
                  <a:pt x="1487" y="16218"/>
                </a:cubicBezTo>
                <a:cubicBezTo>
                  <a:pt x="496" y="14518"/>
                  <a:pt x="0" y="12818"/>
                  <a:pt x="0" y="10835"/>
                </a:cubicBezTo>
                <a:cubicBezTo>
                  <a:pt x="0" y="8852"/>
                  <a:pt x="496" y="7224"/>
                  <a:pt x="1487" y="5453"/>
                </a:cubicBezTo>
                <a:cubicBezTo>
                  <a:pt x="2479" y="3753"/>
                  <a:pt x="3683" y="2479"/>
                  <a:pt x="5382" y="1487"/>
                </a:cubicBezTo>
                <a:cubicBezTo>
                  <a:pt x="7153" y="496"/>
                  <a:pt x="8852" y="0"/>
                  <a:pt x="10835" y="0"/>
                </a:cubicBezTo>
                <a:cubicBezTo>
                  <a:pt x="12818" y="0"/>
                  <a:pt x="14518" y="496"/>
                  <a:pt x="16218" y="1487"/>
                </a:cubicBezTo>
                <a:cubicBezTo>
                  <a:pt x="17917" y="2479"/>
                  <a:pt x="19192" y="3753"/>
                  <a:pt x="20184" y="5453"/>
                </a:cubicBezTo>
                <a:cubicBezTo>
                  <a:pt x="21175" y="7224"/>
                  <a:pt x="21600" y="8852"/>
                  <a:pt x="21600" y="10835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9" name="Shape 1148"/>
          <p:cNvSpPr/>
          <p:nvPr/>
        </p:nvSpPr>
        <p:spPr>
          <a:xfrm>
            <a:off x="3554491" y="1484784"/>
            <a:ext cx="2157088" cy="21350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790"/>
                  <a:pt x="21147" y="14478"/>
                  <a:pt x="20150" y="16202"/>
                </a:cubicBezTo>
                <a:cubicBezTo>
                  <a:pt x="19157" y="17922"/>
                  <a:pt x="17918" y="19161"/>
                  <a:pt x="16198" y="20154"/>
                </a:cubicBezTo>
                <a:cubicBezTo>
                  <a:pt x="14478" y="21147"/>
                  <a:pt x="12786" y="21600"/>
                  <a:pt x="10796" y="21600"/>
                </a:cubicBezTo>
                <a:cubicBezTo>
                  <a:pt x="8810" y="21600"/>
                  <a:pt x="7122" y="21147"/>
                  <a:pt x="5402" y="20154"/>
                </a:cubicBezTo>
                <a:cubicBezTo>
                  <a:pt x="3678" y="19161"/>
                  <a:pt x="2439" y="17922"/>
                  <a:pt x="1446" y="16202"/>
                </a:cubicBezTo>
                <a:cubicBezTo>
                  <a:pt x="449" y="14478"/>
                  <a:pt x="0" y="12786"/>
                  <a:pt x="0" y="10800"/>
                </a:cubicBezTo>
                <a:cubicBezTo>
                  <a:pt x="0" y="8810"/>
                  <a:pt x="449" y="7122"/>
                  <a:pt x="1446" y="5402"/>
                </a:cubicBezTo>
                <a:cubicBezTo>
                  <a:pt x="2439" y="3678"/>
                  <a:pt x="3678" y="2439"/>
                  <a:pt x="5402" y="1446"/>
                </a:cubicBezTo>
                <a:cubicBezTo>
                  <a:pt x="7122" y="449"/>
                  <a:pt x="8814" y="0"/>
                  <a:pt x="10796" y="0"/>
                </a:cubicBezTo>
                <a:cubicBezTo>
                  <a:pt x="12786" y="0"/>
                  <a:pt x="14478" y="449"/>
                  <a:pt x="16198" y="1446"/>
                </a:cubicBezTo>
                <a:cubicBezTo>
                  <a:pt x="17918" y="2439"/>
                  <a:pt x="19157" y="3678"/>
                  <a:pt x="20150" y="5402"/>
                </a:cubicBezTo>
                <a:cubicBezTo>
                  <a:pt x="21147" y="7122"/>
                  <a:pt x="21600" y="8814"/>
                  <a:pt x="21600" y="10800"/>
                </a:cubicBezTo>
              </a:path>
            </a:pathLst>
          </a:custGeom>
          <a:ln w="38100">
            <a:solidFill>
              <a:schemeClr val="tx2"/>
            </a:solidFill>
            <a:miter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>
              <a:solidFill>
                <a:schemeClr val="tx2"/>
              </a:solidFill>
            </a:endParaRPr>
          </a:p>
        </p:txBody>
      </p:sp>
      <p:sp>
        <p:nvSpPr>
          <p:cNvPr id="175" name="Shape 1304"/>
          <p:cNvSpPr/>
          <p:nvPr/>
        </p:nvSpPr>
        <p:spPr>
          <a:xfrm>
            <a:off x="7445380" y="5345871"/>
            <a:ext cx="1714976" cy="915892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20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algn="ctr"/>
            <a:r>
              <a:rPr lang="en-US" sz="1600" b="1" dirty="0"/>
              <a:t>The Communication Process – Basic Model</a:t>
            </a:r>
            <a:endParaRPr sz="1600" b="1" dirty="0"/>
          </a:p>
        </p:txBody>
      </p:sp>
      <p:sp>
        <p:nvSpPr>
          <p:cNvPr id="179" name="Shape 1308"/>
          <p:cNvSpPr/>
          <p:nvPr/>
        </p:nvSpPr>
        <p:spPr>
          <a:xfrm>
            <a:off x="88187" y="5345872"/>
            <a:ext cx="1485735" cy="457946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20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algn="ctr"/>
            <a:r>
              <a:rPr lang="en-US" altLang="de-DE" sz="1600" b="1" dirty="0" smtClean="0"/>
              <a:t>4 C’s Method for </a:t>
            </a:r>
            <a:endParaRPr sz="1600" dirty="0"/>
          </a:p>
        </p:txBody>
      </p:sp>
      <p:sp>
        <p:nvSpPr>
          <p:cNvPr id="181" name="Shape 1310"/>
          <p:cNvSpPr/>
          <p:nvPr/>
        </p:nvSpPr>
        <p:spPr>
          <a:xfrm>
            <a:off x="1676550" y="5345871"/>
            <a:ext cx="1931331" cy="457946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20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algn="ctr"/>
            <a:r>
              <a:rPr lang="en-US" altLang="de-DE" sz="1600" b="1" dirty="0" smtClean="0"/>
              <a:t>Developing </a:t>
            </a:r>
            <a:r>
              <a:rPr lang="en-US" altLang="de-DE" sz="1600" b="1" dirty="0"/>
              <a:t>a Network at Work</a:t>
            </a:r>
            <a:endParaRPr sz="1600" dirty="0"/>
          </a:p>
        </p:txBody>
      </p:sp>
      <p:sp>
        <p:nvSpPr>
          <p:cNvPr id="185" name="Shape 1308"/>
          <p:cNvSpPr/>
          <p:nvPr/>
        </p:nvSpPr>
        <p:spPr>
          <a:xfrm>
            <a:off x="5579139" y="5345871"/>
            <a:ext cx="1694807" cy="915892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20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algn="ctr"/>
            <a:r>
              <a:rPr lang="en-US" sz="1600" b="1" dirty="0"/>
              <a:t>Understanding</a:t>
            </a:r>
            <a:r>
              <a:rPr lang="en-US" sz="1600" dirty="0" smtClean="0"/>
              <a:t> </a:t>
            </a:r>
            <a:r>
              <a:rPr lang="en-US" sz="1600" b="1" dirty="0"/>
              <a:t>Vs</a:t>
            </a:r>
            <a:r>
              <a:rPr lang="en-US" sz="1600" dirty="0" smtClean="0"/>
              <a:t>. </a:t>
            </a:r>
            <a:r>
              <a:rPr lang="en-US" sz="1600" b="1" dirty="0" smtClean="0"/>
              <a:t>Misunderstanding</a:t>
            </a:r>
            <a:r>
              <a:rPr lang="en-US" sz="1600" dirty="0" smtClean="0"/>
              <a:t> </a:t>
            </a:r>
            <a:endParaRPr sz="1600" dirty="0"/>
          </a:p>
        </p:txBody>
      </p:sp>
      <p:sp>
        <p:nvSpPr>
          <p:cNvPr id="186" name="Shape 1134"/>
          <p:cNvSpPr/>
          <p:nvPr/>
        </p:nvSpPr>
        <p:spPr>
          <a:xfrm>
            <a:off x="5755108" y="5993157"/>
            <a:ext cx="1407437" cy="515141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200">
                <a:solidFill>
                  <a:srgbClr val="726658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pPr algn="ctr"/>
            <a:r>
              <a:rPr lang="en-US" altLang="de-DE" dirty="0"/>
              <a:t>Factors </a:t>
            </a:r>
            <a:endParaRPr lang="en-US" altLang="de-DE" dirty="0" smtClean="0"/>
          </a:p>
          <a:p>
            <a:pPr algn="ctr"/>
            <a:r>
              <a:rPr lang="en-US" dirty="0" smtClean="0"/>
              <a:t>Barriers</a:t>
            </a:r>
          </a:p>
          <a:p>
            <a:pPr algn="ctr"/>
            <a:r>
              <a:rPr lang="en-US" dirty="0"/>
              <a:t>Overcoming </a:t>
            </a:r>
            <a:r>
              <a:rPr lang="en-US" dirty="0" smtClean="0"/>
              <a:t>Barriers</a:t>
            </a:r>
            <a:endParaRPr lang="en-US" altLang="de-DE" dirty="0"/>
          </a:p>
        </p:txBody>
      </p:sp>
      <p:sp>
        <p:nvSpPr>
          <p:cNvPr id="187" name="Shape 1134"/>
          <p:cNvSpPr/>
          <p:nvPr/>
        </p:nvSpPr>
        <p:spPr>
          <a:xfrm>
            <a:off x="271040" y="5993157"/>
            <a:ext cx="868828" cy="686855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200">
                <a:solidFill>
                  <a:srgbClr val="726658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pPr algn="ctr"/>
            <a:r>
              <a:rPr lang="en-US" altLang="de-DE" b="1" dirty="0"/>
              <a:t>C</a:t>
            </a:r>
            <a:r>
              <a:rPr lang="en-US" altLang="de-DE" dirty="0"/>
              <a:t>onsistency</a:t>
            </a:r>
          </a:p>
          <a:p>
            <a:pPr algn="ctr"/>
            <a:r>
              <a:rPr lang="en-US" altLang="de-DE" b="1" dirty="0"/>
              <a:t>C</a:t>
            </a:r>
            <a:r>
              <a:rPr lang="en-US" altLang="de-DE" dirty="0"/>
              <a:t>larity</a:t>
            </a:r>
          </a:p>
          <a:p>
            <a:pPr algn="ctr"/>
            <a:r>
              <a:rPr lang="en-US" altLang="de-DE" b="1" dirty="0"/>
              <a:t>C</a:t>
            </a:r>
            <a:r>
              <a:rPr lang="en-US" altLang="de-DE" dirty="0"/>
              <a:t>ompromise</a:t>
            </a:r>
          </a:p>
          <a:p>
            <a:pPr algn="ctr"/>
            <a:r>
              <a:rPr lang="en-US" altLang="de-DE" b="1" dirty="0"/>
              <a:t>C</a:t>
            </a:r>
            <a:r>
              <a:rPr lang="en-US" altLang="de-DE" dirty="0"/>
              <a:t>onfidence</a:t>
            </a:r>
          </a:p>
        </p:txBody>
      </p:sp>
      <p:sp>
        <p:nvSpPr>
          <p:cNvPr id="188" name="Shape 1134"/>
          <p:cNvSpPr/>
          <p:nvPr/>
        </p:nvSpPr>
        <p:spPr>
          <a:xfrm>
            <a:off x="4345426" y="5993156"/>
            <a:ext cx="537006" cy="85856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200">
                <a:solidFill>
                  <a:srgbClr val="726658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pPr algn="ctr"/>
            <a:r>
              <a:rPr lang="en-US" altLang="de-DE" dirty="0"/>
              <a:t>Who</a:t>
            </a:r>
            <a:r>
              <a:rPr lang="en-US" altLang="de-DE" dirty="0" smtClean="0"/>
              <a:t>?</a:t>
            </a:r>
            <a:endParaRPr lang="en-US" altLang="de-DE" dirty="0"/>
          </a:p>
          <a:p>
            <a:pPr algn="ctr"/>
            <a:r>
              <a:rPr lang="en-US" altLang="de-DE" dirty="0"/>
              <a:t>What?</a:t>
            </a:r>
          </a:p>
          <a:p>
            <a:pPr algn="ctr"/>
            <a:r>
              <a:rPr lang="en-US" altLang="de-DE" dirty="0"/>
              <a:t>Where?</a:t>
            </a:r>
          </a:p>
          <a:p>
            <a:pPr algn="ctr"/>
            <a:r>
              <a:rPr lang="en-US" altLang="de-DE" dirty="0"/>
              <a:t>When?</a:t>
            </a:r>
          </a:p>
          <a:p>
            <a:pPr algn="ctr"/>
            <a:r>
              <a:rPr lang="en-US" altLang="de-DE" dirty="0"/>
              <a:t>How?</a:t>
            </a:r>
          </a:p>
        </p:txBody>
      </p:sp>
      <p:sp>
        <p:nvSpPr>
          <p:cNvPr id="189" name="Shape 1306"/>
          <p:cNvSpPr/>
          <p:nvPr/>
        </p:nvSpPr>
        <p:spPr>
          <a:xfrm>
            <a:off x="4012748" y="5345872"/>
            <a:ext cx="1316451" cy="228973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20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r>
              <a:rPr lang="de-DE" sz="1600" b="1" dirty="0"/>
              <a:t>5 </a:t>
            </a:r>
            <a:r>
              <a:rPr lang="de-DE" sz="1600" b="1" dirty="0" err="1"/>
              <a:t>W’s</a:t>
            </a:r>
            <a:r>
              <a:rPr lang="de-DE" sz="1600" b="1" dirty="0"/>
              <a:t> </a:t>
            </a:r>
            <a:r>
              <a:rPr lang="de-DE" sz="1600" b="1" dirty="0" err="1" smtClean="0"/>
              <a:t>Method</a:t>
            </a:r>
            <a:endParaRPr lang="de-DE" sz="1600" b="1" dirty="0"/>
          </a:p>
        </p:txBody>
      </p:sp>
      <p:grpSp>
        <p:nvGrpSpPr>
          <p:cNvPr id="190" name="bcgIcons_LargeGroupMeeting">
            <a:extLst>
              <a:ext uri="{FF2B5EF4-FFF2-40B4-BE49-F238E27FC236}">
                <a16:creationId xmlns:a16="http://schemas.microsoft.com/office/drawing/2014/main" id="{A2FD7D8A-1B63-45BD-BCF6-3D772C394A2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73832" y="1729351"/>
            <a:ext cx="1517904" cy="1645920"/>
            <a:chOff x="1682" y="0"/>
            <a:chExt cx="4316" cy="4320"/>
          </a:xfrm>
        </p:grpSpPr>
        <p:sp>
          <p:nvSpPr>
            <p:cNvPr id="191" name="AutoShape 33">
              <a:extLst>
                <a:ext uri="{FF2B5EF4-FFF2-40B4-BE49-F238E27FC236}">
                  <a16:creationId xmlns:a16="http://schemas.microsoft.com/office/drawing/2014/main" id="{4AD8728A-3137-4D5E-94A2-7EE2495C153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92" name="Freeform 35">
              <a:extLst>
                <a:ext uri="{FF2B5EF4-FFF2-40B4-BE49-F238E27FC236}">
                  <a16:creationId xmlns:a16="http://schemas.microsoft.com/office/drawing/2014/main" id="{9E8BEE28-E024-4AD9-AECF-5DD9B0801C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9" y="2160"/>
              <a:ext cx="3833" cy="735"/>
            </a:xfrm>
            <a:custGeom>
              <a:avLst/>
              <a:gdLst>
                <a:gd name="T0" fmla="*/ 353 w 2046"/>
                <a:gd name="T1" fmla="*/ 382 h 392"/>
                <a:gd name="T2" fmla="*/ 561 w 2046"/>
                <a:gd name="T3" fmla="*/ 165 h 392"/>
                <a:gd name="T4" fmla="*/ 663 w 2046"/>
                <a:gd name="T5" fmla="*/ 197 h 392"/>
                <a:gd name="T6" fmla="*/ 762 w 2046"/>
                <a:gd name="T7" fmla="*/ 165 h 392"/>
                <a:gd name="T8" fmla="*/ 895 w 2046"/>
                <a:gd name="T9" fmla="*/ 188 h 392"/>
                <a:gd name="T10" fmla="*/ 963 w 2046"/>
                <a:gd name="T11" fmla="*/ 392 h 392"/>
                <a:gd name="T12" fmla="*/ 1679 w 2046"/>
                <a:gd name="T13" fmla="*/ 392 h 392"/>
                <a:gd name="T14" fmla="*/ 1612 w 2046"/>
                <a:gd name="T15" fmla="*/ 188 h 392"/>
                <a:gd name="T16" fmla="*/ 1479 w 2046"/>
                <a:gd name="T17" fmla="*/ 165 h 392"/>
                <a:gd name="T18" fmla="*/ 1380 w 2046"/>
                <a:gd name="T19" fmla="*/ 197 h 392"/>
                <a:gd name="T20" fmla="*/ 1278 w 2046"/>
                <a:gd name="T21" fmla="*/ 165 h 392"/>
                <a:gd name="T22" fmla="*/ 1070 w 2046"/>
                <a:gd name="T23" fmla="*/ 382 h 392"/>
                <a:gd name="T24" fmla="*/ 1679 w 2046"/>
                <a:gd name="T25" fmla="*/ 392 h 392"/>
                <a:gd name="T26" fmla="*/ 1262 w 2046"/>
                <a:gd name="T27" fmla="*/ 122 h 392"/>
                <a:gd name="T28" fmla="*/ 1238 w 2046"/>
                <a:gd name="T29" fmla="*/ 84 h 392"/>
                <a:gd name="T30" fmla="*/ 1187 w 2046"/>
                <a:gd name="T31" fmla="*/ 5 h 392"/>
                <a:gd name="T32" fmla="*/ 1120 w 2046"/>
                <a:gd name="T33" fmla="*/ 3 h 392"/>
                <a:gd name="T34" fmla="*/ 1126 w 2046"/>
                <a:gd name="T35" fmla="*/ 148 h 392"/>
                <a:gd name="T36" fmla="*/ 546 w 2046"/>
                <a:gd name="T37" fmla="*/ 122 h 392"/>
                <a:gd name="T38" fmla="*/ 522 w 2046"/>
                <a:gd name="T39" fmla="*/ 84 h 392"/>
                <a:gd name="T40" fmla="*/ 471 w 2046"/>
                <a:gd name="T41" fmla="*/ 5 h 392"/>
                <a:gd name="T42" fmla="*/ 304 w 2046"/>
                <a:gd name="T43" fmla="*/ 48 h 392"/>
                <a:gd name="T44" fmla="*/ 70 w 2046"/>
                <a:gd name="T45" fmla="*/ 23 h 392"/>
                <a:gd name="T46" fmla="*/ 363 w 2046"/>
                <a:gd name="T47" fmla="*/ 201 h 392"/>
                <a:gd name="T48" fmla="*/ 804 w 2046"/>
                <a:gd name="T49" fmla="*/ 78 h 392"/>
                <a:gd name="T50" fmla="*/ 793 w 2046"/>
                <a:gd name="T51" fmla="*/ 103 h 392"/>
                <a:gd name="T52" fmla="*/ 778 w 2046"/>
                <a:gd name="T53" fmla="*/ 122 h 392"/>
                <a:gd name="T54" fmla="*/ 945 w 2046"/>
                <a:gd name="T55" fmla="*/ 175 h 392"/>
                <a:gd name="T56" fmla="*/ 917 w 2046"/>
                <a:gd name="T57" fmla="*/ 0 h 392"/>
                <a:gd name="T58" fmla="*/ 804 w 2046"/>
                <a:gd name="T59" fmla="*/ 78 h 392"/>
                <a:gd name="T60" fmla="*/ 1970 w 2046"/>
                <a:gd name="T61" fmla="*/ 23 h 392"/>
                <a:gd name="T62" fmla="*/ 1836 w 2046"/>
                <a:gd name="T63" fmla="*/ 3 h 392"/>
                <a:gd name="T64" fmla="*/ 1728 w 2046"/>
                <a:gd name="T65" fmla="*/ 105 h 392"/>
                <a:gd name="T66" fmla="*/ 1633 w 2046"/>
                <a:gd name="T67" fmla="*/ 0 h 392"/>
                <a:gd name="T68" fmla="*/ 1520 w 2046"/>
                <a:gd name="T69" fmla="*/ 78 h 392"/>
                <a:gd name="T70" fmla="*/ 1509 w 2046"/>
                <a:gd name="T71" fmla="*/ 103 h 392"/>
                <a:gd name="T72" fmla="*/ 1494 w 2046"/>
                <a:gd name="T73" fmla="*/ 122 h 392"/>
                <a:gd name="T74" fmla="*/ 1686 w 2046"/>
                <a:gd name="T75" fmla="*/ 222 h 392"/>
                <a:gd name="T76" fmla="*/ 1784 w 2046"/>
                <a:gd name="T77" fmla="*/ 222 h 392"/>
                <a:gd name="T78" fmla="*/ 2045 w 2046"/>
                <a:gd name="T79" fmla="*/ 21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046" h="392">
                  <a:moveTo>
                    <a:pt x="361" y="392"/>
                  </a:moveTo>
                  <a:cubicBezTo>
                    <a:pt x="355" y="392"/>
                    <a:pt x="352" y="387"/>
                    <a:pt x="353" y="382"/>
                  </a:cubicBezTo>
                  <a:cubicBezTo>
                    <a:pt x="363" y="357"/>
                    <a:pt x="390" y="205"/>
                    <a:pt x="428" y="188"/>
                  </a:cubicBezTo>
                  <a:cubicBezTo>
                    <a:pt x="475" y="166"/>
                    <a:pt x="561" y="165"/>
                    <a:pt x="561" y="165"/>
                  </a:cubicBezTo>
                  <a:cubicBezTo>
                    <a:pt x="561" y="165"/>
                    <a:pt x="561" y="165"/>
                    <a:pt x="561" y="165"/>
                  </a:cubicBezTo>
                  <a:cubicBezTo>
                    <a:pt x="561" y="165"/>
                    <a:pt x="596" y="197"/>
                    <a:pt x="663" y="197"/>
                  </a:cubicBezTo>
                  <a:cubicBezTo>
                    <a:pt x="660" y="197"/>
                    <a:pt x="660" y="197"/>
                    <a:pt x="660" y="197"/>
                  </a:cubicBezTo>
                  <a:cubicBezTo>
                    <a:pt x="728" y="197"/>
                    <a:pt x="762" y="165"/>
                    <a:pt x="762" y="165"/>
                  </a:cubicBezTo>
                  <a:cubicBezTo>
                    <a:pt x="762" y="165"/>
                    <a:pt x="762" y="165"/>
                    <a:pt x="762" y="165"/>
                  </a:cubicBezTo>
                  <a:cubicBezTo>
                    <a:pt x="762" y="165"/>
                    <a:pt x="849" y="166"/>
                    <a:pt x="895" y="188"/>
                  </a:cubicBezTo>
                  <a:cubicBezTo>
                    <a:pt x="933" y="205"/>
                    <a:pt x="961" y="357"/>
                    <a:pt x="970" y="382"/>
                  </a:cubicBezTo>
                  <a:cubicBezTo>
                    <a:pt x="972" y="387"/>
                    <a:pt x="968" y="392"/>
                    <a:pt x="963" y="392"/>
                  </a:cubicBezTo>
                  <a:lnTo>
                    <a:pt x="361" y="392"/>
                  </a:lnTo>
                  <a:close/>
                  <a:moveTo>
                    <a:pt x="1679" y="392"/>
                  </a:moveTo>
                  <a:cubicBezTo>
                    <a:pt x="1685" y="392"/>
                    <a:pt x="1688" y="387"/>
                    <a:pt x="1687" y="382"/>
                  </a:cubicBezTo>
                  <a:cubicBezTo>
                    <a:pt x="1677" y="357"/>
                    <a:pt x="1650" y="205"/>
                    <a:pt x="1612" y="188"/>
                  </a:cubicBezTo>
                  <a:cubicBezTo>
                    <a:pt x="1565" y="166"/>
                    <a:pt x="1479" y="165"/>
                    <a:pt x="1479" y="165"/>
                  </a:cubicBezTo>
                  <a:cubicBezTo>
                    <a:pt x="1479" y="165"/>
                    <a:pt x="1479" y="165"/>
                    <a:pt x="1479" y="165"/>
                  </a:cubicBezTo>
                  <a:cubicBezTo>
                    <a:pt x="1479" y="165"/>
                    <a:pt x="1444" y="197"/>
                    <a:pt x="1377" y="197"/>
                  </a:cubicBezTo>
                  <a:cubicBezTo>
                    <a:pt x="1380" y="197"/>
                    <a:pt x="1380" y="197"/>
                    <a:pt x="1380" y="197"/>
                  </a:cubicBezTo>
                  <a:cubicBezTo>
                    <a:pt x="1312" y="197"/>
                    <a:pt x="1278" y="165"/>
                    <a:pt x="1278" y="165"/>
                  </a:cubicBezTo>
                  <a:cubicBezTo>
                    <a:pt x="1278" y="165"/>
                    <a:pt x="1278" y="165"/>
                    <a:pt x="1278" y="165"/>
                  </a:cubicBezTo>
                  <a:cubicBezTo>
                    <a:pt x="1278" y="165"/>
                    <a:pt x="1191" y="166"/>
                    <a:pt x="1145" y="188"/>
                  </a:cubicBezTo>
                  <a:cubicBezTo>
                    <a:pt x="1107" y="205"/>
                    <a:pt x="1079" y="357"/>
                    <a:pt x="1070" y="382"/>
                  </a:cubicBezTo>
                  <a:cubicBezTo>
                    <a:pt x="1068" y="387"/>
                    <a:pt x="1072" y="392"/>
                    <a:pt x="1077" y="392"/>
                  </a:cubicBezTo>
                  <a:lnTo>
                    <a:pt x="1679" y="392"/>
                  </a:lnTo>
                  <a:close/>
                  <a:moveTo>
                    <a:pt x="1126" y="148"/>
                  </a:moveTo>
                  <a:cubicBezTo>
                    <a:pt x="1169" y="128"/>
                    <a:pt x="1233" y="123"/>
                    <a:pt x="1262" y="122"/>
                  </a:cubicBezTo>
                  <a:cubicBezTo>
                    <a:pt x="1257" y="117"/>
                    <a:pt x="1253" y="112"/>
                    <a:pt x="1250" y="108"/>
                  </a:cubicBezTo>
                  <a:cubicBezTo>
                    <a:pt x="1244" y="99"/>
                    <a:pt x="1241" y="94"/>
                    <a:pt x="1238" y="84"/>
                  </a:cubicBezTo>
                  <a:cubicBezTo>
                    <a:pt x="1237" y="82"/>
                    <a:pt x="1237" y="80"/>
                    <a:pt x="1235" y="76"/>
                  </a:cubicBezTo>
                  <a:cubicBezTo>
                    <a:pt x="1219" y="59"/>
                    <a:pt x="1199" y="30"/>
                    <a:pt x="1187" y="5"/>
                  </a:cubicBezTo>
                  <a:cubicBezTo>
                    <a:pt x="1158" y="1"/>
                    <a:pt x="1132" y="0"/>
                    <a:pt x="1123" y="0"/>
                  </a:cubicBezTo>
                  <a:cubicBezTo>
                    <a:pt x="1122" y="0"/>
                    <a:pt x="1120" y="1"/>
                    <a:pt x="1120" y="3"/>
                  </a:cubicBezTo>
                  <a:cubicBezTo>
                    <a:pt x="1095" y="175"/>
                    <a:pt x="1095" y="175"/>
                    <a:pt x="1095" y="175"/>
                  </a:cubicBezTo>
                  <a:cubicBezTo>
                    <a:pt x="1104" y="162"/>
                    <a:pt x="1114" y="153"/>
                    <a:pt x="1126" y="148"/>
                  </a:cubicBezTo>
                  <a:close/>
                  <a:moveTo>
                    <a:pt x="410" y="148"/>
                  </a:moveTo>
                  <a:cubicBezTo>
                    <a:pt x="453" y="128"/>
                    <a:pt x="517" y="123"/>
                    <a:pt x="546" y="122"/>
                  </a:cubicBezTo>
                  <a:cubicBezTo>
                    <a:pt x="541" y="117"/>
                    <a:pt x="537" y="112"/>
                    <a:pt x="534" y="108"/>
                  </a:cubicBezTo>
                  <a:cubicBezTo>
                    <a:pt x="527" y="99"/>
                    <a:pt x="525" y="94"/>
                    <a:pt x="522" y="84"/>
                  </a:cubicBezTo>
                  <a:cubicBezTo>
                    <a:pt x="521" y="82"/>
                    <a:pt x="520" y="80"/>
                    <a:pt x="519" y="76"/>
                  </a:cubicBezTo>
                  <a:cubicBezTo>
                    <a:pt x="503" y="59"/>
                    <a:pt x="482" y="30"/>
                    <a:pt x="471" y="5"/>
                  </a:cubicBezTo>
                  <a:cubicBezTo>
                    <a:pt x="436" y="0"/>
                    <a:pt x="404" y="0"/>
                    <a:pt x="404" y="0"/>
                  </a:cubicBezTo>
                  <a:cubicBezTo>
                    <a:pt x="404" y="0"/>
                    <a:pt x="370" y="47"/>
                    <a:pt x="304" y="48"/>
                  </a:cubicBezTo>
                  <a:cubicBezTo>
                    <a:pt x="237" y="47"/>
                    <a:pt x="203" y="0"/>
                    <a:pt x="203" y="0"/>
                  </a:cubicBezTo>
                  <a:cubicBezTo>
                    <a:pt x="203" y="0"/>
                    <a:pt x="117" y="1"/>
                    <a:pt x="70" y="23"/>
                  </a:cubicBezTo>
                  <a:cubicBezTo>
                    <a:pt x="37" y="38"/>
                    <a:pt x="12" y="154"/>
                    <a:pt x="0" y="201"/>
                  </a:cubicBezTo>
                  <a:cubicBezTo>
                    <a:pt x="363" y="201"/>
                    <a:pt x="363" y="201"/>
                    <a:pt x="363" y="201"/>
                  </a:cubicBezTo>
                  <a:cubicBezTo>
                    <a:pt x="376" y="174"/>
                    <a:pt x="391" y="157"/>
                    <a:pt x="410" y="148"/>
                  </a:cubicBezTo>
                  <a:close/>
                  <a:moveTo>
                    <a:pt x="804" y="78"/>
                  </a:moveTo>
                  <a:cubicBezTo>
                    <a:pt x="803" y="81"/>
                    <a:pt x="802" y="83"/>
                    <a:pt x="802" y="84"/>
                  </a:cubicBezTo>
                  <a:cubicBezTo>
                    <a:pt x="799" y="92"/>
                    <a:pt x="798" y="95"/>
                    <a:pt x="793" y="103"/>
                  </a:cubicBezTo>
                  <a:cubicBezTo>
                    <a:pt x="792" y="105"/>
                    <a:pt x="792" y="105"/>
                    <a:pt x="792" y="105"/>
                  </a:cubicBezTo>
                  <a:cubicBezTo>
                    <a:pt x="789" y="110"/>
                    <a:pt x="784" y="116"/>
                    <a:pt x="778" y="122"/>
                  </a:cubicBezTo>
                  <a:cubicBezTo>
                    <a:pt x="807" y="123"/>
                    <a:pt x="871" y="128"/>
                    <a:pt x="914" y="148"/>
                  </a:cubicBezTo>
                  <a:cubicBezTo>
                    <a:pt x="926" y="153"/>
                    <a:pt x="936" y="162"/>
                    <a:pt x="945" y="175"/>
                  </a:cubicBezTo>
                  <a:cubicBezTo>
                    <a:pt x="920" y="3"/>
                    <a:pt x="920" y="3"/>
                    <a:pt x="920" y="3"/>
                  </a:cubicBezTo>
                  <a:cubicBezTo>
                    <a:pt x="920" y="1"/>
                    <a:pt x="918" y="0"/>
                    <a:pt x="917" y="0"/>
                  </a:cubicBezTo>
                  <a:cubicBezTo>
                    <a:pt x="908" y="0"/>
                    <a:pt x="882" y="1"/>
                    <a:pt x="853" y="5"/>
                  </a:cubicBezTo>
                  <a:cubicBezTo>
                    <a:pt x="842" y="28"/>
                    <a:pt x="823" y="59"/>
                    <a:pt x="804" y="78"/>
                  </a:cubicBezTo>
                  <a:close/>
                  <a:moveTo>
                    <a:pt x="2045" y="212"/>
                  </a:moveTo>
                  <a:cubicBezTo>
                    <a:pt x="2035" y="186"/>
                    <a:pt x="2008" y="40"/>
                    <a:pt x="1970" y="23"/>
                  </a:cubicBezTo>
                  <a:cubicBezTo>
                    <a:pt x="1928" y="3"/>
                    <a:pt x="1855" y="0"/>
                    <a:pt x="1839" y="0"/>
                  </a:cubicBezTo>
                  <a:cubicBezTo>
                    <a:pt x="1838" y="0"/>
                    <a:pt x="1836" y="1"/>
                    <a:pt x="1836" y="3"/>
                  </a:cubicBezTo>
                  <a:cubicBezTo>
                    <a:pt x="1744" y="105"/>
                    <a:pt x="1744" y="105"/>
                    <a:pt x="1744" y="105"/>
                  </a:cubicBezTo>
                  <a:cubicBezTo>
                    <a:pt x="1740" y="111"/>
                    <a:pt x="1732" y="111"/>
                    <a:pt x="1728" y="105"/>
                  </a:cubicBezTo>
                  <a:cubicBezTo>
                    <a:pt x="1636" y="3"/>
                    <a:pt x="1636" y="3"/>
                    <a:pt x="1636" y="3"/>
                  </a:cubicBezTo>
                  <a:cubicBezTo>
                    <a:pt x="1636" y="1"/>
                    <a:pt x="1635" y="0"/>
                    <a:pt x="1633" y="0"/>
                  </a:cubicBezTo>
                  <a:cubicBezTo>
                    <a:pt x="1625" y="0"/>
                    <a:pt x="1598" y="1"/>
                    <a:pt x="1569" y="5"/>
                  </a:cubicBezTo>
                  <a:cubicBezTo>
                    <a:pt x="1559" y="28"/>
                    <a:pt x="1539" y="59"/>
                    <a:pt x="1520" y="78"/>
                  </a:cubicBezTo>
                  <a:cubicBezTo>
                    <a:pt x="1519" y="81"/>
                    <a:pt x="1519" y="83"/>
                    <a:pt x="1518" y="84"/>
                  </a:cubicBezTo>
                  <a:cubicBezTo>
                    <a:pt x="1515" y="92"/>
                    <a:pt x="1514" y="95"/>
                    <a:pt x="1509" y="103"/>
                  </a:cubicBezTo>
                  <a:cubicBezTo>
                    <a:pt x="1508" y="105"/>
                    <a:pt x="1508" y="105"/>
                    <a:pt x="1508" y="105"/>
                  </a:cubicBezTo>
                  <a:cubicBezTo>
                    <a:pt x="1505" y="110"/>
                    <a:pt x="1500" y="116"/>
                    <a:pt x="1494" y="122"/>
                  </a:cubicBezTo>
                  <a:cubicBezTo>
                    <a:pt x="1524" y="123"/>
                    <a:pt x="1588" y="128"/>
                    <a:pt x="1630" y="148"/>
                  </a:cubicBezTo>
                  <a:cubicBezTo>
                    <a:pt x="1653" y="159"/>
                    <a:pt x="1670" y="183"/>
                    <a:pt x="1686" y="222"/>
                  </a:cubicBezTo>
                  <a:cubicBezTo>
                    <a:pt x="1688" y="222"/>
                    <a:pt x="1688" y="222"/>
                    <a:pt x="1688" y="222"/>
                  </a:cubicBezTo>
                  <a:cubicBezTo>
                    <a:pt x="1784" y="222"/>
                    <a:pt x="1784" y="222"/>
                    <a:pt x="1784" y="222"/>
                  </a:cubicBezTo>
                  <a:cubicBezTo>
                    <a:pt x="2038" y="222"/>
                    <a:pt x="2038" y="222"/>
                    <a:pt x="2038" y="222"/>
                  </a:cubicBezTo>
                  <a:cubicBezTo>
                    <a:pt x="2043" y="222"/>
                    <a:pt x="2046" y="217"/>
                    <a:pt x="2045" y="212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93" name="Freeform 36">
              <a:extLst>
                <a:ext uri="{FF2B5EF4-FFF2-40B4-BE49-F238E27FC236}">
                  <a16:creationId xmlns:a16="http://schemas.microsoft.com/office/drawing/2014/main" id="{E74F14F1-CFDF-47CE-B213-4A6E4774DF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36" y="1279"/>
              <a:ext cx="4025" cy="1427"/>
            </a:xfrm>
            <a:custGeom>
              <a:avLst/>
              <a:gdLst>
                <a:gd name="T0" fmla="*/ 1233 w 2149"/>
                <a:gd name="T1" fmla="*/ 232 h 761"/>
                <a:gd name="T2" fmla="*/ 1201 w 2149"/>
                <a:gd name="T3" fmla="*/ 259 h 761"/>
                <a:gd name="T4" fmla="*/ 977 w 2149"/>
                <a:gd name="T5" fmla="*/ 139 h 761"/>
                <a:gd name="T6" fmla="*/ 925 w 2149"/>
                <a:gd name="T7" fmla="*/ 255 h 761"/>
                <a:gd name="T8" fmla="*/ 908 w 2149"/>
                <a:gd name="T9" fmla="*/ 234 h 761"/>
                <a:gd name="T10" fmla="*/ 1070 w 2149"/>
                <a:gd name="T11" fmla="*/ 0 h 761"/>
                <a:gd name="T12" fmla="*/ 1233 w 2149"/>
                <a:gd name="T13" fmla="*/ 232 h 761"/>
                <a:gd name="T14" fmla="*/ 354 w 2149"/>
                <a:gd name="T15" fmla="*/ 0 h 761"/>
                <a:gd name="T16" fmla="*/ 192 w 2149"/>
                <a:gd name="T17" fmla="*/ 234 h 761"/>
                <a:gd name="T18" fmla="*/ 208 w 2149"/>
                <a:gd name="T19" fmla="*/ 255 h 761"/>
                <a:gd name="T20" fmla="*/ 261 w 2149"/>
                <a:gd name="T21" fmla="*/ 139 h 761"/>
                <a:gd name="T22" fmla="*/ 485 w 2149"/>
                <a:gd name="T23" fmla="*/ 259 h 761"/>
                <a:gd name="T24" fmla="*/ 516 w 2149"/>
                <a:gd name="T25" fmla="*/ 232 h 761"/>
                <a:gd name="T26" fmla="*/ 523 w 2149"/>
                <a:gd name="T27" fmla="*/ 173 h 761"/>
                <a:gd name="T28" fmla="*/ 712 w 2149"/>
                <a:gd name="T29" fmla="*/ 218 h 761"/>
                <a:gd name="T30" fmla="*/ 554 w 2149"/>
                <a:gd name="T31" fmla="*/ 440 h 761"/>
                <a:gd name="T32" fmla="*/ 607 w 2149"/>
                <a:gd name="T33" fmla="*/ 522 h 761"/>
                <a:gd name="T34" fmla="*/ 712 w 2149"/>
                <a:gd name="T35" fmla="*/ 597 h 761"/>
                <a:gd name="T36" fmla="*/ 817 w 2149"/>
                <a:gd name="T37" fmla="*/ 522 h 761"/>
                <a:gd name="T38" fmla="*/ 868 w 2149"/>
                <a:gd name="T39" fmla="*/ 445 h 761"/>
                <a:gd name="T40" fmla="*/ 1056 w 2149"/>
                <a:gd name="T41" fmla="*/ 535 h 761"/>
                <a:gd name="T42" fmla="*/ 1033 w 2149"/>
                <a:gd name="T43" fmla="*/ 671 h 761"/>
                <a:gd name="T44" fmla="*/ 1084 w 2149"/>
                <a:gd name="T45" fmla="*/ 538 h 761"/>
                <a:gd name="T46" fmla="*/ 1106 w 2149"/>
                <a:gd name="T47" fmla="*/ 500 h 761"/>
                <a:gd name="T48" fmla="*/ 1071 w 2149"/>
                <a:gd name="T49" fmla="*/ 491 h 761"/>
                <a:gd name="T50" fmla="*/ 1034 w 2149"/>
                <a:gd name="T51" fmla="*/ 500 h 761"/>
                <a:gd name="T52" fmla="*/ 1597 w 2149"/>
                <a:gd name="T53" fmla="*/ 391 h 761"/>
                <a:gd name="T54" fmla="*/ 1259 w 2149"/>
                <a:gd name="T55" fmla="*/ 391 h 761"/>
                <a:gd name="T56" fmla="*/ 1271 w 2149"/>
                <a:gd name="T57" fmla="*/ 442 h 761"/>
                <a:gd name="T58" fmla="*/ 1336 w 2149"/>
                <a:gd name="T59" fmla="*/ 553 h 761"/>
                <a:gd name="T60" fmla="*/ 1520 w 2149"/>
                <a:gd name="T61" fmla="*/ 553 h 761"/>
                <a:gd name="T62" fmla="*/ 1584 w 2149"/>
                <a:gd name="T63" fmla="*/ 446 h 761"/>
                <a:gd name="T64" fmla="*/ 1597 w 2149"/>
                <a:gd name="T65" fmla="*/ 391 h 761"/>
                <a:gd name="T66" fmla="*/ 1786 w 2149"/>
                <a:gd name="T67" fmla="*/ 0 h 761"/>
                <a:gd name="T68" fmla="*/ 1624 w 2149"/>
                <a:gd name="T69" fmla="*/ 246 h 761"/>
                <a:gd name="T70" fmla="*/ 1691 w 2149"/>
                <a:gd name="T71" fmla="*/ 140 h 761"/>
                <a:gd name="T72" fmla="*/ 1919 w 2149"/>
                <a:gd name="T73" fmla="*/ 260 h 761"/>
                <a:gd name="T74" fmla="*/ 1931 w 2149"/>
                <a:gd name="T75" fmla="*/ 261 h 761"/>
                <a:gd name="T76" fmla="*/ 1952 w 2149"/>
                <a:gd name="T77" fmla="*/ 233 h 761"/>
                <a:gd name="T78" fmla="*/ 1958 w 2149"/>
                <a:gd name="T79" fmla="*/ 175 h 761"/>
                <a:gd name="T80" fmla="*/ 22 w 2149"/>
                <a:gd name="T81" fmla="*/ 717 h 761"/>
                <a:gd name="T82" fmla="*/ 22 w 2149"/>
                <a:gd name="T83" fmla="*/ 761 h 761"/>
                <a:gd name="T84" fmla="*/ 395 w 2149"/>
                <a:gd name="T85" fmla="*/ 717 h 761"/>
                <a:gd name="T86" fmla="*/ 1745 w 2149"/>
                <a:gd name="T87" fmla="*/ 717 h 761"/>
                <a:gd name="T88" fmla="*/ 2127 w 2149"/>
                <a:gd name="T89" fmla="*/ 761 h 761"/>
                <a:gd name="T90" fmla="*/ 2127 w 2149"/>
                <a:gd name="T91" fmla="*/ 717 h 761"/>
                <a:gd name="T92" fmla="*/ 1029 w 2149"/>
                <a:gd name="T93" fmla="*/ 717 h 761"/>
                <a:gd name="T94" fmla="*/ 1098 w 2149"/>
                <a:gd name="T95" fmla="*/ 761 h 761"/>
                <a:gd name="T96" fmla="*/ 1644 w 2149"/>
                <a:gd name="T97" fmla="*/ 449 h 761"/>
                <a:gd name="T98" fmla="*/ 1686 w 2149"/>
                <a:gd name="T99" fmla="*/ 445 h 761"/>
                <a:gd name="T100" fmla="*/ 1636 w 2149"/>
                <a:gd name="T101" fmla="*/ 304 h 761"/>
                <a:gd name="T102" fmla="*/ 1641 w 2149"/>
                <a:gd name="T103" fmla="*/ 391 h 761"/>
                <a:gd name="T104" fmla="*/ 1644 w 2149"/>
                <a:gd name="T105" fmla="*/ 449 h 761"/>
                <a:gd name="T106" fmla="*/ 1929 w 2149"/>
                <a:gd name="T107" fmla="*/ 449 h 761"/>
                <a:gd name="T108" fmla="*/ 1936 w 2149"/>
                <a:gd name="T109" fmla="*/ 304 h 761"/>
                <a:gd name="T110" fmla="*/ 1887 w 2149"/>
                <a:gd name="T111" fmla="*/ 445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49" h="761">
                  <a:moveTo>
                    <a:pt x="1233" y="232"/>
                  </a:moveTo>
                  <a:cubicBezTo>
                    <a:pt x="1233" y="232"/>
                    <a:pt x="1233" y="232"/>
                    <a:pt x="1233" y="232"/>
                  </a:cubicBezTo>
                  <a:cubicBezTo>
                    <a:pt x="1232" y="232"/>
                    <a:pt x="1229" y="241"/>
                    <a:pt x="1214" y="259"/>
                  </a:cubicBezTo>
                  <a:cubicBezTo>
                    <a:pt x="1214" y="259"/>
                    <a:pt x="1214" y="259"/>
                    <a:pt x="1201" y="259"/>
                  </a:cubicBezTo>
                  <a:cubicBezTo>
                    <a:pt x="1201" y="259"/>
                    <a:pt x="1201" y="252"/>
                    <a:pt x="1200" y="131"/>
                  </a:cubicBezTo>
                  <a:cubicBezTo>
                    <a:pt x="1180" y="228"/>
                    <a:pt x="977" y="139"/>
                    <a:pt x="977" y="139"/>
                  </a:cubicBezTo>
                  <a:cubicBezTo>
                    <a:pt x="927" y="155"/>
                    <a:pt x="936" y="256"/>
                    <a:pt x="936" y="256"/>
                  </a:cubicBezTo>
                  <a:cubicBezTo>
                    <a:pt x="936" y="256"/>
                    <a:pt x="936" y="256"/>
                    <a:pt x="925" y="255"/>
                  </a:cubicBezTo>
                  <a:cubicBezTo>
                    <a:pt x="925" y="255"/>
                    <a:pt x="925" y="249"/>
                    <a:pt x="908" y="234"/>
                  </a:cubicBezTo>
                  <a:cubicBezTo>
                    <a:pt x="908" y="234"/>
                    <a:pt x="908" y="234"/>
                    <a:pt x="908" y="234"/>
                  </a:cubicBezTo>
                  <a:cubicBezTo>
                    <a:pt x="901" y="215"/>
                    <a:pt x="901" y="195"/>
                    <a:pt x="901" y="173"/>
                  </a:cubicBezTo>
                  <a:cubicBezTo>
                    <a:pt x="901" y="78"/>
                    <a:pt x="974" y="0"/>
                    <a:pt x="1070" y="0"/>
                  </a:cubicBezTo>
                  <a:cubicBezTo>
                    <a:pt x="1166" y="0"/>
                    <a:pt x="1239" y="78"/>
                    <a:pt x="1239" y="173"/>
                  </a:cubicBezTo>
                  <a:cubicBezTo>
                    <a:pt x="1239" y="194"/>
                    <a:pt x="1239" y="214"/>
                    <a:pt x="1233" y="232"/>
                  </a:cubicBezTo>
                  <a:close/>
                  <a:moveTo>
                    <a:pt x="523" y="173"/>
                  </a:moveTo>
                  <a:cubicBezTo>
                    <a:pt x="523" y="78"/>
                    <a:pt x="449" y="0"/>
                    <a:pt x="354" y="0"/>
                  </a:cubicBezTo>
                  <a:cubicBezTo>
                    <a:pt x="258" y="0"/>
                    <a:pt x="185" y="78"/>
                    <a:pt x="185" y="173"/>
                  </a:cubicBezTo>
                  <a:cubicBezTo>
                    <a:pt x="185" y="195"/>
                    <a:pt x="185" y="215"/>
                    <a:pt x="192" y="234"/>
                  </a:cubicBezTo>
                  <a:cubicBezTo>
                    <a:pt x="192" y="234"/>
                    <a:pt x="192" y="234"/>
                    <a:pt x="192" y="234"/>
                  </a:cubicBezTo>
                  <a:cubicBezTo>
                    <a:pt x="208" y="249"/>
                    <a:pt x="208" y="255"/>
                    <a:pt x="208" y="255"/>
                  </a:cubicBezTo>
                  <a:cubicBezTo>
                    <a:pt x="220" y="256"/>
                    <a:pt x="220" y="256"/>
                    <a:pt x="220" y="256"/>
                  </a:cubicBezTo>
                  <a:cubicBezTo>
                    <a:pt x="220" y="256"/>
                    <a:pt x="211" y="155"/>
                    <a:pt x="261" y="139"/>
                  </a:cubicBezTo>
                  <a:cubicBezTo>
                    <a:pt x="261" y="139"/>
                    <a:pt x="464" y="228"/>
                    <a:pt x="483" y="131"/>
                  </a:cubicBezTo>
                  <a:cubicBezTo>
                    <a:pt x="485" y="252"/>
                    <a:pt x="485" y="259"/>
                    <a:pt x="485" y="259"/>
                  </a:cubicBezTo>
                  <a:cubicBezTo>
                    <a:pt x="497" y="259"/>
                    <a:pt x="497" y="259"/>
                    <a:pt x="497" y="259"/>
                  </a:cubicBezTo>
                  <a:cubicBezTo>
                    <a:pt x="513" y="241"/>
                    <a:pt x="516" y="232"/>
                    <a:pt x="516" y="232"/>
                  </a:cubicBezTo>
                  <a:cubicBezTo>
                    <a:pt x="516" y="232"/>
                    <a:pt x="516" y="232"/>
                    <a:pt x="517" y="232"/>
                  </a:cubicBezTo>
                  <a:cubicBezTo>
                    <a:pt x="523" y="214"/>
                    <a:pt x="523" y="194"/>
                    <a:pt x="523" y="173"/>
                  </a:cubicBezTo>
                  <a:close/>
                  <a:moveTo>
                    <a:pt x="881" y="391"/>
                  </a:moveTo>
                  <a:cubicBezTo>
                    <a:pt x="881" y="296"/>
                    <a:pt x="807" y="218"/>
                    <a:pt x="712" y="218"/>
                  </a:cubicBezTo>
                  <a:cubicBezTo>
                    <a:pt x="616" y="218"/>
                    <a:pt x="543" y="296"/>
                    <a:pt x="543" y="391"/>
                  </a:cubicBezTo>
                  <a:cubicBezTo>
                    <a:pt x="543" y="408"/>
                    <a:pt x="551" y="425"/>
                    <a:pt x="554" y="440"/>
                  </a:cubicBezTo>
                  <a:cubicBezTo>
                    <a:pt x="555" y="441"/>
                    <a:pt x="554" y="441"/>
                    <a:pt x="555" y="442"/>
                  </a:cubicBezTo>
                  <a:cubicBezTo>
                    <a:pt x="557" y="459"/>
                    <a:pt x="594" y="513"/>
                    <a:pt x="607" y="522"/>
                  </a:cubicBezTo>
                  <a:cubicBezTo>
                    <a:pt x="617" y="548"/>
                    <a:pt x="612" y="541"/>
                    <a:pt x="620" y="553"/>
                  </a:cubicBezTo>
                  <a:cubicBezTo>
                    <a:pt x="630" y="568"/>
                    <a:pt x="680" y="597"/>
                    <a:pt x="712" y="597"/>
                  </a:cubicBezTo>
                  <a:cubicBezTo>
                    <a:pt x="744" y="597"/>
                    <a:pt x="795" y="569"/>
                    <a:pt x="804" y="553"/>
                  </a:cubicBezTo>
                  <a:cubicBezTo>
                    <a:pt x="812" y="538"/>
                    <a:pt x="806" y="548"/>
                    <a:pt x="817" y="522"/>
                  </a:cubicBezTo>
                  <a:cubicBezTo>
                    <a:pt x="836" y="509"/>
                    <a:pt x="867" y="454"/>
                    <a:pt x="868" y="446"/>
                  </a:cubicBezTo>
                  <a:cubicBezTo>
                    <a:pt x="868" y="445"/>
                    <a:pt x="868" y="445"/>
                    <a:pt x="868" y="445"/>
                  </a:cubicBezTo>
                  <a:cubicBezTo>
                    <a:pt x="873" y="428"/>
                    <a:pt x="881" y="410"/>
                    <a:pt x="881" y="391"/>
                  </a:cubicBezTo>
                  <a:close/>
                  <a:moveTo>
                    <a:pt x="1056" y="535"/>
                  </a:moveTo>
                  <a:cubicBezTo>
                    <a:pt x="1056" y="536"/>
                    <a:pt x="1056" y="537"/>
                    <a:pt x="1056" y="538"/>
                  </a:cubicBezTo>
                  <a:cubicBezTo>
                    <a:pt x="1033" y="671"/>
                    <a:pt x="1033" y="671"/>
                    <a:pt x="1033" y="671"/>
                  </a:cubicBezTo>
                  <a:cubicBezTo>
                    <a:pt x="1105" y="671"/>
                    <a:pt x="1105" y="671"/>
                    <a:pt x="1105" y="671"/>
                  </a:cubicBezTo>
                  <a:cubicBezTo>
                    <a:pt x="1084" y="538"/>
                    <a:pt x="1084" y="538"/>
                    <a:pt x="1084" y="538"/>
                  </a:cubicBezTo>
                  <a:cubicBezTo>
                    <a:pt x="1084" y="537"/>
                    <a:pt x="1084" y="536"/>
                    <a:pt x="1084" y="535"/>
                  </a:cubicBezTo>
                  <a:cubicBezTo>
                    <a:pt x="1106" y="500"/>
                    <a:pt x="1106" y="500"/>
                    <a:pt x="1106" y="500"/>
                  </a:cubicBezTo>
                  <a:cubicBezTo>
                    <a:pt x="1107" y="498"/>
                    <a:pt x="1106" y="496"/>
                    <a:pt x="1104" y="496"/>
                  </a:cubicBezTo>
                  <a:cubicBezTo>
                    <a:pt x="1097" y="494"/>
                    <a:pt x="1083" y="491"/>
                    <a:pt x="1071" y="491"/>
                  </a:cubicBezTo>
                  <a:cubicBezTo>
                    <a:pt x="1059" y="491"/>
                    <a:pt x="1044" y="494"/>
                    <a:pt x="1036" y="496"/>
                  </a:cubicBezTo>
                  <a:cubicBezTo>
                    <a:pt x="1034" y="496"/>
                    <a:pt x="1033" y="499"/>
                    <a:pt x="1034" y="500"/>
                  </a:cubicBezTo>
                  <a:lnTo>
                    <a:pt x="1056" y="535"/>
                  </a:lnTo>
                  <a:close/>
                  <a:moveTo>
                    <a:pt x="1597" y="391"/>
                  </a:moveTo>
                  <a:cubicBezTo>
                    <a:pt x="1597" y="296"/>
                    <a:pt x="1524" y="218"/>
                    <a:pt x="1428" y="218"/>
                  </a:cubicBezTo>
                  <a:cubicBezTo>
                    <a:pt x="1333" y="218"/>
                    <a:pt x="1259" y="296"/>
                    <a:pt x="1259" y="391"/>
                  </a:cubicBezTo>
                  <a:cubicBezTo>
                    <a:pt x="1259" y="408"/>
                    <a:pt x="1267" y="425"/>
                    <a:pt x="1271" y="440"/>
                  </a:cubicBezTo>
                  <a:cubicBezTo>
                    <a:pt x="1271" y="441"/>
                    <a:pt x="1271" y="441"/>
                    <a:pt x="1271" y="442"/>
                  </a:cubicBezTo>
                  <a:cubicBezTo>
                    <a:pt x="1274" y="459"/>
                    <a:pt x="1310" y="513"/>
                    <a:pt x="1323" y="522"/>
                  </a:cubicBezTo>
                  <a:cubicBezTo>
                    <a:pt x="1333" y="548"/>
                    <a:pt x="1328" y="541"/>
                    <a:pt x="1336" y="553"/>
                  </a:cubicBezTo>
                  <a:cubicBezTo>
                    <a:pt x="1346" y="568"/>
                    <a:pt x="1396" y="597"/>
                    <a:pt x="1428" y="597"/>
                  </a:cubicBezTo>
                  <a:cubicBezTo>
                    <a:pt x="1460" y="597"/>
                    <a:pt x="1511" y="569"/>
                    <a:pt x="1520" y="553"/>
                  </a:cubicBezTo>
                  <a:cubicBezTo>
                    <a:pt x="1529" y="538"/>
                    <a:pt x="1523" y="548"/>
                    <a:pt x="1533" y="522"/>
                  </a:cubicBezTo>
                  <a:cubicBezTo>
                    <a:pt x="1552" y="509"/>
                    <a:pt x="1583" y="454"/>
                    <a:pt x="1584" y="446"/>
                  </a:cubicBezTo>
                  <a:cubicBezTo>
                    <a:pt x="1584" y="445"/>
                    <a:pt x="1584" y="445"/>
                    <a:pt x="1584" y="445"/>
                  </a:cubicBezTo>
                  <a:cubicBezTo>
                    <a:pt x="1589" y="428"/>
                    <a:pt x="1597" y="410"/>
                    <a:pt x="1597" y="391"/>
                  </a:cubicBezTo>
                  <a:close/>
                  <a:moveTo>
                    <a:pt x="1958" y="175"/>
                  </a:moveTo>
                  <a:cubicBezTo>
                    <a:pt x="1958" y="78"/>
                    <a:pt x="1883" y="0"/>
                    <a:pt x="1786" y="0"/>
                  </a:cubicBezTo>
                  <a:cubicBezTo>
                    <a:pt x="1689" y="0"/>
                    <a:pt x="1614" y="78"/>
                    <a:pt x="1614" y="175"/>
                  </a:cubicBezTo>
                  <a:cubicBezTo>
                    <a:pt x="1614" y="196"/>
                    <a:pt x="1617" y="227"/>
                    <a:pt x="1624" y="246"/>
                  </a:cubicBezTo>
                  <a:cubicBezTo>
                    <a:pt x="1624" y="246"/>
                    <a:pt x="1624" y="246"/>
                    <a:pt x="1624" y="246"/>
                  </a:cubicBezTo>
                  <a:cubicBezTo>
                    <a:pt x="1641" y="261"/>
                    <a:pt x="1641" y="157"/>
                    <a:pt x="1691" y="140"/>
                  </a:cubicBezTo>
                  <a:cubicBezTo>
                    <a:pt x="1692" y="140"/>
                    <a:pt x="1692" y="140"/>
                    <a:pt x="1693" y="141"/>
                  </a:cubicBezTo>
                  <a:cubicBezTo>
                    <a:pt x="1919" y="260"/>
                    <a:pt x="1919" y="260"/>
                    <a:pt x="1919" y="260"/>
                  </a:cubicBezTo>
                  <a:cubicBezTo>
                    <a:pt x="1920" y="261"/>
                    <a:pt x="1920" y="261"/>
                    <a:pt x="1920" y="261"/>
                  </a:cubicBezTo>
                  <a:cubicBezTo>
                    <a:pt x="1931" y="261"/>
                    <a:pt x="1931" y="261"/>
                    <a:pt x="1931" y="261"/>
                  </a:cubicBezTo>
                  <a:cubicBezTo>
                    <a:pt x="1932" y="261"/>
                    <a:pt x="1933" y="260"/>
                    <a:pt x="1933" y="260"/>
                  </a:cubicBezTo>
                  <a:cubicBezTo>
                    <a:pt x="1949" y="242"/>
                    <a:pt x="1951" y="234"/>
                    <a:pt x="1952" y="233"/>
                  </a:cubicBezTo>
                  <a:cubicBezTo>
                    <a:pt x="1952" y="233"/>
                    <a:pt x="1952" y="234"/>
                    <a:pt x="1952" y="234"/>
                  </a:cubicBezTo>
                  <a:cubicBezTo>
                    <a:pt x="1959" y="215"/>
                    <a:pt x="1958" y="195"/>
                    <a:pt x="1958" y="175"/>
                  </a:cubicBezTo>
                  <a:close/>
                  <a:moveTo>
                    <a:pt x="395" y="717"/>
                  </a:moveTo>
                  <a:cubicBezTo>
                    <a:pt x="22" y="717"/>
                    <a:pt x="22" y="717"/>
                    <a:pt x="22" y="717"/>
                  </a:cubicBezTo>
                  <a:cubicBezTo>
                    <a:pt x="9" y="717"/>
                    <a:pt x="0" y="727"/>
                    <a:pt x="0" y="739"/>
                  </a:cubicBezTo>
                  <a:cubicBezTo>
                    <a:pt x="0" y="752"/>
                    <a:pt x="9" y="761"/>
                    <a:pt x="22" y="761"/>
                  </a:cubicBezTo>
                  <a:cubicBezTo>
                    <a:pt x="382" y="761"/>
                    <a:pt x="382" y="761"/>
                    <a:pt x="382" y="761"/>
                  </a:cubicBezTo>
                  <a:cubicBezTo>
                    <a:pt x="386" y="745"/>
                    <a:pt x="391" y="731"/>
                    <a:pt x="395" y="717"/>
                  </a:cubicBezTo>
                  <a:close/>
                  <a:moveTo>
                    <a:pt x="2127" y="717"/>
                  </a:moveTo>
                  <a:cubicBezTo>
                    <a:pt x="1745" y="717"/>
                    <a:pt x="1745" y="717"/>
                    <a:pt x="1745" y="717"/>
                  </a:cubicBezTo>
                  <a:cubicBezTo>
                    <a:pt x="1749" y="731"/>
                    <a:pt x="1754" y="745"/>
                    <a:pt x="1758" y="761"/>
                  </a:cubicBezTo>
                  <a:cubicBezTo>
                    <a:pt x="2127" y="761"/>
                    <a:pt x="2127" y="761"/>
                    <a:pt x="2127" y="761"/>
                  </a:cubicBezTo>
                  <a:cubicBezTo>
                    <a:pt x="2139" y="761"/>
                    <a:pt x="2149" y="752"/>
                    <a:pt x="2149" y="739"/>
                  </a:cubicBezTo>
                  <a:cubicBezTo>
                    <a:pt x="2149" y="727"/>
                    <a:pt x="2139" y="717"/>
                    <a:pt x="2127" y="717"/>
                  </a:cubicBezTo>
                  <a:close/>
                  <a:moveTo>
                    <a:pt x="1111" y="717"/>
                  </a:moveTo>
                  <a:cubicBezTo>
                    <a:pt x="1029" y="717"/>
                    <a:pt x="1029" y="717"/>
                    <a:pt x="1029" y="717"/>
                  </a:cubicBezTo>
                  <a:cubicBezTo>
                    <a:pt x="1033" y="731"/>
                    <a:pt x="1037" y="745"/>
                    <a:pt x="1042" y="761"/>
                  </a:cubicBezTo>
                  <a:cubicBezTo>
                    <a:pt x="1098" y="761"/>
                    <a:pt x="1098" y="761"/>
                    <a:pt x="1098" y="761"/>
                  </a:cubicBezTo>
                  <a:cubicBezTo>
                    <a:pt x="1103" y="745"/>
                    <a:pt x="1107" y="731"/>
                    <a:pt x="1111" y="717"/>
                  </a:cubicBezTo>
                  <a:close/>
                  <a:moveTo>
                    <a:pt x="1644" y="449"/>
                  </a:moveTo>
                  <a:cubicBezTo>
                    <a:pt x="1662" y="447"/>
                    <a:pt x="1676" y="447"/>
                    <a:pt x="1682" y="447"/>
                  </a:cubicBezTo>
                  <a:cubicBezTo>
                    <a:pt x="1684" y="446"/>
                    <a:pt x="1686" y="445"/>
                    <a:pt x="1686" y="445"/>
                  </a:cubicBezTo>
                  <a:cubicBezTo>
                    <a:pt x="1686" y="412"/>
                    <a:pt x="1686" y="412"/>
                    <a:pt x="1686" y="412"/>
                  </a:cubicBezTo>
                  <a:cubicBezTo>
                    <a:pt x="1686" y="412"/>
                    <a:pt x="1643" y="333"/>
                    <a:pt x="1636" y="304"/>
                  </a:cubicBezTo>
                  <a:cubicBezTo>
                    <a:pt x="1633" y="304"/>
                    <a:pt x="1633" y="314"/>
                    <a:pt x="1632" y="328"/>
                  </a:cubicBezTo>
                  <a:cubicBezTo>
                    <a:pt x="1638" y="348"/>
                    <a:pt x="1641" y="369"/>
                    <a:pt x="1641" y="391"/>
                  </a:cubicBezTo>
                  <a:cubicBezTo>
                    <a:pt x="1641" y="412"/>
                    <a:pt x="1635" y="430"/>
                    <a:pt x="1630" y="445"/>
                  </a:cubicBezTo>
                  <a:cubicBezTo>
                    <a:pt x="1635" y="447"/>
                    <a:pt x="1640" y="448"/>
                    <a:pt x="1644" y="449"/>
                  </a:cubicBezTo>
                  <a:close/>
                  <a:moveTo>
                    <a:pt x="1891" y="447"/>
                  </a:moveTo>
                  <a:cubicBezTo>
                    <a:pt x="1898" y="447"/>
                    <a:pt x="1912" y="447"/>
                    <a:pt x="1929" y="449"/>
                  </a:cubicBezTo>
                  <a:cubicBezTo>
                    <a:pt x="1944" y="446"/>
                    <a:pt x="1963" y="438"/>
                    <a:pt x="1982" y="418"/>
                  </a:cubicBezTo>
                  <a:cubicBezTo>
                    <a:pt x="1928" y="413"/>
                    <a:pt x="1946" y="304"/>
                    <a:pt x="1936" y="304"/>
                  </a:cubicBezTo>
                  <a:cubicBezTo>
                    <a:pt x="1929" y="335"/>
                    <a:pt x="1887" y="412"/>
                    <a:pt x="1887" y="412"/>
                  </a:cubicBezTo>
                  <a:cubicBezTo>
                    <a:pt x="1887" y="445"/>
                    <a:pt x="1887" y="445"/>
                    <a:pt x="1887" y="445"/>
                  </a:cubicBezTo>
                  <a:cubicBezTo>
                    <a:pt x="1887" y="445"/>
                    <a:pt x="1889" y="446"/>
                    <a:pt x="1891" y="44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</p:grpSp>
      <p:sp>
        <p:nvSpPr>
          <p:cNvPr id="195" name="Shape 2901"/>
          <p:cNvSpPr/>
          <p:nvPr/>
        </p:nvSpPr>
        <p:spPr>
          <a:xfrm>
            <a:off x="6410940" y="4723058"/>
            <a:ext cx="81013" cy="8230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351" h="21297" extrusionOk="0">
                <a:moveTo>
                  <a:pt x="18143" y="3162"/>
                </a:moveTo>
                <a:cubicBezTo>
                  <a:pt x="19589" y="4512"/>
                  <a:pt x="20402" y="6042"/>
                  <a:pt x="20945" y="7932"/>
                </a:cubicBezTo>
                <a:cubicBezTo>
                  <a:pt x="21487" y="9822"/>
                  <a:pt x="21487" y="11532"/>
                  <a:pt x="20945" y="13422"/>
                </a:cubicBezTo>
                <a:cubicBezTo>
                  <a:pt x="20402" y="15312"/>
                  <a:pt x="19589" y="16752"/>
                  <a:pt x="18143" y="18192"/>
                </a:cubicBezTo>
                <a:cubicBezTo>
                  <a:pt x="16787" y="19542"/>
                  <a:pt x="15341" y="20352"/>
                  <a:pt x="13443" y="20892"/>
                </a:cubicBezTo>
                <a:cubicBezTo>
                  <a:pt x="11546" y="21432"/>
                  <a:pt x="9828" y="21432"/>
                  <a:pt x="7931" y="20892"/>
                </a:cubicBezTo>
                <a:cubicBezTo>
                  <a:pt x="6033" y="20352"/>
                  <a:pt x="4587" y="19542"/>
                  <a:pt x="3141" y="18192"/>
                </a:cubicBezTo>
                <a:cubicBezTo>
                  <a:pt x="1785" y="16752"/>
                  <a:pt x="881" y="15312"/>
                  <a:pt x="339" y="13422"/>
                </a:cubicBezTo>
                <a:cubicBezTo>
                  <a:pt x="-113" y="11532"/>
                  <a:pt x="-113" y="9822"/>
                  <a:pt x="339" y="7932"/>
                </a:cubicBezTo>
                <a:cubicBezTo>
                  <a:pt x="881" y="6042"/>
                  <a:pt x="1785" y="4512"/>
                  <a:pt x="3141" y="3162"/>
                </a:cubicBezTo>
                <a:cubicBezTo>
                  <a:pt x="4587" y="1812"/>
                  <a:pt x="6033" y="822"/>
                  <a:pt x="7931" y="372"/>
                </a:cubicBezTo>
                <a:cubicBezTo>
                  <a:pt x="9828" y="-168"/>
                  <a:pt x="11546" y="-78"/>
                  <a:pt x="13443" y="372"/>
                </a:cubicBezTo>
                <a:cubicBezTo>
                  <a:pt x="15341" y="912"/>
                  <a:pt x="16787" y="1812"/>
                  <a:pt x="18143" y="3162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96" name="Shape 2902"/>
          <p:cNvSpPr/>
          <p:nvPr/>
        </p:nvSpPr>
        <p:spPr>
          <a:xfrm>
            <a:off x="6281609" y="4723058"/>
            <a:ext cx="80801" cy="8230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96" h="21297" extrusionOk="0">
                <a:moveTo>
                  <a:pt x="18177" y="3162"/>
                </a:moveTo>
                <a:cubicBezTo>
                  <a:pt x="19533" y="4512"/>
                  <a:pt x="20437" y="6042"/>
                  <a:pt x="20889" y="7932"/>
                </a:cubicBezTo>
                <a:cubicBezTo>
                  <a:pt x="21431" y="9822"/>
                  <a:pt x="21431" y="11532"/>
                  <a:pt x="20889" y="13422"/>
                </a:cubicBezTo>
                <a:cubicBezTo>
                  <a:pt x="20437" y="15312"/>
                  <a:pt x="19533" y="16752"/>
                  <a:pt x="18177" y="18192"/>
                </a:cubicBezTo>
                <a:cubicBezTo>
                  <a:pt x="16822" y="19542"/>
                  <a:pt x="15285" y="20352"/>
                  <a:pt x="13387" y="20892"/>
                </a:cubicBezTo>
                <a:cubicBezTo>
                  <a:pt x="11490" y="21432"/>
                  <a:pt x="9772" y="21432"/>
                  <a:pt x="7875" y="20892"/>
                </a:cubicBezTo>
                <a:cubicBezTo>
                  <a:pt x="5977" y="20352"/>
                  <a:pt x="4531" y="19542"/>
                  <a:pt x="3085" y="18192"/>
                </a:cubicBezTo>
                <a:cubicBezTo>
                  <a:pt x="1729" y="16752"/>
                  <a:pt x="916" y="15312"/>
                  <a:pt x="373" y="13422"/>
                </a:cubicBezTo>
                <a:cubicBezTo>
                  <a:pt x="-79" y="11532"/>
                  <a:pt x="-169" y="9822"/>
                  <a:pt x="373" y="7932"/>
                </a:cubicBezTo>
                <a:cubicBezTo>
                  <a:pt x="825" y="6042"/>
                  <a:pt x="1729" y="4512"/>
                  <a:pt x="3085" y="3162"/>
                </a:cubicBezTo>
                <a:cubicBezTo>
                  <a:pt x="4531" y="1812"/>
                  <a:pt x="5977" y="822"/>
                  <a:pt x="7875" y="372"/>
                </a:cubicBezTo>
                <a:cubicBezTo>
                  <a:pt x="9772" y="-168"/>
                  <a:pt x="11490" y="-78"/>
                  <a:pt x="13387" y="372"/>
                </a:cubicBezTo>
                <a:cubicBezTo>
                  <a:pt x="15285" y="912"/>
                  <a:pt x="16822" y="1812"/>
                  <a:pt x="18177" y="3162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97" name="Shape 2903"/>
          <p:cNvSpPr/>
          <p:nvPr/>
        </p:nvSpPr>
        <p:spPr>
          <a:xfrm>
            <a:off x="6136186" y="4723059"/>
            <a:ext cx="502586" cy="3563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423" extrusionOk="0">
                <a:moveTo>
                  <a:pt x="401" y="5893"/>
                </a:moveTo>
                <a:lnTo>
                  <a:pt x="4237" y="530"/>
                </a:lnTo>
                <a:cubicBezTo>
                  <a:pt x="4757" y="-177"/>
                  <a:pt x="5604" y="-177"/>
                  <a:pt x="6095" y="530"/>
                </a:cubicBezTo>
                <a:cubicBezTo>
                  <a:pt x="6214" y="675"/>
                  <a:pt x="6600" y="1237"/>
                  <a:pt x="6704" y="1382"/>
                </a:cubicBezTo>
                <a:cubicBezTo>
                  <a:pt x="6838" y="1549"/>
                  <a:pt x="6927" y="1777"/>
                  <a:pt x="7002" y="1985"/>
                </a:cubicBezTo>
                <a:lnTo>
                  <a:pt x="8087" y="6143"/>
                </a:lnTo>
                <a:lnTo>
                  <a:pt x="10807" y="7910"/>
                </a:lnTo>
                <a:lnTo>
                  <a:pt x="13528" y="6143"/>
                </a:lnTo>
                <a:lnTo>
                  <a:pt x="14613" y="1985"/>
                </a:lnTo>
                <a:cubicBezTo>
                  <a:pt x="14687" y="1756"/>
                  <a:pt x="14777" y="1549"/>
                  <a:pt x="14896" y="1382"/>
                </a:cubicBezTo>
                <a:cubicBezTo>
                  <a:pt x="15000" y="1237"/>
                  <a:pt x="15401" y="675"/>
                  <a:pt x="15505" y="530"/>
                </a:cubicBezTo>
                <a:cubicBezTo>
                  <a:pt x="16010" y="-177"/>
                  <a:pt x="16828" y="-177"/>
                  <a:pt x="17363" y="530"/>
                </a:cubicBezTo>
                <a:lnTo>
                  <a:pt x="21213" y="5893"/>
                </a:lnTo>
                <a:cubicBezTo>
                  <a:pt x="21481" y="6288"/>
                  <a:pt x="21600" y="6725"/>
                  <a:pt x="21600" y="7224"/>
                </a:cubicBezTo>
                <a:lnTo>
                  <a:pt x="21600" y="19905"/>
                </a:lnTo>
                <a:cubicBezTo>
                  <a:pt x="21600" y="20758"/>
                  <a:pt x="21124" y="21423"/>
                  <a:pt x="20515" y="21423"/>
                </a:cubicBezTo>
                <a:cubicBezTo>
                  <a:pt x="19905" y="21423"/>
                  <a:pt x="19415" y="20758"/>
                  <a:pt x="19415" y="19905"/>
                </a:cubicBezTo>
                <a:lnTo>
                  <a:pt x="19415" y="9843"/>
                </a:lnTo>
                <a:cubicBezTo>
                  <a:pt x="19192" y="9802"/>
                  <a:pt x="18939" y="9594"/>
                  <a:pt x="18746" y="9344"/>
                </a:cubicBezTo>
                <a:lnTo>
                  <a:pt x="15490" y="4812"/>
                </a:lnTo>
                <a:lnTo>
                  <a:pt x="14821" y="7307"/>
                </a:lnTo>
                <a:cubicBezTo>
                  <a:pt x="14762" y="7577"/>
                  <a:pt x="14613" y="7806"/>
                  <a:pt x="14435" y="7910"/>
                </a:cubicBezTo>
                <a:lnTo>
                  <a:pt x="11268" y="9989"/>
                </a:lnTo>
                <a:cubicBezTo>
                  <a:pt x="11105" y="10072"/>
                  <a:pt x="10941" y="10114"/>
                  <a:pt x="10807" y="10051"/>
                </a:cubicBezTo>
                <a:cubicBezTo>
                  <a:pt x="10644" y="10114"/>
                  <a:pt x="10480" y="10072"/>
                  <a:pt x="10332" y="9989"/>
                </a:cubicBezTo>
                <a:lnTo>
                  <a:pt x="7180" y="7910"/>
                </a:lnTo>
                <a:cubicBezTo>
                  <a:pt x="7002" y="7785"/>
                  <a:pt x="6853" y="7577"/>
                  <a:pt x="6779" y="7307"/>
                </a:cubicBezTo>
                <a:lnTo>
                  <a:pt x="6125" y="4812"/>
                </a:lnTo>
                <a:lnTo>
                  <a:pt x="2869" y="9344"/>
                </a:lnTo>
                <a:cubicBezTo>
                  <a:pt x="2676" y="9594"/>
                  <a:pt x="2438" y="9781"/>
                  <a:pt x="2185" y="9843"/>
                </a:cubicBezTo>
                <a:lnTo>
                  <a:pt x="2185" y="19885"/>
                </a:lnTo>
                <a:cubicBezTo>
                  <a:pt x="2185" y="20737"/>
                  <a:pt x="1710" y="21402"/>
                  <a:pt x="1100" y="21402"/>
                </a:cubicBezTo>
                <a:cubicBezTo>
                  <a:pt x="491" y="21402"/>
                  <a:pt x="0" y="20737"/>
                  <a:pt x="0" y="19885"/>
                </a:cubicBezTo>
                <a:lnTo>
                  <a:pt x="0" y="7203"/>
                </a:lnTo>
                <a:cubicBezTo>
                  <a:pt x="0" y="6725"/>
                  <a:pt x="134" y="6247"/>
                  <a:pt x="401" y="5893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99" name="Shape 2996"/>
          <p:cNvSpPr/>
          <p:nvPr/>
        </p:nvSpPr>
        <p:spPr>
          <a:xfrm>
            <a:off x="4393747" y="4723058"/>
            <a:ext cx="427990" cy="4102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3" h="21600" extrusionOk="0">
                <a:moveTo>
                  <a:pt x="21583" y="8255"/>
                </a:moveTo>
                <a:cubicBezTo>
                  <a:pt x="21583" y="9154"/>
                  <a:pt x="20894" y="9856"/>
                  <a:pt x="20050" y="9856"/>
                </a:cubicBezTo>
                <a:lnTo>
                  <a:pt x="20050" y="15503"/>
                </a:lnTo>
                <a:lnTo>
                  <a:pt x="20033" y="15503"/>
                </a:lnTo>
                <a:cubicBezTo>
                  <a:pt x="19964" y="16025"/>
                  <a:pt x="19533" y="16420"/>
                  <a:pt x="19033" y="16420"/>
                </a:cubicBezTo>
                <a:cubicBezTo>
                  <a:pt x="18844" y="16420"/>
                  <a:pt x="18689" y="16366"/>
                  <a:pt x="18534" y="16294"/>
                </a:cubicBezTo>
                <a:cubicBezTo>
                  <a:pt x="18534" y="16258"/>
                  <a:pt x="18500" y="16258"/>
                  <a:pt x="18482" y="16240"/>
                </a:cubicBezTo>
                <a:cubicBezTo>
                  <a:pt x="18431" y="16222"/>
                  <a:pt x="18396" y="16187"/>
                  <a:pt x="18379" y="16151"/>
                </a:cubicBezTo>
                <a:cubicBezTo>
                  <a:pt x="16226" y="14316"/>
                  <a:pt x="13590" y="11888"/>
                  <a:pt x="9525" y="11528"/>
                </a:cubicBezTo>
                <a:cubicBezTo>
                  <a:pt x="9284" y="11510"/>
                  <a:pt x="8888" y="11492"/>
                  <a:pt x="8457" y="11492"/>
                </a:cubicBezTo>
                <a:lnTo>
                  <a:pt x="9388" y="17392"/>
                </a:lnTo>
                <a:lnTo>
                  <a:pt x="10249" y="17266"/>
                </a:lnTo>
                <a:lnTo>
                  <a:pt x="10507" y="19028"/>
                </a:lnTo>
                <a:lnTo>
                  <a:pt x="9611" y="19172"/>
                </a:lnTo>
                <a:lnTo>
                  <a:pt x="9835" y="21024"/>
                </a:lnTo>
                <a:lnTo>
                  <a:pt x="5426" y="21600"/>
                </a:lnTo>
                <a:lnTo>
                  <a:pt x="3962" y="11492"/>
                </a:lnTo>
                <a:lnTo>
                  <a:pt x="3273" y="11492"/>
                </a:lnTo>
                <a:cubicBezTo>
                  <a:pt x="3204" y="11492"/>
                  <a:pt x="3152" y="11456"/>
                  <a:pt x="3083" y="11456"/>
                </a:cubicBezTo>
                <a:cubicBezTo>
                  <a:pt x="3083" y="11456"/>
                  <a:pt x="3083" y="11456"/>
                  <a:pt x="3066" y="11456"/>
                </a:cubicBezTo>
                <a:cubicBezTo>
                  <a:pt x="1361" y="11456"/>
                  <a:pt x="0" y="10036"/>
                  <a:pt x="0" y="8255"/>
                </a:cubicBezTo>
                <a:cubicBezTo>
                  <a:pt x="0" y="6493"/>
                  <a:pt x="1361" y="5054"/>
                  <a:pt x="3066" y="5054"/>
                </a:cubicBezTo>
                <a:cubicBezTo>
                  <a:pt x="3066" y="5054"/>
                  <a:pt x="3066" y="5054"/>
                  <a:pt x="3083" y="5054"/>
                </a:cubicBezTo>
                <a:cubicBezTo>
                  <a:pt x="3152" y="5036"/>
                  <a:pt x="3204" y="5036"/>
                  <a:pt x="3273" y="5036"/>
                </a:cubicBezTo>
                <a:lnTo>
                  <a:pt x="8475" y="5036"/>
                </a:lnTo>
                <a:cubicBezTo>
                  <a:pt x="12884" y="5036"/>
                  <a:pt x="15830" y="2482"/>
                  <a:pt x="18172" y="522"/>
                </a:cubicBezTo>
                <a:cubicBezTo>
                  <a:pt x="18344" y="216"/>
                  <a:pt x="18655" y="0"/>
                  <a:pt x="19033" y="0"/>
                </a:cubicBezTo>
                <a:cubicBezTo>
                  <a:pt x="19567" y="0"/>
                  <a:pt x="20015" y="432"/>
                  <a:pt x="20050" y="971"/>
                </a:cubicBezTo>
                <a:lnTo>
                  <a:pt x="20050" y="6654"/>
                </a:lnTo>
                <a:cubicBezTo>
                  <a:pt x="20894" y="6654"/>
                  <a:pt x="21600" y="7356"/>
                  <a:pt x="21583" y="8255"/>
                </a:cubicBezTo>
                <a:close/>
                <a:moveTo>
                  <a:pt x="18500" y="2230"/>
                </a:moveTo>
                <a:cubicBezTo>
                  <a:pt x="15365" y="4766"/>
                  <a:pt x="13074" y="6187"/>
                  <a:pt x="10008" y="6547"/>
                </a:cubicBezTo>
                <a:lnTo>
                  <a:pt x="10008" y="9946"/>
                </a:lnTo>
                <a:cubicBezTo>
                  <a:pt x="13074" y="10323"/>
                  <a:pt x="15347" y="11726"/>
                  <a:pt x="18500" y="14226"/>
                </a:cubicBezTo>
                <a:lnTo>
                  <a:pt x="18500" y="2230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00" name="Shape 2912"/>
          <p:cNvSpPr/>
          <p:nvPr/>
        </p:nvSpPr>
        <p:spPr>
          <a:xfrm>
            <a:off x="2435476" y="4723058"/>
            <a:ext cx="426384" cy="4157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21510"/>
                </a:lnTo>
                <a:lnTo>
                  <a:pt x="19081" y="21510"/>
                </a:lnTo>
                <a:lnTo>
                  <a:pt x="19081" y="19086"/>
                </a:lnTo>
                <a:lnTo>
                  <a:pt x="17822" y="19086"/>
                </a:lnTo>
                <a:cubicBezTo>
                  <a:pt x="16073" y="19086"/>
                  <a:pt x="14604" y="17632"/>
                  <a:pt x="14604" y="15836"/>
                </a:cubicBezTo>
                <a:lnTo>
                  <a:pt x="14604" y="13538"/>
                </a:lnTo>
                <a:lnTo>
                  <a:pt x="13590" y="13538"/>
                </a:lnTo>
                <a:cubicBezTo>
                  <a:pt x="13222" y="13538"/>
                  <a:pt x="12943" y="13233"/>
                  <a:pt x="12943" y="12874"/>
                </a:cubicBezTo>
                <a:cubicBezTo>
                  <a:pt x="12943" y="12766"/>
                  <a:pt x="12960" y="12676"/>
                  <a:pt x="12995" y="12622"/>
                </a:cubicBezTo>
                <a:lnTo>
                  <a:pt x="14657" y="8295"/>
                </a:lnTo>
                <a:cubicBezTo>
                  <a:pt x="14657" y="8295"/>
                  <a:pt x="14831" y="6500"/>
                  <a:pt x="14971" y="5835"/>
                </a:cubicBezTo>
                <a:cubicBezTo>
                  <a:pt x="15601" y="3034"/>
                  <a:pt x="18399" y="485"/>
                  <a:pt x="21600" y="0"/>
                </a:cubicBezTo>
                <a:close/>
                <a:moveTo>
                  <a:pt x="17507" y="9013"/>
                </a:moveTo>
                <a:cubicBezTo>
                  <a:pt x="17507" y="8511"/>
                  <a:pt x="17105" y="8098"/>
                  <a:pt x="16615" y="8098"/>
                </a:cubicBezTo>
                <a:cubicBezTo>
                  <a:pt x="16126" y="8098"/>
                  <a:pt x="15741" y="8529"/>
                  <a:pt x="15741" y="9013"/>
                </a:cubicBezTo>
                <a:cubicBezTo>
                  <a:pt x="15741" y="9516"/>
                  <a:pt x="16126" y="9911"/>
                  <a:pt x="16615" y="9911"/>
                </a:cubicBezTo>
                <a:cubicBezTo>
                  <a:pt x="17105" y="9911"/>
                  <a:pt x="17507" y="9498"/>
                  <a:pt x="17507" y="9013"/>
                </a:cubicBezTo>
                <a:close/>
                <a:moveTo>
                  <a:pt x="8623" y="12676"/>
                </a:moveTo>
                <a:cubicBezTo>
                  <a:pt x="8657" y="12748"/>
                  <a:pt x="8692" y="12856"/>
                  <a:pt x="8692" y="12946"/>
                </a:cubicBezTo>
                <a:cubicBezTo>
                  <a:pt x="8692" y="13305"/>
                  <a:pt x="8395" y="13628"/>
                  <a:pt x="8028" y="13628"/>
                </a:cubicBezTo>
                <a:lnTo>
                  <a:pt x="6996" y="13628"/>
                </a:lnTo>
                <a:lnTo>
                  <a:pt x="6996" y="15890"/>
                </a:lnTo>
                <a:cubicBezTo>
                  <a:pt x="6996" y="17686"/>
                  <a:pt x="5544" y="19176"/>
                  <a:pt x="3813" y="19176"/>
                </a:cubicBezTo>
                <a:lnTo>
                  <a:pt x="2519" y="19176"/>
                </a:lnTo>
                <a:lnTo>
                  <a:pt x="2519" y="21600"/>
                </a:lnTo>
                <a:lnTo>
                  <a:pt x="0" y="21600"/>
                </a:lnTo>
                <a:lnTo>
                  <a:pt x="0" y="72"/>
                </a:lnTo>
                <a:cubicBezTo>
                  <a:pt x="3218" y="539"/>
                  <a:pt x="6017" y="3088"/>
                  <a:pt x="6646" y="5871"/>
                </a:cubicBezTo>
                <a:cubicBezTo>
                  <a:pt x="6786" y="6554"/>
                  <a:pt x="6978" y="8331"/>
                  <a:pt x="6978" y="8331"/>
                </a:cubicBezTo>
                <a:lnTo>
                  <a:pt x="8623" y="12676"/>
                </a:lnTo>
                <a:close/>
                <a:moveTo>
                  <a:pt x="5894" y="9067"/>
                </a:moveTo>
                <a:cubicBezTo>
                  <a:pt x="5894" y="8583"/>
                  <a:pt x="5492" y="8170"/>
                  <a:pt x="5002" y="8170"/>
                </a:cubicBezTo>
                <a:cubicBezTo>
                  <a:pt x="4530" y="8170"/>
                  <a:pt x="4128" y="8583"/>
                  <a:pt x="4128" y="9067"/>
                </a:cubicBezTo>
                <a:cubicBezTo>
                  <a:pt x="4128" y="9570"/>
                  <a:pt x="4530" y="9983"/>
                  <a:pt x="5002" y="9983"/>
                </a:cubicBezTo>
                <a:cubicBezTo>
                  <a:pt x="5492" y="9983"/>
                  <a:pt x="5894" y="9570"/>
                  <a:pt x="5894" y="9067"/>
                </a:cubicBezTo>
                <a:close/>
                <a:moveTo>
                  <a:pt x="15164" y="2370"/>
                </a:moveTo>
                <a:cubicBezTo>
                  <a:pt x="15251" y="2424"/>
                  <a:pt x="15304" y="2442"/>
                  <a:pt x="15391" y="2460"/>
                </a:cubicBezTo>
                <a:cubicBezTo>
                  <a:pt x="15583" y="2496"/>
                  <a:pt x="15776" y="2406"/>
                  <a:pt x="15863" y="2226"/>
                </a:cubicBezTo>
                <a:cubicBezTo>
                  <a:pt x="16003" y="1993"/>
                  <a:pt x="15951" y="1670"/>
                  <a:pt x="15706" y="1508"/>
                </a:cubicBezTo>
                <a:cubicBezTo>
                  <a:pt x="15479" y="1365"/>
                  <a:pt x="15164" y="1436"/>
                  <a:pt x="15024" y="1670"/>
                </a:cubicBezTo>
                <a:cubicBezTo>
                  <a:pt x="14866" y="1903"/>
                  <a:pt x="14936" y="2208"/>
                  <a:pt x="15164" y="2370"/>
                </a:cubicBezTo>
                <a:close/>
                <a:moveTo>
                  <a:pt x="5824" y="2603"/>
                </a:moveTo>
                <a:cubicBezTo>
                  <a:pt x="5947" y="2621"/>
                  <a:pt x="6051" y="2568"/>
                  <a:pt x="6156" y="2514"/>
                </a:cubicBezTo>
                <a:cubicBezTo>
                  <a:pt x="6401" y="2352"/>
                  <a:pt x="6454" y="2029"/>
                  <a:pt x="6296" y="1796"/>
                </a:cubicBezTo>
                <a:cubicBezTo>
                  <a:pt x="6139" y="1562"/>
                  <a:pt x="5824" y="1490"/>
                  <a:pt x="5597" y="1670"/>
                </a:cubicBezTo>
                <a:cubicBezTo>
                  <a:pt x="5369" y="1813"/>
                  <a:pt x="5299" y="2137"/>
                  <a:pt x="5474" y="2370"/>
                </a:cubicBezTo>
                <a:cubicBezTo>
                  <a:pt x="5544" y="2514"/>
                  <a:pt x="5684" y="2603"/>
                  <a:pt x="5824" y="2603"/>
                </a:cubicBezTo>
                <a:close/>
                <a:moveTo>
                  <a:pt x="8098" y="1472"/>
                </a:moveTo>
                <a:cubicBezTo>
                  <a:pt x="8168" y="1472"/>
                  <a:pt x="8220" y="1472"/>
                  <a:pt x="8308" y="1454"/>
                </a:cubicBezTo>
                <a:cubicBezTo>
                  <a:pt x="8588" y="1365"/>
                  <a:pt x="8727" y="1095"/>
                  <a:pt x="8640" y="808"/>
                </a:cubicBezTo>
                <a:cubicBezTo>
                  <a:pt x="8553" y="539"/>
                  <a:pt x="8273" y="377"/>
                  <a:pt x="8010" y="449"/>
                </a:cubicBezTo>
                <a:cubicBezTo>
                  <a:pt x="7748" y="539"/>
                  <a:pt x="7591" y="826"/>
                  <a:pt x="7678" y="1113"/>
                </a:cubicBezTo>
                <a:cubicBezTo>
                  <a:pt x="7713" y="1329"/>
                  <a:pt x="7888" y="1454"/>
                  <a:pt x="8098" y="1472"/>
                </a:cubicBezTo>
                <a:close/>
                <a:moveTo>
                  <a:pt x="13625" y="1023"/>
                </a:moveTo>
                <a:cubicBezTo>
                  <a:pt x="13712" y="736"/>
                  <a:pt x="13537" y="449"/>
                  <a:pt x="13292" y="377"/>
                </a:cubicBezTo>
                <a:cubicBezTo>
                  <a:pt x="13012" y="287"/>
                  <a:pt x="12750" y="449"/>
                  <a:pt x="12663" y="718"/>
                </a:cubicBezTo>
                <a:cubicBezTo>
                  <a:pt x="12575" y="1005"/>
                  <a:pt x="12750" y="1275"/>
                  <a:pt x="12995" y="1365"/>
                </a:cubicBezTo>
                <a:cubicBezTo>
                  <a:pt x="13047" y="1365"/>
                  <a:pt x="13065" y="1383"/>
                  <a:pt x="13082" y="1383"/>
                </a:cubicBezTo>
                <a:cubicBezTo>
                  <a:pt x="13327" y="1400"/>
                  <a:pt x="13537" y="1257"/>
                  <a:pt x="13625" y="1023"/>
                </a:cubicBezTo>
                <a:close/>
                <a:moveTo>
                  <a:pt x="10616" y="0"/>
                </a:moveTo>
                <a:cubicBezTo>
                  <a:pt x="10354" y="0"/>
                  <a:pt x="10109" y="233"/>
                  <a:pt x="10109" y="521"/>
                </a:cubicBezTo>
                <a:cubicBezTo>
                  <a:pt x="10109" y="772"/>
                  <a:pt x="10319" y="1005"/>
                  <a:pt x="10581" y="1041"/>
                </a:cubicBezTo>
                <a:cubicBezTo>
                  <a:pt x="10599" y="1041"/>
                  <a:pt x="10616" y="1041"/>
                  <a:pt x="10634" y="1041"/>
                </a:cubicBezTo>
                <a:cubicBezTo>
                  <a:pt x="10914" y="1041"/>
                  <a:pt x="11141" y="808"/>
                  <a:pt x="11141" y="521"/>
                </a:cubicBezTo>
                <a:cubicBezTo>
                  <a:pt x="11141" y="233"/>
                  <a:pt x="10914" y="0"/>
                  <a:pt x="10616" y="0"/>
                </a:cubicBez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01" name="Shape 2910"/>
          <p:cNvSpPr/>
          <p:nvPr/>
        </p:nvSpPr>
        <p:spPr>
          <a:xfrm>
            <a:off x="531071" y="4723058"/>
            <a:ext cx="350182" cy="4157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103" y="5853"/>
                </a:moveTo>
                <a:cubicBezTo>
                  <a:pt x="19295" y="6554"/>
                  <a:pt x="19508" y="8313"/>
                  <a:pt x="19508" y="8313"/>
                </a:cubicBezTo>
                <a:lnTo>
                  <a:pt x="21536" y="12640"/>
                </a:lnTo>
                <a:cubicBezTo>
                  <a:pt x="21600" y="12730"/>
                  <a:pt x="21600" y="12802"/>
                  <a:pt x="21600" y="12892"/>
                </a:cubicBezTo>
                <a:cubicBezTo>
                  <a:pt x="21600" y="13269"/>
                  <a:pt x="21237" y="13556"/>
                  <a:pt x="20810" y="13556"/>
                </a:cubicBezTo>
                <a:lnTo>
                  <a:pt x="19487" y="13556"/>
                </a:lnTo>
                <a:lnTo>
                  <a:pt x="19487" y="15854"/>
                </a:lnTo>
                <a:cubicBezTo>
                  <a:pt x="19487" y="17650"/>
                  <a:pt x="17779" y="19086"/>
                  <a:pt x="15666" y="19086"/>
                </a:cubicBezTo>
                <a:lnTo>
                  <a:pt x="14130" y="19086"/>
                </a:lnTo>
                <a:lnTo>
                  <a:pt x="14130" y="21600"/>
                </a:lnTo>
                <a:lnTo>
                  <a:pt x="8452" y="21600"/>
                </a:lnTo>
                <a:lnTo>
                  <a:pt x="8452" y="20469"/>
                </a:lnTo>
                <a:lnTo>
                  <a:pt x="6147" y="20469"/>
                </a:lnTo>
                <a:lnTo>
                  <a:pt x="6147" y="21600"/>
                </a:lnTo>
                <a:lnTo>
                  <a:pt x="3735" y="21600"/>
                </a:lnTo>
                <a:lnTo>
                  <a:pt x="3735" y="14651"/>
                </a:lnTo>
                <a:cubicBezTo>
                  <a:pt x="1473" y="13125"/>
                  <a:pt x="0" y="10827"/>
                  <a:pt x="0" y="8205"/>
                </a:cubicBezTo>
                <a:cubicBezTo>
                  <a:pt x="0" y="3681"/>
                  <a:pt x="4375" y="0"/>
                  <a:pt x="9754" y="0"/>
                </a:cubicBezTo>
                <a:cubicBezTo>
                  <a:pt x="14172" y="0"/>
                  <a:pt x="18270" y="2783"/>
                  <a:pt x="19103" y="5853"/>
                </a:cubicBezTo>
                <a:close/>
                <a:moveTo>
                  <a:pt x="8452" y="15980"/>
                </a:moveTo>
                <a:lnTo>
                  <a:pt x="6147" y="15980"/>
                </a:lnTo>
                <a:lnTo>
                  <a:pt x="6147" y="17021"/>
                </a:lnTo>
                <a:lnTo>
                  <a:pt x="8452" y="17021"/>
                </a:lnTo>
                <a:lnTo>
                  <a:pt x="8452" y="15980"/>
                </a:lnTo>
                <a:close/>
                <a:moveTo>
                  <a:pt x="8452" y="14490"/>
                </a:moveTo>
                <a:lnTo>
                  <a:pt x="6147" y="14490"/>
                </a:lnTo>
                <a:lnTo>
                  <a:pt x="6147" y="15531"/>
                </a:lnTo>
                <a:lnTo>
                  <a:pt x="8452" y="15531"/>
                </a:lnTo>
                <a:lnTo>
                  <a:pt x="8452" y="14490"/>
                </a:lnTo>
                <a:close/>
                <a:moveTo>
                  <a:pt x="8452" y="17488"/>
                </a:moveTo>
                <a:lnTo>
                  <a:pt x="6147" y="17488"/>
                </a:lnTo>
                <a:lnTo>
                  <a:pt x="6147" y="18548"/>
                </a:lnTo>
                <a:lnTo>
                  <a:pt x="8452" y="18548"/>
                </a:lnTo>
                <a:lnTo>
                  <a:pt x="8452" y="17488"/>
                </a:lnTo>
                <a:close/>
                <a:moveTo>
                  <a:pt x="8452" y="18979"/>
                </a:moveTo>
                <a:lnTo>
                  <a:pt x="6147" y="18979"/>
                </a:lnTo>
                <a:lnTo>
                  <a:pt x="6147" y="20038"/>
                </a:lnTo>
                <a:lnTo>
                  <a:pt x="8452" y="20038"/>
                </a:lnTo>
                <a:lnTo>
                  <a:pt x="8452" y="18979"/>
                </a:lnTo>
                <a:close/>
                <a:moveTo>
                  <a:pt x="6126" y="13000"/>
                </a:moveTo>
                <a:lnTo>
                  <a:pt x="6126" y="14059"/>
                </a:lnTo>
                <a:lnTo>
                  <a:pt x="8431" y="14059"/>
                </a:lnTo>
                <a:lnTo>
                  <a:pt x="8431" y="13000"/>
                </a:lnTo>
                <a:lnTo>
                  <a:pt x="6126" y="13000"/>
                </a:lnTo>
                <a:close/>
                <a:moveTo>
                  <a:pt x="2753" y="8403"/>
                </a:moveTo>
                <a:cubicBezTo>
                  <a:pt x="2839" y="9211"/>
                  <a:pt x="3415" y="9875"/>
                  <a:pt x="4269" y="10181"/>
                </a:cubicBezTo>
                <a:cubicBezTo>
                  <a:pt x="5293" y="10665"/>
                  <a:pt x="5912" y="11527"/>
                  <a:pt x="6083" y="12551"/>
                </a:cubicBezTo>
                <a:lnTo>
                  <a:pt x="7043" y="12551"/>
                </a:lnTo>
                <a:lnTo>
                  <a:pt x="7043" y="10181"/>
                </a:lnTo>
                <a:cubicBezTo>
                  <a:pt x="7043" y="9444"/>
                  <a:pt x="6766" y="8960"/>
                  <a:pt x="6168" y="8654"/>
                </a:cubicBezTo>
                <a:cubicBezTo>
                  <a:pt x="5955" y="8547"/>
                  <a:pt x="5763" y="8439"/>
                  <a:pt x="5613" y="8313"/>
                </a:cubicBezTo>
                <a:cubicBezTo>
                  <a:pt x="5165" y="8439"/>
                  <a:pt x="4781" y="8708"/>
                  <a:pt x="4546" y="9067"/>
                </a:cubicBezTo>
                <a:cubicBezTo>
                  <a:pt x="4504" y="9139"/>
                  <a:pt x="4397" y="9175"/>
                  <a:pt x="4311" y="9175"/>
                </a:cubicBezTo>
                <a:cubicBezTo>
                  <a:pt x="4269" y="9175"/>
                  <a:pt x="4226" y="9175"/>
                  <a:pt x="4183" y="9157"/>
                </a:cubicBezTo>
                <a:cubicBezTo>
                  <a:pt x="4055" y="9103"/>
                  <a:pt x="4013" y="8960"/>
                  <a:pt x="4098" y="8852"/>
                </a:cubicBezTo>
                <a:cubicBezTo>
                  <a:pt x="4375" y="8439"/>
                  <a:pt x="4781" y="8152"/>
                  <a:pt x="5251" y="7972"/>
                </a:cubicBezTo>
                <a:cubicBezTo>
                  <a:pt x="4994" y="7667"/>
                  <a:pt x="4866" y="7290"/>
                  <a:pt x="4888" y="6841"/>
                </a:cubicBezTo>
                <a:cubicBezTo>
                  <a:pt x="4888" y="6661"/>
                  <a:pt x="4909" y="6464"/>
                  <a:pt x="4994" y="6266"/>
                </a:cubicBezTo>
                <a:cubicBezTo>
                  <a:pt x="4461" y="6177"/>
                  <a:pt x="3927" y="5943"/>
                  <a:pt x="3607" y="5620"/>
                </a:cubicBezTo>
                <a:cubicBezTo>
                  <a:pt x="3500" y="5530"/>
                  <a:pt x="3500" y="5387"/>
                  <a:pt x="3628" y="5297"/>
                </a:cubicBezTo>
                <a:cubicBezTo>
                  <a:pt x="3735" y="5207"/>
                  <a:pt x="3906" y="5207"/>
                  <a:pt x="3991" y="5315"/>
                </a:cubicBezTo>
                <a:cubicBezTo>
                  <a:pt x="4290" y="5602"/>
                  <a:pt x="4738" y="5800"/>
                  <a:pt x="5187" y="5853"/>
                </a:cubicBezTo>
                <a:cubicBezTo>
                  <a:pt x="5571" y="5243"/>
                  <a:pt x="6296" y="4848"/>
                  <a:pt x="7150" y="4758"/>
                </a:cubicBezTo>
                <a:cubicBezTo>
                  <a:pt x="7086" y="4381"/>
                  <a:pt x="6894" y="4040"/>
                  <a:pt x="6574" y="3789"/>
                </a:cubicBezTo>
                <a:cubicBezTo>
                  <a:pt x="6489" y="3699"/>
                  <a:pt x="6467" y="3573"/>
                  <a:pt x="6574" y="3483"/>
                </a:cubicBezTo>
                <a:cubicBezTo>
                  <a:pt x="6659" y="3394"/>
                  <a:pt x="6873" y="3394"/>
                  <a:pt x="6958" y="3483"/>
                </a:cubicBezTo>
                <a:cubicBezTo>
                  <a:pt x="7342" y="3806"/>
                  <a:pt x="7598" y="4255"/>
                  <a:pt x="7684" y="4740"/>
                </a:cubicBezTo>
                <a:cubicBezTo>
                  <a:pt x="8687" y="4632"/>
                  <a:pt x="9434" y="3932"/>
                  <a:pt x="9434" y="3070"/>
                </a:cubicBezTo>
                <a:cubicBezTo>
                  <a:pt x="9434" y="2945"/>
                  <a:pt x="9562" y="2855"/>
                  <a:pt x="9690" y="2855"/>
                </a:cubicBezTo>
                <a:cubicBezTo>
                  <a:pt x="9840" y="2855"/>
                  <a:pt x="9946" y="2963"/>
                  <a:pt x="9946" y="3070"/>
                </a:cubicBezTo>
                <a:cubicBezTo>
                  <a:pt x="9946" y="3214"/>
                  <a:pt x="9925" y="3358"/>
                  <a:pt x="9882" y="3483"/>
                </a:cubicBezTo>
                <a:cubicBezTo>
                  <a:pt x="10288" y="3753"/>
                  <a:pt x="10736" y="3896"/>
                  <a:pt x="11206" y="3896"/>
                </a:cubicBezTo>
                <a:cubicBezTo>
                  <a:pt x="11440" y="3896"/>
                  <a:pt x="11654" y="3842"/>
                  <a:pt x="11867" y="3789"/>
                </a:cubicBezTo>
                <a:cubicBezTo>
                  <a:pt x="12123" y="3699"/>
                  <a:pt x="12379" y="3573"/>
                  <a:pt x="12593" y="3394"/>
                </a:cubicBezTo>
                <a:cubicBezTo>
                  <a:pt x="12700" y="3304"/>
                  <a:pt x="12849" y="3304"/>
                  <a:pt x="12977" y="3394"/>
                </a:cubicBezTo>
                <a:cubicBezTo>
                  <a:pt x="13084" y="3483"/>
                  <a:pt x="13084" y="3609"/>
                  <a:pt x="12977" y="3717"/>
                </a:cubicBezTo>
                <a:cubicBezTo>
                  <a:pt x="12764" y="3896"/>
                  <a:pt x="12508" y="4040"/>
                  <a:pt x="12251" y="4148"/>
                </a:cubicBezTo>
                <a:cubicBezTo>
                  <a:pt x="12315" y="4704"/>
                  <a:pt x="12700" y="5189"/>
                  <a:pt x="13233" y="5440"/>
                </a:cubicBezTo>
                <a:cubicBezTo>
                  <a:pt x="13532" y="5063"/>
                  <a:pt x="14002" y="4740"/>
                  <a:pt x="14557" y="4579"/>
                </a:cubicBezTo>
                <a:cubicBezTo>
                  <a:pt x="14727" y="4543"/>
                  <a:pt x="14855" y="4597"/>
                  <a:pt x="14898" y="4740"/>
                </a:cubicBezTo>
                <a:cubicBezTo>
                  <a:pt x="14941" y="4866"/>
                  <a:pt x="14877" y="4974"/>
                  <a:pt x="14727" y="5009"/>
                </a:cubicBezTo>
                <a:cubicBezTo>
                  <a:pt x="14279" y="5117"/>
                  <a:pt x="13938" y="5351"/>
                  <a:pt x="13724" y="5620"/>
                </a:cubicBezTo>
                <a:cubicBezTo>
                  <a:pt x="13874" y="5656"/>
                  <a:pt x="14044" y="5692"/>
                  <a:pt x="14236" y="5692"/>
                </a:cubicBezTo>
                <a:lnTo>
                  <a:pt x="14258" y="5692"/>
                </a:lnTo>
                <a:cubicBezTo>
                  <a:pt x="14941" y="5692"/>
                  <a:pt x="15560" y="5907"/>
                  <a:pt x="16008" y="6284"/>
                </a:cubicBezTo>
                <a:cubicBezTo>
                  <a:pt x="16115" y="6374"/>
                  <a:pt x="16115" y="6500"/>
                  <a:pt x="16008" y="6607"/>
                </a:cubicBezTo>
                <a:cubicBezTo>
                  <a:pt x="15944" y="6661"/>
                  <a:pt x="15880" y="6679"/>
                  <a:pt x="15794" y="6679"/>
                </a:cubicBezTo>
                <a:cubicBezTo>
                  <a:pt x="15752" y="6679"/>
                  <a:pt x="15666" y="6661"/>
                  <a:pt x="15624" y="6607"/>
                </a:cubicBezTo>
                <a:cubicBezTo>
                  <a:pt x="15261" y="6302"/>
                  <a:pt x="14770" y="6141"/>
                  <a:pt x="14236" y="6141"/>
                </a:cubicBezTo>
                <a:lnTo>
                  <a:pt x="14215" y="6141"/>
                </a:lnTo>
                <a:cubicBezTo>
                  <a:pt x="12913" y="6141"/>
                  <a:pt x="11867" y="5333"/>
                  <a:pt x="11718" y="4309"/>
                </a:cubicBezTo>
                <a:cubicBezTo>
                  <a:pt x="11526" y="4345"/>
                  <a:pt x="11355" y="4345"/>
                  <a:pt x="11184" y="4345"/>
                </a:cubicBezTo>
                <a:cubicBezTo>
                  <a:pt x="10672" y="4345"/>
                  <a:pt x="10117" y="4219"/>
                  <a:pt x="9690" y="3932"/>
                </a:cubicBezTo>
                <a:cubicBezTo>
                  <a:pt x="9541" y="4237"/>
                  <a:pt x="9285" y="4525"/>
                  <a:pt x="8964" y="4740"/>
                </a:cubicBezTo>
                <a:cubicBezTo>
                  <a:pt x="9285" y="5063"/>
                  <a:pt x="9455" y="5440"/>
                  <a:pt x="9498" y="5835"/>
                </a:cubicBezTo>
                <a:cubicBezTo>
                  <a:pt x="9626" y="5817"/>
                  <a:pt x="9797" y="5817"/>
                  <a:pt x="9925" y="5817"/>
                </a:cubicBezTo>
                <a:cubicBezTo>
                  <a:pt x="10330" y="5817"/>
                  <a:pt x="10715" y="5907"/>
                  <a:pt x="11099" y="6069"/>
                </a:cubicBezTo>
                <a:cubicBezTo>
                  <a:pt x="11227" y="6141"/>
                  <a:pt x="11270" y="6266"/>
                  <a:pt x="11206" y="6374"/>
                </a:cubicBezTo>
                <a:cubicBezTo>
                  <a:pt x="11142" y="6464"/>
                  <a:pt x="11056" y="6500"/>
                  <a:pt x="10971" y="6500"/>
                </a:cubicBezTo>
                <a:cubicBezTo>
                  <a:pt x="10928" y="6500"/>
                  <a:pt x="10885" y="6500"/>
                  <a:pt x="10843" y="6482"/>
                </a:cubicBezTo>
                <a:cubicBezTo>
                  <a:pt x="10544" y="6356"/>
                  <a:pt x="10224" y="6284"/>
                  <a:pt x="9882" y="6284"/>
                </a:cubicBezTo>
                <a:cubicBezTo>
                  <a:pt x="9733" y="6284"/>
                  <a:pt x="9605" y="6284"/>
                  <a:pt x="9477" y="6338"/>
                </a:cubicBezTo>
                <a:cubicBezTo>
                  <a:pt x="9434" y="6787"/>
                  <a:pt x="9199" y="7218"/>
                  <a:pt x="8794" y="7577"/>
                </a:cubicBezTo>
                <a:cubicBezTo>
                  <a:pt x="8730" y="7631"/>
                  <a:pt x="8666" y="7649"/>
                  <a:pt x="8580" y="7649"/>
                </a:cubicBezTo>
                <a:cubicBezTo>
                  <a:pt x="8538" y="7649"/>
                  <a:pt x="8452" y="7631"/>
                  <a:pt x="8409" y="7577"/>
                </a:cubicBezTo>
                <a:cubicBezTo>
                  <a:pt x="8303" y="7505"/>
                  <a:pt x="8303" y="7362"/>
                  <a:pt x="8409" y="7254"/>
                </a:cubicBezTo>
                <a:cubicBezTo>
                  <a:pt x="8772" y="6931"/>
                  <a:pt x="8943" y="6554"/>
                  <a:pt x="8943" y="6141"/>
                </a:cubicBezTo>
                <a:lnTo>
                  <a:pt x="8943" y="6051"/>
                </a:lnTo>
                <a:cubicBezTo>
                  <a:pt x="8943" y="5656"/>
                  <a:pt x="8794" y="5279"/>
                  <a:pt x="8452" y="4974"/>
                </a:cubicBezTo>
                <a:cubicBezTo>
                  <a:pt x="8111" y="5099"/>
                  <a:pt x="7726" y="5189"/>
                  <a:pt x="7321" y="5189"/>
                </a:cubicBezTo>
                <a:cubicBezTo>
                  <a:pt x="6211" y="5189"/>
                  <a:pt x="5315" y="5943"/>
                  <a:pt x="5315" y="6877"/>
                </a:cubicBezTo>
                <a:cubicBezTo>
                  <a:pt x="5528" y="6823"/>
                  <a:pt x="5742" y="6805"/>
                  <a:pt x="5955" y="6805"/>
                </a:cubicBezTo>
                <a:cubicBezTo>
                  <a:pt x="6275" y="6805"/>
                  <a:pt x="6617" y="6841"/>
                  <a:pt x="6915" y="6949"/>
                </a:cubicBezTo>
                <a:cubicBezTo>
                  <a:pt x="7043" y="7002"/>
                  <a:pt x="7129" y="7128"/>
                  <a:pt x="7065" y="7254"/>
                </a:cubicBezTo>
                <a:cubicBezTo>
                  <a:pt x="7022" y="7362"/>
                  <a:pt x="6873" y="7433"/>
                  <a:pt x="6702" y="7398"/>
                </a:cubicBezTo>
                <a:cubicBezTo>
                  <a:pt x="6446" y="7308"/>
                  <a:pt x="6211" y="7254"/>
                  <a:pt x="5955" y="7254"/>
                </a:cubicBezTo>
                <a:cubicBezTo>
                  <a:pt x="5763" y="7254"/>
                  <a:pt x="5549" y="7290"/>
                  <a:pt x="5379" y="7344"/>
                </a:cubicBezTo>
                <a:cubicBezTo>
                  <a:pt x="5421" y="7613"/>
                  <a:pt x="5571" y="7793"/>
                  <a:pt x="5763" y="7972"/>
                </a:cubicBezTo>
                <a:lnTo>
                  <a:pt x="5806" y="8008"/>
                </a:lnTo>
                <a:cubicBezTo>
                  <a:pt x="5955" y="8152"/>
                  <a:pt x="6147" y="8259"/>
                  <a:pt x="6360" y="8367"/>
                </a:cubicBezTo>
                <a:cubicBezTo>
                  <a:pt x="7129" y="8726"/>
                  <a:pt x="7470" y="9426"/>
                  <a:pt x="7470" y="10252"/>
                </a:cubicBezTo>
                <a:lnTo>
                  <a:pt x="7470" y="12640"/>
                </a:lnTo>
                <a:lnTo>
                  <a:pt x="8409" y="12640"/>
                </a:lnTo>
                <a:lnTo>
                  <a:pt x="8409" y="10360"/>
                </a:lnTo>
                <a:cubicBezTo>
                  <a:pt x="8409" y="9534"/>
                  <a:pt x="9028" y="8744"/>
                  <a:pt x="9797" y="8475"/>
                </a:cubicBezTo>
                <a:cubicBezTo>
                  <a:pt x="10138" y="8331"/>
                  <a:pt x="10565" y="8152"/>
                  <a:pt x="10843" y="7882"/>
                </a:cubicBezTo>
                <a:cubicBezTo>
                  <a:pt x="11248" y="8116"/>
                  <a:pt x="11739" y="8259"/>
                  <a:pt x="12251" y="8259"/>
                </a:cubicBezTo>
                <a:cubicBezTo>
                  <a:pt x="12764" y="8259"/>
                  <a:pt x="13255" y="8116"/>
                  <a:pt x="13660" y="7882"/>
                </a:cubicBezTo>
                <a:cubicBezTo>
                  <a:pt x="14087" y="8098"/>
                  <a:pt x="14535" y="8223"/>
                  <a:pt x="15047" y="8223"/>
                </a:cubicBezTo>
                <a:cubicBezTo>
                  <a:pt x="16456" y="8223"/>
                  <a:pt x="17609" y="7254"/>
                  <a:pt x="17609" y="6069"/>
                </a:cubicBezTo>
                <a:cubicBezTo>
                  <a:pt x="17609" y="5189"/>
                  <a:pt x="16968" y="4417"/>
                  <a:pt x="16072" y="4094"/>
                </a:cubicBezTo>
                <a:cubicBezTo>
                  <a:pt x="15816" y="3142"/>
                  <a:pt x="14855" y="2424"/>
                  <a:pt x="13639" y="2424"/>
                </a:cubicBezTo>
                <a:lnTo>
                  <a:pt x="13468" y="2424"/>
                </a:lnTo>
                <a:cubicBezTo>
                  <a:pt x="13020" y="1867"/>
                  <a:pt x="12251" y="1490"/>
                  <a:pt x="11376" y="1490"/>
                </a:cubicBezTo>
                <a:cubicBezTo>
                  <a:pt x="10949" y="1490"/>
                  <a:pt x="10565" y="1580"/>
                  <a:pt x="10202" y="1760"/>
                </a:cubicBezTo>
                <a:cubicBezTo>
                  <a:pt x="9797" y="1544"/>
                  <a:pt x="9327" y="1400"/>
                  <a:pt x="8815" y="1400"/>
                </a:cubicBezTo>
                <a:cubicBezTo>
                  <a:pt x="8175" y="1400"/>
                  <a:pt x="7556" y="1616"/>
                  <a:pt x="7129" y="1975"/>
                </a:cubicBezTo>
                <a:cubicBezTo>
                  <a:pt x="6937" y="1921"/>
                  <a:pt x="6745" y="1903"/>
                  <a:pt x="6531" y="1903"/>
                </a:cubicBezTo>
                <a:cubicBezTo>
                  <a:pt x="5528" y="1903"/>
                  <a:pt x="4632" y="2424"/>
                  <a:pt x="4247" y="3160"/>
                </a:cubicBezTo>
                <a:cubicBezTo>
                  <a:pt x="3223" y="3411"/>
                  <a:pt x="2476" y="4219"/>
                  <a:pt x="2476" y="5171"/>
                </a:cubicBezTo>
                <a:cubicBezTo>
                  <a:pt x="2476" y="5351"/>
                  <a:pt x="2497" y="5530"/>
                  <a:pt x="2561" y="5710"/>
                </a:cubicBezTo>
                <a:cubicBezTo>
                  <a:pt x="2262" y="6033"/>
                  <a:pt x="2070" y="6464"/>
                  <a:pt x="2070" y="6949"/>
                </a:cubicBezTo>
                <a:cubicBezTo>
                  <a:pt x="2070" y="7523"/>
                  <a:pt x="2326" y="8008"/>
                  <a:pt x="2753" y="8403"/>
                </a:cubicBez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02" name="Shape 2991"/>
          <p:cNvSpPr/>
          <p:nvPr/>
        </p:nvSpPr>
        <p:spPr>
          <a:xfrm>
            <a:off x="8105818" y="4723058"/>
            <a:ext cx="410059" cy="4099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9" h="21583" extrusionOk="0">
                <a:moveTo>
                  <a:pt x="19131" y="18476"/>
                </a:moveTo>
                <a:cubicBezTo>
                  <a:pt x="19149" y="18709"/>
                  <a:pt x="19131" y="18997"/>
                  <a:pt x="19059" y="19248"/>
                </a:cubicBezTo>
                <a:lnTo>
                  <a:pt x="16817" y="17183"/>
                </a:lnTo>
                <a:lnTo>
                  <a:pt x="14790" y="19392"/>
                </a:lnTo>
                <a:lnTo>
                  <a:pt x="17068" y="21438"/>
                </a:lnTo>
                <a:cubicBezTo>
                  <a:pt x="16799" y="21528"/>
                  <a:pt x="16548" y="21582"/>
                  <a:pt x="16279" y="21582"/>
                </a:cubicBezTo>
                <a:cubicBezTo>
                  <a:pt x="15507" y="21600"/>
                  <a:pt x="14843" y="21367"/>
                  <a:pt x="14251" y="20846"/>
                </a:cubicBezTo>
                <a:cubicBezTo>
                  <a:pt x="13677" y="20307"/>
                  <a:pt x="13372" y="19661"/>
                  <a:pt x="13354" y="18889"/>
                </a:cubicBezTo>
                <a:cubicBezTo>
                  <a:pt x="13354" y="18601"/>
                  <a:pt x="13372" y="18296"/>
                  <a:pt x="13444" y="18045"/>
                </a:cubicBezTo>
                <a:lnTo>
                  <a:pt x="12888" y="17524"/>
                </a:lnTo>
                <a:lnTo>
                  <a:pt x="9641" y="14544"/>
                </a:lnTo>
                <a:lnTo>
                  <a:pt x="4115" y="20630"/>
                </a:lnTo>
                <a:cubicBezTo>
                  <a:pt x="3774" y="21097"/>
                  <a:pt x="3254" y="21385"/>
                  <a:pt x="2662" y="21385"/>
                </a:cubicBezTo>
                <a:cubicBezTo>
                  <a:pt x="1693" y="21385"/>
                  <a:pt x="922" y="20612"/>
                  <a:pt x="922" y="19643"/>
                </a:cubicBezTo>
                <a:cubicBezTo>
                  <a:pt x="922" y="19122"/>
                  <a:pt x="1119" y="18655"/>
                  <a:pt x="1532" y="18296"/>
                </a:cubicBezTo>
                <a:lnTo>
                  <a:pt x="7273" y="12335"/>
                </a:lnTo>
                <a:lnTo>
                  <a:pt x="3792" y="9175"/>
                </a:lnTo>
                <a:cubicBezTo>
                  <a:pt x="3505" y="9301"/>
                  <a:pt x="3200" y="9373"/>
                  <a:pt x="2949" y="9373"/>
                </a:cubicBezTo>
                <a:cubicBezTo>
                  <a:pt x="2178" y="9391"/>
                  <a:pt x="1496" y="9139"/>
                  <a:pt x="922" y="8636"/>
                </a:cubicBezTo>
                <a:cubicBezTo>
                  <a:pt x="330" y="8116"/>
                  <a:pt x="43" y="7487"/>
                  <a:pt x="7" y="6679"/>
                </a:cubicBezTo>
                <a:cubicBezTo>
                  <a:pt x="-11" y="6446"/>
                  <a:pt x="7" y="6177"/>
                  <a:pt x="79" y="5907"/>
                </a:cubicBezTo>
                <a:lnTo>
                  <a:pt x="2339" y="7954"/>
                </a:lnTo>
                <a:lnTo>
                  <a:pt x="4348" y="5764"/>
                </a:lnTo>
                <a:lnTo>
                  <a:pt x="2088" y="3699"/>
                </a:lnTo>
                <a:cubicBezTo>
                  <a:pt x="2321" y="3627"/>
                  <a:pt x="2608" y="3555"/>
                  <a:pt x="2859" y="3555"/>
                </a:cubicBezTo>
                <a:cubicBezTo>
                  <a:pt x="3631" y="3537"/>
                  <a:pt x="4313" y="3771"/>
                  <a:pt x="4887" y="4291"/>
                </a:cubicBezTo>
                <a:cubicBezTo>
                  <a:pt x="5479" y="4812"/>
                  <a:pt x="5784" y="5476"/>
                  <a:pt x="5802" y="6248"/>
                </a:cubicBezTo>
                <a:cubicBezTo>
                  <a:pt x="5820" y="6518"/>
                  <a:pt x="5802" y="6769"/>
                  <a:pt x="5730" y="7038"/>
                </a:cubicBezTo>
                <a:lnTo>
                  <a:pt x="9318" y="10306"/>
                </a:lnTo>
                <a:lnTo>
                  <a:pt x="11919" y="7487"/>
                </a:lnTo>
                <a:lnTo>
                  <a:pt x="8026" y="4022"/>
                </a:lnTo>
                <a:lnTo>
                  <a:pt x="11560" y="0"/>
                </a:lnTo>
                <a:lnTo>
                  <a:pt x="21589" y="8852"/>
                </a:lnTo>
                <a:lnTo>
                  <a:pt x="18055" y="12892"/>
                </a:lnTo>
                <a:lnTo>
                  <a:pt x="14036" y="9337"/>
                </a:lnTo>
                <a:lnTo>
                  <a:pt x="11507" y="12317"/>
                </a:lnTo>
                <a:lnTo>
                  <a:pt x="15436" y="15908"/>
                </a:lnTo>
                <a:cubicBezTo>
                  <a:pt x="15705" y="15818"/>
                  <a:pt x="15956" y="15765"/>
                  <a:pt x="16225" y="15765"/>
                </a:cubicBezTo>
                <a:cubicBezTo>
                  <a:pt x="16996" y="15729"/>
                  <a:pt x="17660" y="15980"/>
                  <a:pt x="18252" y="16483"/>
                </a:cubicBezTo>
                <a:cubicBezTo>
                  <a:pt x="18808" y="17021"/>
                  <a:pt x="19113" y="17686"/>
                  <a:pt x="19131" y="18476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4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uccessful Workplace Communication</a:t>
            </a:r>
          </a:p>
        </p:txBody>
      </p:sp>
    </p:spTree>
    <p:extLst>
      <p:ext uri="{BB962C8B-B14F-4D97-AF65-F5344CB8AC3E}">
        <p14:creationId xmlns:p14="http://schemas.microsoft.com/office/powerpoint/2010/main" val="170029406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2274" name="Picture 2" descr="E:\00_Trainings\9.8.2.7_Weitere Fotos zur Nutzung\eyeem-27469380-108556004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61" r="23749"/>
          <a:stretch/>
        </p:blipFill>
        <p:spPr bwMode="auto">
          <a:xfrm>
            <a:off x="-36512" y="1340768"/>
            <a:ext cx="4475870" cy="5517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hteck 3"/>
          <p:cNvSpPr/>
          <p:nvPr/>
        </p:nvSpPr>
        <p:spPr>
          <a:xfrm>
            <a:off x="5989801" y="2402891"/>
            <a:ext cx="315419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de-DE" sz="3200" b="1" dirty="0">
                <a:solidFill>
                  <a:schemeClr val="tx2"/>
                </a:solidFill>
              </a:rPr>
              <a:t>Many thanks </a:t>
            </a:r>
            <a:br>
              <a:rPr lang="en-US" altLang="de-DE" sz="3200" b="1" dirty="0">
                <a:solidFill>
                  <a:schemeClr val="tx2"/>
                </a:solidFill>
              </a:rPr>
            </a:br>
            <a:r>
              <a:rPr lang="en-US" altLang="de-DE" sz="3200" b="1" dirty="0">
                <a:solidFill>
                  <a:schemeClr val="tx2"/>
                </a:solidFill>
              </a:rPr>
              <a:t>for your attention </a:t>
            </a:r>
            <a:endParaRPr lang="de-DE" sz="32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9273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908"/>
          <p:cNvSpPr/>
          <p:nvPr/>
        </p:nvSpPr>
        <p:spPr>
          <a:xfrm>
            <a:off x="3740723" y="1211048"/>
            <a:ext cx="1540923" cy="52892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40" h="21600" extrusionOk="0">
                <a:moveTo>
                  <a:pt x="14841" y="21600"/>
                </a:moveTo>
                <a:lnTo>
                  <a:pt x="11023" y="21600"/>
                </a:lnTo>
                <a:lnTo>
                  <a:pt x="11023" y="21010"/>
                </a:lnTo>
                <a:lnTo>
                  <a:pt x="14841" y="21010"/>
                </a:lnTo>
                <a:cubicBezTo>
                  <a:pt x="17396" y="21010"/>
                  <a:pt x="19496" y="20418"/>
                  <a:pt x="19542" y="19689"/>
                </a:cubicBezTo>
                <a:cubicBezTo>
                  <a:pt x="19558" y="19327"/>
                  <a:pt x="19087" y="18980"/>
                  <a:pt x="18213" y="18721"/>
                </a:cubicBezTo>
                <a:cubicBezTo>
                  <a:pt x="17339" y="18461"/>
                  <a:pt x="16170" y="18320"/>
                  <a:pt x="14929" y="18320"/>
                </a:cubicBezTo>
                <a:lnTo>
                  <a:pt x="6746" y="18320"/>
                </a:lnTo>
                <a:cubicBezTo>
                  <a:pt x="3110" y="18320"/>
                  <a:pt x="104" y="17466"/>
                  <a:pt x="32" y="16417"/>
                </a:cubicBezTo>
                <a:cubicBezTo>
                  <a:pt x="1" y="15892"/>
                  <a:pt x="673" y="15401"/>
                  <a:pt x="1925" y="15026"/>
                </a:cubicBezTo>
                <a:cubicBezTo>
                  <a:pt x="3182" y="14656"/>
                  <a:pt x="4863" y="14450"/>
                  <a:pt x="6642" y="14450"/>
                </a:cubicBezTo>
                <a:lnTo>
                  <a:pt x="14825" y="14450"/>
                </a:lnTo>
                <a:cubicBezTo>
                  <a:pt x="17380" y="14450"/>
                  <a:pt x="19480" y="13858"/>
                  <a:pt x="19527" y="13128"/>
                </a:cubicBezTo>
                <a:cubicBezTo>
                  <a:pt x="19542" y="12765"/>
                  <a:pt x="19072" y="12420"/>
                  <a:pt x="18198" y="12160"/>
                </a:cubicBezTo>
                <a:cubicBezTo>
                  <a:pt x="17323" y="11900"/>
                  <a:pt x="16154" y="11758"/>
                  <a:pt x="14913" y="11758"/>
                </a:cubicBezTo>
                <a:lnTo>
                  <a:pt x="6730" y="11758"/>
                </a:lnTo>
                <a:cubicBezTo>
                  <a:pt x="3094" y="11758"/>
                  <a:pt x="89" y="10907"/>
                  <a:pt x="17" y="9858"/>
                </a:cubicBezTo>
                <a:cubicBezTo>
                  <a:pt x="-14" y="9334"/>
                  <a:pt x="658" y="8843"/>
                  <a:pt x="1915" y="8468"/>
                </a:cubicBezTo>
                <a:cubicBezTo>
                  <a:pt x="3167" y="8096"/>
                  <a:pt x="4848" y="7892"/>
                  <a:pt x="6627" y="7892"/>
                </a:cubicBezTo>
                <a:lnTo>
                  <a:pt x="14810" y="7892"/>
                </a:lnTo>
                <a:cubicBezTo>
                  <a:pt x="17365" y="7892"/>
                  <a:pt x="19470" y="7299"/>
                  <a:pt x="19511" y="6569"/>
                </a:cubicBezTo>
                <a:cubicBezTo>
                  <a:pt x="19527" y="6206"/>
                  <a:pt x="19061" y="5860"/>
                  <a:pt x="18182" y="5600"/>
                </a:cubicBezTo>
                <a:cubicBezTo>
                  <a:pt x="17308" y="5340"/>
                  <a:pt x="16139" y="5200"/>
                  <a:pt x="14898" y="5200"/>
                </a:cubicBezTo>
                <a:lnTo>
                  <a:pt x="6715" y="5200"/>
                </a:lnTo>
                <a:cubicBezTo>
                  <a:pt x="3079" y="5200"/>
                  <a:pt x="73" y="4347"/>
                  <a:pt x="1" y="3297"/>
                </a:cubicBezTo>
                <a:cubicBezTo>
                  <a:pt x="-30" y="2772"/>
                  <a:pt x="642" y="2282"/>
                  <a:pt x="1899" y="1906"/>
                </a:cubicBezTo>
                <a:cubicBezTo>
                  <a:pt x="3151" y="1536"/>
                  <a:pt x="4832" y="1330"/>
                  <a:pt x="6611" y="1330"/>
                </a:cubicBezTo>
                <a:lnTo>
                  <a:pt x="8980" y="1330"/>
                </a:lnTo>
                <a:cubicBezTo>
                  <a:pt x="9648" y="1330"/>
                  <a:pt x="10206" y="1168"/>
                  <a:pt x="10206" y="972"/>
                </a:cubicBezTo>
                <a:lnTo>
                  <a:pt x="10206" y="0"/>
                </a:lnTo>
                <a:lnTo>
                  <a:pt x="12260" y="0"/>
                </a:lnTo>
                <a:lnTo>
                  <a:pt x="12260" y="972"/>
                </a:lnTo>
                <a:cubicBezTo>
                  <a:pt x="12260" y="1493"/>
                  <a:pt x="10817" y="1920"/>
                  <a:pt x="9022" y="1920"/>
                </a:cubicBezTo>
                <a:lnTo>
                  <a:pt x="6658" y="1920"/>
                </a:lnTo>
                <a:cubicBezTo>
                  <a:pt x="5417" y="1920"/>
                  <a:pt x="4248" y="2065"/>
                  <a:pt x="3373" y="2320"/>
                </a:cubicBezTo>
                <a:cubicBezTo>
                  <a:pt x="2494" y="2580"/>
                  <a:pt x="2029" y="2922"/>
                  <a:pt x="2044" y="3289"/>
                </a:cubicBezTo>
                <a:cubicBezTo>
                  <a:pt x="2086" y="4018"/>
                  <a:pt x="4191" y="4612"/>
                  <a:pt x="6746" y="4612"/>
                </a:cubicBezTo>
                <a:lnTo>
                  <a:pt x="14929" y="4612"/>
                </a:lnTo>
                <a:cubicBezTo>
                  <a:pt x="16723" y="4612"/>
                  <a:pt x="18394" y="4816"/>
                  <a:pt x="19646" y="5188"/>
                </a:cubicBezTo>
                <a:cubicBezTo>
                  <a:pt x="20903" y="5558"/>
                  <a:pt x="21570" y="6052"/>
                  <a:pt x="21539" y="6578"/>
                </a:cubicBezTo>
                <a:cubicBezTo>
                  <a:pt x="21482" y="7627"/>
                  <a:pt x="18477" y="8480"/>
                  <a:pt x="14825" y="8480"/>
                </a:cubicBezTo>
                <a:lnTo>
                  <a:pt x="6642" y="8480"/>
                </a:lnTo>
                <a:cubicBezTo>
                  <a:pt x="5401" y="8480"/>
                  <a:pt x="4232" y="8625"/>
                  <a:pt x="3358" y="8880"/>
                </a:cubicBezTo>
                <a:cubicBezTo>
                  <a:pt x="2484" y="9142"/>
                  <a:pt x="2013" y="9482"/>
                  <a:pt x="2029" y="9849"/>
                </a:cubicBezTo>
                <a:cubicBezTo>
                  <a:pt x="2075" y="10579"/>
                  <a:pt x="4175" y="11172"/>
                  <a:pt x="6730" y="11172"/>
                </a:cubicBezTo>
                <a:lnTo>
                  <a:pt x="14913" y="11172"/>
                </a:lnTo>
                <a:cubicBezTo>
                  <a:pt x="16708" y="11172"/>
                  <a:pt x="18379" y="11376"/>
                  <a:pt x="19630" y="11746"/>
                </a:cubicBezTo>
                <a:cubicBezTo>
                  <a:pt x="20887" y="12118"/>
                  <a:pt x="21560" y="12612"/>
                  <a:pt x="21529" y="13137"/>
                </a:cubicBezTo>
                <a:cubicBezTo>
                  <a:pt x="21472" y="14186"/>
                  <a:pt x="18461" y="15040"/>
                  <a:pt x="14810" y="15040"/>
                </a:cubicBezTo>
                <a:lnTo>
                  <a:pt x="6627" y="15040"/>
                </a:lnTo>
                <a:cubicBezTo>
                  <a:pt x="5386" y="15040"/>
                  <a:pt x="4222" y="15185"/>
                  <a:pt x="3342" y="15440"/>
                </a:cubicBezTo>
                <a:cubicBezTo>
                  <a:pt x="2468" y="15700"/>
                  <a:pt x="2003" y="16042"/>
                  <a:pt x="2013" y="16408"/>
                </a:cubicBezTo>
                <a:cubicBezTo>
                  <a:pt x="2060" y="17138"/>
                  <a:pt x="4160" y="17730"/>
                  <a:pt x="6715" y="17730"/>
                </a:cubicBezTo>
                <a:lnTo>
                  <a:pt x="14898" y="17730"/>
                </a:lnTo>
                <a:cubicBezTo>
                  <a:pt x="16692" y="17730"/>
                  <a:pt x="18358" y="17936"/>
                  <a:pt x="19615" y="18306"/>
                </a:cubicBezTo>
                <a:cubicBezTo>
                  <a:pt x="20872" y="18678"/>
                  <a:pt x="21539" y="19172"/>
                  <a:pt x="21513" y="19697"/>
                </a:cubicBezTo>
                <a:cubicBezTo>
                  <a:pt x="21498" y="20746"/>
                  <a:pt x="18477" y="21600"/>
                  <a:pt x="14841" y="21600"/>
                </a:cubicBezTo>
              </a:path>
            </a:pathLst>
          </a:custGeom>
          <a:solidFill>
            <a:srgbClr val="DED9D7"/>
          </a:solidFill>
          <a:ln w="3175">
            <a:solidFill>
              <a:schemeClr val="bg1">
                <a:lumMod val="50000"/>
              </a:schemeClr>
            </a:solidFill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55" name="Shape 914"/>
          <p:cNvSpPr/>
          <p:nvPr/>
        </p:nvSpPr>
        <p:spPr>
          <a:xfrm>
            <a:off x="2614503" y="1812181"/>
            <a:ext cx="1359674" cy="78766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l"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800">
                <a:solidFill>
                  <a:srgbClr val="F8AD94"/>
                </a:solidFill>
                <a:latin typeface="Roboto Black"/>
                <a:ea typeface="Roboto Black"/>
                <a:cs typeface="Roboto Black"/>
                <a:sym typeface="Roboto Black"/>
              </a:defRPr>
            </a:lvl1pPr>
          </a:lstStyle>
          <a:p>
            <a:r>
              <a:rPr lang="de-DE" b="1" dirty="0" smtClean="0">
                <a:solidFill>
                  <a:schemeClr val="accent6">
                    <a:lumMod val="75000"/>
                  </a:schemeClr>
                </a:solidFill>
              </a:rPr>
              <a:t>Problem Analysis</a:t>
            </a:r>
            <a:endParaRPr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58" name="Shape 917"/>
          <p:cNvSpPr/>
          <p:nvPr/>
        </p:nvSpPr>
        <p:spPr>
          <a:xfrm>
            <a:off x="3697804" y="1888509"/>
            <a:ext cx="233587" cy="2344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504" h="20446" extrusionOk="0">
                <a:moveTo>
                  <a:pt x="17481" y="3027"/>
                </a:moveTo>
                <a:cubicBezTo>
                  <a:pt x="19590" y="5126"/>
                  <a:pt x="20595" y="8031"/>
                  <a:pt x="20498" y="10743"/>
                </a:cubicBezTo>
                <a:cubicBezTo>
                  <a:pt x="20433" y="13133"/>
                  <a:pt x="19395" y="15554"/>
                  <a:pt x="17481" y="17395"/>
                </a:cubicBezTo>
                <a:cubicBezTo>
                  <a:pt x="15568" y="19203"/>
                  <a:pt x="13265" y="20236"/>
                  <a:pt x="10800" y="20430"/>
                </a:cubicBezTo>
                <a:cubicBezTo>
                  <a:pt x="7979" y="20591"/>
                  <a:pt x="5125" y="19590"/>
                  <a:pt x="3017" y="17395"/>
                </a:cubicBezTo>
                <a:cubicBezTo>
                  <a:pt x="-1005" y="13391"/>
                  <a:pt x="-1005" y="7030"/>
                  <a:pt x="3017" y="3027"/>
                </a:cubicBezTo>
                <a:cubicBezTo>
                  <a:pt x="6973" y="-1009"/>
                  <a:pt x="13460" y="-1009"/>
                  <a:pt x="17481" y="3027"/>
                </a:cubicBezTo>
              </a:path>
            </a:pathLst>
          </a:custGeom>
          <a:solidFill>
            <a:schemeClr val="accent6">
              <a:lumMod val="75000"/>
            </a:schemeClr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68" name="Shape 927"/>
          <p:cNvSpPr/>
          <p:nvPr/>
        </p:nvSpPr>
        <p:spPr>
          <a:xfrm>
            <a:off x="4409363" y="1052736"/>
            <a:ext cx="278718" cy="28034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800"/>
                  <a:pt x="21171" y="14457"/>
                  <a:pt x="20170" y="16200"/>
                </a:cubicBezTo>
                <a:cubicBezTo>
                  <a:pt x="19168" y="17914"/>
                  <a:pt x="17938" y="19171"/>
                  <a:pt x="16193" y="20171"/>
                </a:cubicBezTo>
                <a:cubicBezTo>
                  <a:pt x="14476" y="21143"/>
                  <a:pt x="12788" y="21600"/>
                  <a:pt x="10814" y="21600"/>
                </a:cubicBezTo>
                <a:cubicBezTo>
                  <a:pt x="8812" y="21600"/>
                  <a:pt x="7124" y="21143"/>
                  <a:pt x="5407" y="20171"/>
                </a:cubicBezTo>
                <a:cubicBezTo>
                  <a:pt x="3691" y="19171"/>
                  <a:pt x="2460" y="17914"/>
                  <a:pt x="1459" y="16200"/>
                </a:cubicBezTo>
                <a:cubicBezTo>
                  <a:pt x="458" y="14457"/>
                  <a:pt x="0" y="12771"/>
                  <a:pt x="0" y="10800"/>
                </a:cubicBezTo>
                <a:cubicBezTo>
                  <a:pt x="0" y="8800"/>
                  <a:pt x="458" y="7114"/>
                  <a:pt x="1459" y="5400"/>
                </a:cubicBezTo>
                <a:cubicBezTo>
                  <a:pt x="2460" y="3686"/>
                  <a:pt x="3691" y="2429"/>
                  <a:pt x="5407" y="1457"/>
                </a:cubicBezTo>
                <a:cubicBezTo>
                  <a:pt x="7124" y="457"/>
                  <a:pt x="8840" y="0"/>
                  <a:pt x="10814" y="0"/>
                </a:cubicBezTo>
                <a:cubicBezTo>
                  <a:pt x="12788" y="0"/>
                  <a:pt x="14476" y="457"/>
                  <a:pt x="16193" y="1457"/>
                </a:cubicBezTo>
                <a:cubicBezTo>
                  <a:pt x="17938" y="2429"/>
                  <a:pt x="19168" y="3686"/>
                  <a:pt x="20170" y="5400"/>
                </a:cubicBezTo>
                <a:cubicBezTo>
                  <a:pt x="21171" y="7114"/>
                  <a:pt x="21600" y="8829"/>
                  <a:pt x="21600" y="10800"/>
                </a:cubicBezTo>
              </a:path>
            </a:pathLst>
          </a:custGeom>
          <a:solidFill>
            <a:srgbClr val="7C6535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3" name="Shape 932"/>
          <p:cNvSpPr/>
          <p:nvPr/>
        </p:nvSpPr>
        <p:spPr>
          <a:xfrm>
            <a:off x="1266215" y="2222940"/>
            <a:ext cx="72187" cy="763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338" h="21600" extrusionOk="0">
                <a:moveTo>
                  <a:pt x="18530" y="2097"/>
                </a:moveTo>
                <a:cubicBezTo>
                  <a:pt x="16337" y="629"/>
                  <a:pt x="13596" y="0"/>
                  <a:pt x="10526" y="0"/>
                </a:cubicBezTo>
                <a:cubicBezTo>
                  <a:pt x="8004" y="0"/>
                  <a:pt x="5811" y="629"/>
                  <a:pt x="4276" y="1468"/>
                </a:cubicBezTo>
                <a:cubicBezTo>
                  <a:pt x="1864" y="3041"/>
                  <a:pt x="548" y="5348"/>
                  <a:pt x="0" y="8913"/>
                </a:cubicBezTo>
                <a:cubicBezTo>
                  <a:pt x="0" y="9227"/>
                  <a:pt x="0" y="9751"/>
                  <a:pt x="0" y="9751"/>
                </a:cubicBezTo>
                <a:cubicBezTo>
                  <a:pt x="219" y="11324"/>
                  <a:pt x="1535" y="12478"/>
                  <a:pt x="3070" y="12478"/>
                </a:cubicBezTo>
                <a:cubicBezTo>
                  <a:pt x="4605" y="12478"/>
                  <a:pt x="5811" y="11324"/>
                  <a:pt x="6140" y="9751"/>
                </a:cubicBezTo>
                <a:lnTo>
                  <a:pt x="6140" y="9542"/>
                </a:lnTo>
                <a:cubicBezTo>
                  <a:pt x="6140" y="8598"/>
                  <a:pt x="6469" y="7445"/>
                  <a:pt x="7127" y="6501"/>
                </a:cubicBezTo>
                <a:cubicBezTo>
                  <a:pt x="7675" y="5348"/>
                  <a:pt x="8881" y="5033"/>
                  <a:pt x="10526" y="5033"/>
                </a:cubicBezTo>
                <a:cubicBezTo>
                  <a:pt x="12061" y="5033"/>
                  <a:pt x="13267" y="5348"/>
                  <a:pt x="13925" y="6291"/>
                </a:cubicBezTo>
                <a:cubicBezTo>
                  <a:pt x="14473" y="7130"/>
                  <a:pt x="14802" y="8074"/>
                  <a:pt x="14802" y="9227"/>
                </a:cubicBezTo>
                <a:cubicBezTo>
                  <a:pt x="14802" y="10066"/>
                  <a:pt x="14473" y="11010"/>
                  <a:pt x="13925" y="11534"/>
                </a:cubicBezTo>
                <a:cubicBezTo>
                  <a:pt x="13596" y="11849"/>
                  <a:pt x="13267" y="12478"/>
                  <a:pt x="12609" y="12792"/>
                </a:cubicBezTo>
                <a:lnTo>
                  <a:pt x="11074" y="13946"/>
                </a:lnTo>
                <a:cubicBezTo>
                  <a:pt x="9539" y="15099"/>
                  <a:pt x="8662" y="15938"/>
                  <a:pt x="8333" y="16882"/>
                </a:cubicBezTo>
                <a:cubicBezTo>
                  <a:pt x="8004" y="17720"/>
                  <a:pt x="7675" y="19293"/>
                  <a:pt x="7675" y="21600"/>
                </a:cubicBezTo>
                <a:lnTo>
                  <a:pt x="13596" y="21600"/>
                </a:lnTo>
                <a:cubicBezTo>
                  <a:pt x="13596" y="20447"/>
                  <a:pt x="13596" y="19817"/>
                  <a:pt x="13925" y="19293"/>
                </a:cubicBezTo>
                <a:cubicBezTo>
                  <a:pt x="14144" y="18350"/>
                  <a:pt x="14802" y="17825"/>
                  <a:pt x="15460" y="17196"/>
                </a:cubicBezTo>
                <a:lnTo>
                  <a:pt x="16995" y="16043"/>
                </a:lnTo>
                <a:cubicBezTo>
                  <a:pt x="18530" y="14784"/>
                  <a:pt x="19407" y="13946"/>
                  <a:pt x="20065" y="13107"/>
                </a:cubicBezTo>
                <a:cubicBezTo>
                  <a:pt x="21052" y="11849"/>
                  <a:pt x="21271" y="10381"/>
                  <a:pt x="21271" y="8598"/>
                </a:cubicBezTo>
                <a:cubicBezTo>
                  <a:pt x="21600" y="5662"/>
                  <a:pt x="20723" y="3565"/>
                  <a:pt x="18530" y="2097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4" name="Shape 933"/>
          <p:cNvSpPr/>
          <p:nvPr/>
        </p:nvSpPr>
        <p:spPr>
          <a:xfrm>
            <a:off x="1290695" y="2307810"/>
            <a:ext cx="27371" cy="273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948"/>
                </a:moveTo>
                <a:cubicBezTo>
                  <a:pt x="21600" y="13019"/>
                  <a:pt x="21008" y="14499"/>
                  <a:pt x="20121" y="16274"/>
                </a:cubicBezTo>
                <a:cubicBezTo>
                  <a:pt x="19233" y="18049"/>
                  <a:pt x="17753" y="19233"/>
                  <a:pt x="16274" y="20416"/>
                </a:cubicBezTo>
                <a:cubicBezTo>
                  <a:pt x="14499" y="21304"/>
                  <a:pt x="12723" y="21600"/>
                  <a:pt x="10652" y="21600"/>
                </a:cubicBezTo>
                <a:cubicBezTo>
                  <a:pt x="8581" y="21600"/>
                  <a:pt x="7101" y="21304"/>
                  <a:pt x="5326" y="20416"/>
                </a:cubicBezTo>
                <a:cubicBezTo>
                  <a:pt x="3551" y="19233"/>
                  <a:pt x="2071" y="18049"/>
                  <a:pt x="1184" y="16274"/>
                </a:cubicBezTo>
                <a:cubicBezTo>
                  <a:pt x="0" y="14499"/>
                  <a:pt x="0" y="13019"/>
                  <a:pt x="0" y="10948"/>
                </a:cubicBezTo>
                <a:cubicBezTo>
                  <a:pt x="0" y="8877"/>
                  <a:pt x="0" y="6805"/>
                  <a:pt x="1184" y="5326"/>
                </a:cubicBezTo>
                <a:cubicBezTo>
                  <a:pt x="2071" y="3551"/>
                  <a:pt x="3551" y="2367"/>
                  <a:pt x="5326" y="1479"/>
                </a:cubicBezTo>
                <a:cubicBezTo>
                  <a:pt x="7101" y="592"/>
                  <a:pt x="8581" y="0"/>
                  <a:pt x="10652" y="0"/>
                </a:cubicBezTo>
                <a:cubicBezTo>
                  <a:pt x="12723" y="0"/>
                  <a:pt x="14499" y="592"/>
                  <a:pt x="16274" y="1479"/>
                </a:cubicBezTo>
                <a:cubicBezTo>
                  <a:pt x="17753" y="2367"/>
                  <a:pt x="19233" y="3551"/>
                  <a:pt x="20121" y="5326"/>
                </a:cubicBezTo>
                <a:cubicBezTo>
                  <a:pt x="21008" y="6805"/>
                  <a:pt x="21600" y="8877"/>
                  <a:pt x="21600" y="10948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pic>
        <p:nvPicPr>
          <p:cNvPr id="24" name="Picture 5" descr="C:\Users\hdagher\Desktop\Screen sh\8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3062" y="1412776"/>
            <a:ext cx="1048309" cy="732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Grafik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220" y="2063720"/>
            <a:ext cx="1156321" cy="813785"/>
          </a:xfrm>
          <a:prstGeom prst="rect">
            <a:avLst/>
          </a:prstGeom>
        </p:spPr>
      </p:pic>
      <p:sp>
        <p:nvSpPr>
          <p:cNvPr id="31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Content of the entrepreneurship training </a:t>
            </a:r>
          </a:p>
        </p:txBody>
      </p:sp>
      <p:sp>
        <p:nvSpPr>
          <p:cNvPr id="29" name="Shape 928"/>
          <p:cNvSpPr/>
          <p:nvPr/>
        </p:nvSpPr>
        <p:spPr>
          <a:xfrm>
            <a:off x="4037248" y="6350485"/>
            <a:ext cx="499049" cy="49904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629" y="21600"/>
                </a:moveTo>
                <a:lnTo>
                  <a:pt x="0" y="21600"/>
                </a:lnTo>
                <a:cubicBezTo>
                  <a:pt x="0" y="9671"/>
                  <a:pt x="9671" y="0"/>
                  <a:pt x="21600" y="0"/>
                </a:cubicBezTo>
                <a:lnTo>
                  <a:pt x="21600" y="6645"/>
                </a:lnTo>
                <a:cubicBezTo>
                  <a:pt x="13370" y="6693"/>
                  <a:pt x="6629" y="13386"/>
                  <a:pt x="6629" y="21600"/>
                </a:cubicBezTo>
              </a:path>
            </a:pathLst>
          </a:custGeom>
          <a:solidFill>
            <a:srgbClr val="DED9D7"/>
          </a:solidFill>
          <a:ln w="3175">
            <a:solidFill>
              <a:schemeClr val="bg1">
                <a:lumMod val="50000"/>
              </a:schemeClr>
            </a:solidFill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626131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908"/>
          <p:cNvSpPr/>
          <p:nvPr/>
        </p:nvSpPr>
        <p:spPr>
          <a:xfrm>
            <a:off x="3740723" y="1211048"/>
            <a:ext cx="1540923" cy="52892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40" h="21600" extrusionOk="0">
                <a:moveTo>
                  <a:pt x="14841" y="21600"/>
                </a:moveTo>
                <a:lnTo>
                  <a:pt x="11023" y="21600"/>
                </a:lnTo>
                <a:lnTo>
                  <a:pt x="11023" y="21010"/>
                </a:lnTo>
                <a:lnTo>
                  <a:pt x="14841" y="21010"/>
                </a:lnTo>
                <a:cubicBezTo>
                  <a:pt x="17396" y="21010"/>
                  <a:pt x="19496" y="20418"/>
                  <a:pt x="19542" y="19689"/>
                </a:cubicBezTo>
                <a:cubicBezTo>
                  <a:pt x="19558" y="19327"/>
                  <a:pt x="19087" y="18980"/>
                  <a:pt x="18213" y="18721"/>
                </a:cubicBezTo>
                <a:cubicBezTo>
                  <a:pt x="17339" y="18461"/>
                  <a:pt x="16170" y="18320"/>
                  <a:pt x="14929" y="18320"/>
                </a:cubicBezTo>
                <a:lnTo>
                  <a:pt x="6746" y="18320"/>
                </a:lnTo>
                <a:cubicBezTo>
                  <a:pt x="3110" y="18320"/>
                  <a:pt x="104" y="17466"/>
                  <a:pt x="32" y="16417"/>
                </a:cubicBezTo>
                <a:cubicBezTo>
                  <a:pt x="1" y="15892"/>
                  <a:pt x="673" y="15401"/>
                  <a:pt x="1925" y="15026"/>
                </a:cubicBezTo>
                <a:cubicBezTo>
                  <a:pt x="3182" y="14656"/>
                  <a:pt x="4863" y="14450"/>
                  <a:pt x="6642" y="14450"/>
                </a:cubicBezTo>
                <a:lnTo>
                  <a:pt x="14825" y="14450"/>
                </a:lnTo>
                <a:cubicBezTo>
                  <a:pt x="17380" y="14450"/>
                  <a:pt x="19480" y="13858"/>
                  <a:pt x="19527" y="13128"/>
                </a:cubicBezTo>
                <a:cubicBezTo>
                  <a:pt x="19542" y="12765"/>
                  <a:pt x="19072" y="12420"/>
                  <a:pt x="18198" y="12160"/>
                </a:cubicBezTo>
                <a:cubicBezTo>
                  <a:pt x="17323" y="11900"/>
                  <a:pt x="16154" y="11758"/>
                  <a:pt x="14913" y="11758"/>
                </a:cubicBezTo>
                <a:lnTo>
                  <a:pt x="6730" y="11758"/>
                </a:lnTo>
                <a:cubicBezTo>
                  <a:pt x="3094" y="11758"/>
                  <a:pt x="89" y="10907"/>
                  <a:pt x="17" y="9858"/>
                </a:cubicBezTo>
                <a:cubicBezTo>
                  <a:pt x="-14" y="9334"/>
                  <a:pt x="658" y="8843"/>
                  <a:pt x="1915" y="8468"/>
                </a:cubicBezTo>
                <a:cubicBezTo>
                  <a:pt x="3167" y="8096"/>
                  <a:pt x="4848" y="7892"/>
                  <a:pt x="6627" y="7892"/>
                </a:cubicBezTo>
                <a:lnTo>
                  <a:pt x="14810" y="7892"/>
                </a:lnTo>
                <a:cubicBezTo>
                  <a:pt x="17365" y="7892"/>
                  <a:pt x="19470" y="7299"/>
                  <a:pt x="19511" y="6569"/>
                </a:cubicBezTo>
                <a:cubicBezTo>
                  <a:pt x="19527" y="6206"/>
                  <a:pt x="19061" y="5860"/>
                  <a:pt x="18182" y="5600"/>
                </a:cubicBezTo>
                <a:cubicBezTo>
                  <a:pt x="17308" y="5340"/>
                  <a:pt x="16139" y="5200"/>
                  <a:pt x="14898" y="5200"/>
                </a:cubicBezTo>
                <a:lnTo>
                  <a:pt x="6715" y="5200"/>
                </a:lnTo>
                <a:cubicBezTo>
                  <a:pt x="3079" y="5200"/>
                  <a:pt x="73" y="4347"/>
                  <a:pt x="1" y="3297"/>
                </a:cubicBezTo>
                <a:cubicBezTo>
                  <a:pt x="-30" y="2772"/>
                  <a:pt x="642" y="2282"/>
                  <a:pt x="1899" y="1906"/>
                </a:cubicBezTo>
                <a:cubicBezTo>
                  <a:pt x="3151" y="1536"/>
                  <a:pt x="4832" y="1330"/>
                  <a:pt x="6611" y="1330"/>
                </a:cubicBezTo>
                <a:lnTo>
                  <a:pt x="8980" y="1330"/>
                </a:lnTo>
                <a:cubicBezTo>
                  <a:pt x="9648" y="1330"/>
                  <a:pt x="10206" y="1168"/>
                  <a:pt x="10206" y="972"/>
                </a:cubicBezTo>
                <a:lnTo>
                  <a:pt x="10206" y="0"/>
                </a:lnTo>
                <a:lnTo>
                  <a:pt x="12260" y="0"/>
                </a:lnTo>
                <a:lnTo>
                  <a:pt x="12260" y="972"/>
                </a:lnTo>
                <a:cubicBezTo>
                  <a:pt x="12260" y="1493"/>
                  <a:pt x="10817" y="1920"/>
                  <a:pt x="9022" y="1920"/>
                </a:cubicBezTo>
                <a:lnTo>
                  <a:pt x="6658" y="1920"/>
                </a:lnTo>
                <a:cubicBezTo>
                  <a:pt x="5417" y="1920"/>
                  <a:pt x="4248" y="2065"/>
                  <a:pt x="3373" y="2320"/>
                </a:cubicBezTo>
                <a:cubicBezTo>
                  <a:pt x="2494" y="2580"/>
                  <a:pt x="2029" y="2922"/>
                  <a:pt x="2044" y="3289"/>
                </a:cubicBezTo>
                <a:cubicBezTo>
                  <a:pt x="2086" y="4018"/>
                  <a:pt x="4191" y="4612"/>
                  <a:pt x="6746" y="4612"/>
                </a:cubicBezTo>
                <a:lnTo>
                  <a:pt x="14929" y="4612"/>
                </a:lnTo>
                <a:cubicBezTo>
                  <a:pt x="16723" y="4612"/>
                  <a:pt x="18394" y="4816"/>
                  <a:pt x="19646" y="5188"/>
                </a:cubicBezTo>
                <a:cubicBezTo>
                  <a:pt x="20903" y="5558"/>
                  <a:pt x="21570" y="6052"/>
                  <a:pt x="21539" y="6578"/>
                </a:cubicBezTo>
                <a:cubicBezTo>
                  <a:pt x="21482" y="7627"/>
                  <a:pt x="18477" y="8480"/>
                  <a:pt x="14825" y="8480"/>
                </a:cubicBezTo>
                <a:lnTo>
                  <a:pt x="6642" y="8480"/>
                </a:lnTo>
                <a:cubicBezTo>
                  <a:pt x="5401" y="8480"/>
                  <a:pt x="4232" y="8625"/>
                  <a:pt x="3358" y="8880"/>
                </a:cubicBezTo>
                <a:cubicBezTo>
                  <a:pt x="2484" y="9142"/>
                  <a:pt x="2013" y="9482"/>
                  <a:pt x="2029" y="9849"/>
                </a:cubicBezTo>
                <a:cubicBezTo>
                  <a:pt x="2075" y="10579"/>
                  <a:pt x="4175" y="11172"/>
                  <a:pt x="6730" y="11172"/>
                </a:cubicBezTo>
                <a:lnTo>
                  <a:pt x="14913" y="11172"/>
                </a:lnTo>
                <a:cubicBezTo>
                  <a:pt x="16708" y="11172"/>
                  <a:pt x="18379" y="11376"/>
                  <a:pt x="19630" y="11746"/>
                </a:cubicBezTo>
                <a:cubicBezTo>
                  <a:pt x="20887" y="12118"/>
                  <a:pt x="21560" y="12612"/>
                  <a:pt x="21529" y="13137"/>
                </a:cubicBezTo>
                <a:cubicBezTo>
                  <a:pt x="21472" y="14186"/>
                  <a:pt x="18461" y="15040"/>
                  <a:pt x="14810" y="15040"/>
                </a:cubicBezTo>
                <a:lnTo>
                  <a:pt x="6627" y="15040"/>
                </a:lnTo>
                <a:cubicBezTo>
                  <a:pt x="5386" y="15040"/>
                  <a:pt x="4222" y="15185"/>
                  <a:pt x="3342" y="15440"/>
                </a:cubicBezTo>
                <a:cubicBezTo>
                  <a:pt x="2468" y="15700"/>
                  <a:pt x="2003" y="16042"/>
                  <a:pt x="2013" y="16408"/>
                </a:cubicBezTo>
                <a:cubicBezTo>
                  <a:pt x="2060" y="17138"/>
                  <a:pt x="4160" y="17730"/>
                  <a:pt x="6715" y="17730"/>
                </a:cubicBezTo>
                <a:lnTo>
                  <a:pt x="14898" y="17730"/>
                </a:lnTo>
                <a:cubicBezTo>
                  <a:pt x="16692" y="17730"/>
                  <a:pt x="18358" y="17936"/>
                  <a:pt x="19615" y="18306"/>
                </a:cubicBezTo>
                <a:cubicBezTo>
                  <a:pt x="20872" y="18678"/>
                  <a:pt x="21539" y="19172"/>
                  <a:pt x="21513" y="19697"/>
                </a:cubicBezTo>
                <a:cubicBezTo>
                  <a:pt x="21498" y="20746"/>
                  <a:pt x="18477" y="21600"/>
                  <a:pt x="14841" y="21600"/>
                </a:cubicBezTo>
              </a:path>
            </a:pathLst>
          </a:custGeom>
          <a:solidFill>
            <a:srgbClr val="DED9D7"/>
          </a:solidFill>
          <a:ln w="3175">
            <a:solidFill>
              <a:schemeClr val="bg1">
                <a:lumMod val="50000"/>
              </a:schemeClr>
            </a:solidFill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50" name="Shape 909"/>
          <p:cNvSpPr/>
          <p:nvPr/>
        </p:nvSpPr>
        <p:spPr>
          <a:xfrm>
            <a:off x="5292700" y="2690719"/>
            <a:ext cx="1162426" cy="21242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r"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800">
                <a:solidFill>
                  <a:srgbClr val="F67A83"/>
                </a:solidFill>
                <a:latin typeface="Roboto Black"/>
                <a:ea typeface="Roboto Black"/>
                <a:cs typeface="Roboto Black"/>
                <a:sym typeface="Roboto Black"/>
              </a:defRPr>
            </a:lvl1pPr>
          </a:lstStyle>
          <a:p>
            <a:r>
              <a:rPr lang="de-DE" b="1" dirty="0" smtClean="0"/>
              <a:t>Customer Demand Profile</a:t>
            </a:r>
            <a:endParaRPr lang="de-DE" b="1" dirty="0"/>
          </a:p>
          <a:p>
            <a:endParaRPr dirty="0"/>
          </a:p>
        </p:txBody>
      </p:sp>
      <p:sp>
        <p:nvSpPr>
          <p:cNvPr id="55" name="Shape 914"/>
          <p:cNvSpPr/>
          <p:nvPr/>
        </p:nvSpPr>
        <p:spPr>
          <a:xfrm>
            <a:off x="2614503" y="1812181"/>
            <a:ext cx="1359674" cy="78766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l"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800">
                <a:solidFill>
                  <a:srgbClr val="F8AD94"/>
                </a:solidFill>
                <a:latin typeface="Roboto Black"/>
                <a:ea typeface="Roboto Black"/>
                <a:cs typeface="Roboto Black"/>
                <a:sym typeface="Roboto Black"/>
              </a:defRPr>
            </a:lvl1pPr>
          </a:lstStyle>
          <a:p>
            <a:r>
              <a:rPr lang="de-DE" b="1" dirty="0" smtClean="0">
                <a:solidFill>
                  <a:schemeClr val="accent6">
                    <a:lumMod val="75000"/>
                  </a:schemeClr>
                </a:solidFill>
              </a:rPr>
              <a:t>Problem Analysis</a:t>
            </a:r>
            <a:endParaRPr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58" name="Shape 917"/>
          <p:cNvSpPr/>
          <p:nvPr/>
        </p:nvSpPr>
        <p:spPr>
          <a:xfrm>
            <a:off x="3697804" y="1888509"/>
            <a:ext cx="233587" cy="2344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504" h="20446" extrusionOk="0">
                <a:moveTo>
                  <a:pt x="17481" y="3027"/>
                </a:moveTo>
                <a:cubicBezTo>
                  <a:pt x="19590" y="5126"/>
                  <a:pt x="20595" y="8031"/>
                  <a:pt x="20498" y="10743"/>
                </a:cubicBezTo>
                <a:cubicBezTo>
                  <a:pt x="20433" y="13133"/>
                  <a:pt x="19395" y="15554"/>
                  <a:pt x="17481" y="17395"/>
                </a:cubicBezTo>
                <a:cubicBezTo>
                  <a:pt x="15568" y="19203"/>
                  <a:pt x="13265" y="20236"/>
                  <a:pt x="10800" y="20430"/>
                </a:cubicBezTo>
                <a:cubicBezTo>
                  <a:pt x="7979" y="20591"/>
                  <a:pt x="5125" y="19590"/>
                  <a:pt x="3017" y="17395"/>
                </a:cubicBezTo>
                <a:cubicBezTo>
                  <a:pt x="-1005" y="13391"/>
                  <a:pt x="-1005" y="7030"/>
                  <a:pt x="3017" y="3027"/>
                </a:cubicBezTo>
                <a:cubicBezTo>
                  <a:pt x="6973" y="-1009"/>
                  <a:pt x="13460" y="-1009"/>
                  <a:pt x="17481" y="3027"/>
                </a:cubicBezTo>
              </a:path>
            </a:pathLst>
          </a:custGeom>
          <a:solidFill>
            <a:schemeClr val="accent6">
              <a:lumMod val="75000"/>
            </a:schemeClr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59" name="Shape 918"/>
          <p:cNvSpPr/>
          <p:nvPr/>
        </p:nvSpPr>
        <p:spPr>
          <a:xfrm>
            <a:off x="5093912" y="2691664"/>
            <a:ext cx="233825" cy="23295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525" h="20448" extrusionOk="0">
                <a:moveTo>
                  <a:pt x="3052" y="17505"/>
                </a:moveTo>
                <a:cubicBezTo>
                  <a:pt x="943" y="15397"/>
                  <a:pt x="-62" y="12445"/>
                  <a:pt x="3" y="9721"/>
                </a:cubicBezTo>
                <a:cubicBezTo>
                  <a:pt x="100" y="7321"/>
                  <a:pt x="1138" y="4856"/>
                  <a:pt x="3052" y="3040"/>
                </a:cubicBezTo>
                <a:cubicBezTo>
                  <a:pt x="4997" y="1191"/>
                  <a:pt x="7235" y="186"/>
                  <a:pt x="9733" y="24"/>
                </a:cubicBezTo>
                <a:cubicBezTo>
                  <a:pt x="12554" y="-171"/>
                  <a:pt x="15408" y="834"/>
                  <a:pt x="17484" y="3040"/>
                </a:cubicBezTo>
                <a:cubicBezTo>
                  <a:pt x="21538" y="7061"/>
                  <a:pt x="21538" y="13451"/>
                  <a:pt x="17484" y="17505"/>
                </a:cubicBezTo>
                <a:cubicBezTo>
                  <a:pt x="13560" y="21429"/>
                  <a:pt x="7073" y="21429"/>
                  <a:pt x="3052" y="17505"/>
                </a:cubicBezTo>
              </a:path>
            </a:pathLst>
          </a:custGeom>
          <a:solidFill>
            <a:srgbClr val="F67A83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Roboto Regular"/>
                <a:ea typeface="Roboto Regular"/>
                <a:cs typeface="Roboto Regular"/>
                <a:sym typeface="Roboto Regular"/>
              </a:defRPr>
            </a:pPr>
            <a:endParaRPr/>
          </a:p>
        </p:txBody>
      </p:sp>
      <p:sp>
        <p:nvSpPr>
          <p:cNvPr id="68" name="Shape 927"/>
          <p:cNvSpPr/>
          <p:nvPr/>
        </p:nvSpPr>
        <p:spPr>
          <a:xfrm>
            <a:off x="4409363" y="1052736"/>
            <a:ext cx="278718" cy="28034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800"/>
                  <a:pt x="21171" y="14457"/>
                  <a:pt x="20170" y="16200"/>
                </a:cubicBezTo>
                <a:cubicBezTo>
                  <a:pt x="19168" y="17914"/>
                  <a:pt x="17938" y="19171"/>
                  <a:pt x="16193" y="20171"/>
                </a:cubicBezTo>
                <a:cubicBezTo>
                  <a:pt x="14476" y="21143"/>
                  <a:pt x="12788" y="21600"/>
                  <a:pt x="10814" y="21600"/>
                </a:cubicBezTo>
                <a:cubicBezTo>
                  <a:pt x="8812" y="21600"/>
                  <a:pt x="7124" y="21143"/>
                  <a:pt x="5407" y="20171"/>
                </a:cubicBezTo>
                <a:cubicBezTo>
                  <a:pt x="3691" y="19171"/>
                  <a:pt x="2460" y="17914"/>
                  <a:pt x="1459" y="16200"/>
                </a:cubicBezTo>
                <a:cubicBezTo>
                  <a:pt x="458" y="14457"/>
                  <a:pt x="0" y="12771"/>
                  <a:pt x="0" y="10800"/>
                </a:cubicBezTo>
                <a:cubicBezTo>
                  <a:pt x="0" y="8800"/>
                  <a:pt x="458" y="7114"/>
                  <a:pt x="1459" y="5400"/>
                </a:cubicBezTo>
                <a:cubicBezTo>
                  <a:pt x="2460" y="3686"/>
                  <a:pt x="3691" y="2429"/>
                  <a:pt x="5407" y="1457"/>
                </a:cubicBezTo>
                <a:cubicBezTo>
                  <a:pt x="7124" y="457"/>
                  <a:pt x="8840" y="0"/>
                  <a:pt x="10814" y="0"/>
                </a:cubicBezTo>
                <a:cubicBezTo>
                  <a:pt x="12788" y="0"/>
                  <a:pt x="14476" y="457"/>
                  <a:pt x="16193" y="1457"/>
                </a:cubicBezTo>
                <a:cubicBezTo>
                  <a:pt x="17938" y="2429"/>
                  <a:pt x="19168" y="3686"/>
                  <a:pt x="20170" y="5400"/>
                </a:cubicBezTo>
                <a:cubicBezTo>
                  <a:pt x="21171" y="7114"/>
                  <a:pt x="21600" y="8829"/>
                  <a:pt x="21600" y="10800"/>
                </a:cubicBezTo>
              </a:path>
            </a:pathLst>
          </a:custGeom>
          <a:solidFill>
            <a:srgbClr val="7C6535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3" name="Shape 932"/>
          <p:cNvSpPr/>
          <p:nvPr/>
        </p:nvSpPr>
        <p:spPr>
          <a:xfrm>
            <a:off x="1266215" y="2222940"/>
            <a:ext cx="72187" cy="763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338" h="21600" extrusionOk="0">
                <a:moveTo>
                  <a:pt x="18530" y="2097"/>
                </a:moveTo>
                <a:cubicBezTo>
                  <a:pt x="16337" y="629"/>
                  <a:pt x="13596" y="0"/>
                  <a:pt x="10526" y="0"/>
                </a:cubicBezTo>
                <a:cubicBezTo>
                  <a:pt x="8004" y="0"/>
                  <a:pt x="5811" y="629"/>
                  <a:pt x="4276" y="1468"/>
                </a:cubicBezTo>
                <a:cubicBezTo>
                  <a:pt x="1864" y="3041"/>
                  <a:pt x="548" y="5348"/>
                  <a:pt x="0" y="8913"/>
                </a:cubicBezTo>
                <a:cubicBezTo>
                  <a:pt x="0" y="9227"/>
                  <a:pt x="0" y="9751"/>
                  <a:pt x="0" y="9751"/>
                </a:cubicBezTo>
                <a:cubicBezTo>
                  <a:pt x="219" y="11324"/>
                  <a:pt x="1535" y="12478"/>
                  <a:pt x="3070" y="12478"/>
                </a:cubicBezTo>
                <a:cubicBezTo>
                  <a:pt x="4605" y="12478"/>
                  <a:pt x="5811" y="11324"/>
                  <a:pt x="6140" y="9751"/>
                </a:cubicBezTo>
                <a:lnTo>
                  <a:pt x="6140" y="9542"/>
                </a:lnTo>
                <a:cubicBezTo>
                  <a:pt x="6140" y="8598"/>
                  <a:pt x="6469" y="7445"/>
                  <a:pt x="7127" y="6501"/>
                </a:cubicBezTo>
                <a:cubicBezTo>
                  <a:pt x="7675" y="5348"/>
                  <a:pt x="8881" y="5033"/>
                  <a:pt x="10526" y="5033"/>
                </a:cubicBezTo>
                <a:cubicBezTo>
                  <a:pt x="12061" y="5033"/>
                  <a:pt x="13267" y="5348"/>
                  <a:pt x="13925" y="6291"/>
                </a:cubicBezTo>
                <a:cubicBezTo>
                  <a:pt x="14473" y="7130"/>
                  <a:pt x="14802" y="8074"/>
                  <a:pt x="14802" y="9227"/>
                </a:cubicBezTo>
                <a:cubicBezTo>
                  <a:pt x="14802" y="10066"/>
                  <a:pt x="14473" y="11010"/>
                  <a:pt x="13925" y="11534"/>
                </a:cubicBezTo>
                <a:cubicBezTo>
                  <a:pt x="13596" y="11849"/>
                  <a:pt x="13267" y="12478"/>
                  <a:pt x="12609" y="12792"/>
                </a:cubicBezTo>
                <a:lnTo>
                  <a:pt x="11074" y="13946"/>
                </a:lnTo>
                <a:cubicBezTo>
                  <a:pt x="9539" y="15099"/>
                  <a:pt x="8662" y="15938"/>
                  <a:pt x="8333" y="16882"/>
                </a:cubicBezTo>
                <a:cubicBezTo>
                  <a:pt x="8004" y="17720"/>
                  <a:pt x="7675" y="19293"/>
                  <a:pt x="7675" y="21600"/>
                </a:cubicBezTo>
                <a:lnTo>
                  <a:pt x="13596" y="21600"/>
                </a:lnTo>
                <a:cubicBezTo>
                  <a:pt x="13596" y="20447"/>
                  <a:pt x="13596" y="19817"/>
                  <a:pt x="13925" y="19293"/>
                </a:cubicBezTo>
                <a:cubicBezTo>
                  <a:pt x="14144" y="18350"/>
                  <a:pt x="14802" y="17825"/>
                  <a:pt x="15460" y="17196"/>
                </a:cubicBezTo>
                <a:lnTo>
                  <a:pt x="16995" y="16043"/>
                </a:lnTo>
                <a:cubicBezTo>
                  <a:pt x="18530" y="14784"/>
                  <a:pt x="19407" y="13946"/>
                  <a:pt x="20065" y="13107"/>
                </a:cubicBezTo>
                <a:cubicBezTo>
                  <a:pt x="21052" y="11849"/>
                  <a:pt x="21271" y="10381"/>
                  <a:pt x="21271" y="8598"/>
                </a:cubicBezTo>
                <a:cubicBezTo>
                  <a:pt x="21600" y="5662"/>
                  <a:pt x="20723" y="3565"/>
                  <a:pt x="18530" y="2097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4" name="Shape 933"/>
          <p:cNvSpPr/>
          <p:nvPr/>
        </p:nvSpPr>
        <p:spPr>
          <a:xfrm>
            <a:off x="1290695" y="2307810"/>
            <a:ext cx="27371" cy="273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948"/>
                </a:moveTo>
                <a:cubicBezTo>
                  <a:pt x="21600" y="13019"/>
                  <a:pt x="21008" y="14499"/>
                  <a:pt x="20121" y="16274"/>
                </a:cubicBezTo>
                <a:cubicBezTo>
                  <a:pt x="19233" y="18049"/>
                  <a:pt x="17753" y="19233"/>
                  <a:pt x="16274" y="20416"/>
                </a:cubicBezTo>
                <a:cubicBezTo>
                  <a:pt x="14499" y="21304"/>
                  <a:pt x="12723" y="21600"/>
                  <a:pt x="10652" y="21600"/>
                </a:cubicBezTo>
                <a:cubicBezTo>
                  <a:pt x="8581" y="21600"/>
                  <a:pt x="7101" y="21304"/>
                  <a:pt x="5326" y="20416"/>
                </a:cubicBezTo>
                <a:cubicBezTo>
                  <a:pt x="3551" y="19233"/>
                  <a:pt x="2071" y="18049"/>
                  <a:pt x="1184" y="16274"/>
                </a:cubicBezTo>
                <a:cubicBezTo>
                  <a:pt x="0" y="14499"/>
                  <a:pt x="0" y="13019"/>
                  <a:pt x="0" y="10948"/>
                </a:cubicBezTo>
                <a:cubicBezTo>
                  <a:pt x="0" y="8877"/>
                  <a:pt x="0" y="6805"/>
                  <a:pt x="1184" y="5326"/>
                </a:cubicBezTo>
                <a:cubicBezTo>
                  <a:pt x="2071" y="3551"/>
                  <a:pt x="3551" y="2367"/>
                  <a:pt x="5326" y="1479"/>
                </a:cubicBezTo>
                <a:cubicBezTo>
                  <a:pt x="7101" y="592"/>
                  <a:pt x="8581" y="0"/>
                  <a:pt x="10652" y="0"/>
                </a:cubicBezTo>
                <a:cubicBezTo>
                  <a:pt x="12723" y="0"/>
                  <a:pt x="14499" y="592"/>
                  <a:pt x="16274" y="1479"/>
                </a:cubicBezTo>
                <a:cubicBezTo>
                  <a:pt x="17753" y="2367"/>
                  <a:pt x="19233" y="3551"/>
                  <a:pt x="20121" y="5326"/>
                </a:cubicBezTo>
                <a:cubicBezTo>
                  <a:pt x="21008" y="6805"/>
                  <a:pt x="21600" y="8877"/>
                  <a:pt x="21600" y="10948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pic>
        <p:nvPicPr>
          <p:cNvPr id="185347" name="Picture 3" descr="C:\Users\hdagher\Desktop\Screen sh\6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6046" y="2071856"/>
            <a:ext cx="2064280" cy="1494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5" descr="C:\Users\hdagher\Desktop\Screen sh\8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3062" y="1412776"/>
            <a:ext cx="1048309" cy="732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Grafik 2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220" y="2063720"/>
            <a:ext cx="1156321" cy="813785"/>
          </a:xfrm>
          <a:prstGeom prst="rect">
            <a:avLst/>
          </a:prstGeom>
        </p:spPr>
      </p:pic>
      <p:sp>
        <p:nvSpPr>
          <p:cNvPr id="31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Content of the entrepreneurship training </a:t>
            </a:r>
          </a:p>
        </p:txBody>
      </p:sp>
      <p:sp>
        <p:nvSpPr>
          <p:cNvPr id="15" name="Shape 928"/>
          <p:cNvSpPr/>
          <p:nvPr/>
        </p:nvSpPr>
        <p:spPr>
          <a:xfrm>
            <a:off x="4037248" y="6350485"/>
            <a:ext cx="499049" cy="49904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629" y="21600"/>
                </a:moveTo>
                <a:lnTo>
                  <a:pt x="0" y="21600"/>
                </a:lnTo>
                <a:cubicBezTo>
                  <a:pt x="0" y="9671"/>
                  <a:pt x="9671" y="0"/>
                  <a:pt x="21600" y="0"/>
                </a:cubicBezTo>
                <a:lnTo>
                  <a:pt x="21600" y="6645"/>
                </a:lnTo>
                <a:cubicBezTo>
                  <a:pt x="13370" y="6693"/>
                  <a:pt x="6629" y="13386"/>
                  <a:pt x="6629" y="21600"/>
                </a:cubicBezTo>
              </a:path>
            </a:pathLst>
          </a:custGeom>
          <a:solidFill>
            <a:srgbClr val="DED9D7"/>
          </a:solidFill>
          <a:ln w="3175">
            <a:solidFill>
              <a:schemeClr val="bg1">
                <a:lumMod val="50000"/>
              </a:schemeClr>
            </a:solidFill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48736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908"/>
          <p:cNvSpPr/>
          <p:nvPr/>
        </p:nvSpPr>
        <p:spPr>
          <a:xfrm>
            <a:off x="3740723" y="1211048"/>
            <a:ext cx="1540923" cy="52892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40" h="21600" extrusionOk="0">
                <a:moveTo>
                  <a:pt x="14841" y="21600"/>
                </a:moveTo>
                <a:lnTo>
                  <a:pt x="11023" y="21600"/>
                </a:lnTo>
                <a:lnTo>
                  <a:pt x="11023" y="21010"/>
                </a:lnTo>
                <a:lnTo>
                  <a:pt x="14841" y="21010"/>
                </a:lnTo>
                <a:cubicBezTo>
                  <a:pt x="17396" y="21010"/>
                  <a:pt x="19496" y="20418"/>
                  <a:pt x="19542" y="19689"/>
                </a:cubicBezTo>
                <a:cubicBezTo>
                  <a:pt x="19558" y="19327"/>
                  <a:pt x="19087" y="18980"/>
                  <a:pt x="18213" y="18721"/>
                </a:cubicBezTo>
                <a:cubicBezTo>
                  <a:pt x="17339" y="18461"/>
                  <a:pt x="16170" y="18320"/>
                  <a:pt x="14929" y="18320"/>
                </a:cubicBezTo>
                <a:lnTo>
                  <a:pt x="6746" y="18320"/>
                </a:lnTo>
                <a:cubicBezTo>
                  <a:pt x="3110" y="18320"/>
                  <a:pt x="104" y="17466"/>
                  <a:pt x="32" y="16417"/>
                </a:cubicBezTo>
                <a:cubicBezTo>
                  <a:pt x="1" y="15892"/>
                  <a:pt x="673" y="15401"/>
                  <a:pt x="1925" y="15026"/>
                </a:cubicBezTo>
                <a:cubicBezTo>
                  <a:pt x="3182" y="14656"/>
                  <a:pt x="4863" y="14450"/>
                  <a:pt x="6642" y="14450"/>
                </a:cubicBezTo>
                <a:lnTo>
                  <a:pt x="14825" y="14450"/>
                </a:lnTo>
                <a:cubicBezTo>
                  <a:pt x="17380" y="14450"/>
                  <a:pt x="19480" y="13858"/>
                  <a:pt x="19527" y="13128"/>
                </a:cubicBezTo>
                <a:cubicBezTo>
                  <a:pt x="19542" y="12765"/>
                  <a:pt x="19072" y="12420"/>
                  <a:pt x="18198" y="12160"/>
                </a:cubicBezTo>
                <a:cubicBezTo>
                  <a:pt x="17323" y="11900"/>
                  <a:pt x="16154" y="11758"/>
                  <a:pt x="14913" y="11758"/>
                </a:cubicBezTo>
                <a:lnTo>
                  <a:pt x="6730" y="11758"/>
                </a:lnTo>
                <a:cubicBezTo>
                  <a:pt x="3094" y="11758"/>
                  <a:pt x="89" y="10907"/>
                  <a:pt x="17" y="9858"/>
                </a:cubicBezTo>
                <a:cubicBezTo>
                  <a:pt x="-14" y="9334"/>
                  <a:pt x="658" y="8843"/>
                  <a:pt x="1915" y="8468"/>
                </a:cubicBezTo>
                <a:cubicBezTo>
                  <a:pt x="3167" y="8096"/>
                  <a:pt x="4848" y="7892"/>
                  <a:pt x="6627" y="7892"/>
                </a:cubicBezTo>
                <a:lnTo>
                  <a:pt x="14810" y="7892"/>
                </a:lnTo>
                <a:cubicBezTo>
                  <a:pt x="17365" y="7892"/>
                  <a:pt x="19470" y="7299"/>
                  <a:pt x="19511" y="6569"/>
                </a:cubicBezTo>
                <a:cubicBezTo>
                  <a:pt x="19527" y="6206"/>
                  <a:pt x="19061" y="5860"/>
                  <a:pt x="18182" y="5600"/>
                </a:cubicBezTo>
                <a:cubicBezTo>
                  <a:pt x="17308" y="5340"/>
                  <a:pt x="16139" y="5200"/>
                  <a:pt x="14898" y="5200"/>
                </a:cubicBezTo>
                <a:lnTo>
                  <a:pt x="6715" y="5200"/>
                </a:lnTo>
                <a:cubicBezTo>
                  <a:pt x="3079" y="5200"/>
                  <a:pt x="73" y="4347"/>
                  <a:pt x="1" y="3297"/>
                </a:cubicBezTo>
                <a:cubicBezTo>
                  <a:pt x="-30" y="2772"/>
                  <a:pt x="642" y="2282"/>
                  <a:pt x="1899" y="1906"/>
                </a:cubicBezTo>
                <a:cubicBezTo>
                  <a:pt x="3151" y="1536"/>
                  <a:pt x="4832" y="1330"/>
                  <a:pt x="6611" y="1330"/>
                </a:cubicBezTo>
                <a:lnTo>
                  <a:pt x="8980" y="1330"/>
                </a:lnTo>
                <a:cubicBezTo>
                  <a:pt x="9648" y="1330"/>
                  <a:pt x="10206" y="1168"/>
                  <a:pt x="10206" y="972"/>
                </a:cubicBezTo>
                <a:lnTo>
                  <a:pt x="10206" y="0"/>
                </a:lnTo>
                <a:lnTo>
                  <a:pt x="12260" y="0"/>
                </a:lnTo>
                <a:lnTo>
                  <a:pt x="12260" y="972"/>
                </a:lnTo>
                <a:cubicBezTo>
                  <a:pt x="12260" y="1493"/>
                  <a:pt x="10817" y="1920"/>
                  <a:pt x="9022" y="1920"/>
                </a:cubicBezTo>
                <a:lnTo>
                  <a:pt x="6658" y="1920"/>
                </a:lnTo>
                <a:cubicBezTo>
                  <a:pt x="5417" y="1920"/>
                  <a:pt x="4248" y="2065"/>
                  <a:pt x="3373" y="2320"/>
                </a:cubicBezTo>
                <a:cubicBezTo>
                  <a:pt x="2494" y="2580"/>
                  <a:pt x="2029" y="2922"/>
                  <a:pt x="2044" y="3289"/>
                </a:cubicBezTo>
                <a:cubicBezTo>
                  <a:pt x="2086" y="4018"/>
                  <a:pt x="4191" y="4612"/>
                  <a:pt x="6746" y="4612"/>
                </a:cubicBezTo>
                <a:lnTo>
                  <a:pt x="14929" y="4612"/>
                </a:lnTo>
                <a:cubicBezTo>
                  <a:pt x="16723" y="4612"/>
                  <a:pt x="18394" y="4816"/>
                  <a:pt x="19646" y="5188"/>
                </a:cubicBezTo>
                <a:cubicBezTo>
                  <a:pt x="20903" y="5558"/>
                  <a:pt x="21570" y="6052"/>
                  <a:pt x="21539" y="6578"/>
                </a:cubicBezTo>
                <a:cubicBezTo>
                  <a:pt x="21482" y="7627"/>
                  <a:pt x="18477" y="8480"/>
                  <a:pt x="14825" y="8480"/>
                </a:cubicBezTo>
                <a:lnTo>
                  <a:pt x="6642" y="8480"/>
                </a:lnTo>
                <a:cubicBezTo>
                  <a:pt x="5401" y="8480"/>
                  <a:pt x="4232" y="8625"/>
                  <a:pt x="3358" y="8880"/>
                </a:cubicBezTo>
                <a:cubicBezTo>
                  <a:pt x="2484" y="9142"/>
                  <a:pt x="2013" y="9482"/>
                  <a:pt x="2029" y="9849"/>
                </a:cubicBezTo>
                <a:cubicBezTo>
                  <a:pt x="2075" y="10579"/>
                  <a:pt x="4175" y="11172"/>
                  <a:pt x="6730" y="11172"/>
                </a:cubicBezTo>
                <a:lnTo>
                  <a:pt x="14913" y="11172"/>
                </a:lnTo>
                <a:cubicBezTo>
                  <a:pt x="16708" y="11172"/>
                  <a:pt x="18379" y="11376"/>
                  <a:pt x="19630" y="11746"/>
                </a:cubicBezTo>
                <a:cubicBezTo>
                  <a:pt x="20887" y="12118"/>
                  <a:pt x="21560" y="12612"/>
                  <a:pt x="21529" y="13137"/>
                </a:cubicBezTo>
                <a:cubicBezTo>
                  <a:pt x="21472" y="14186"/>
                  <a:pt x="18461" y="15040"/>
                  <a:pt x="14810" y="15040"/>
                </a:cubicBezTo>
                <a:lnTo>
                  <a:pt x="6627" y="15040"/>
                </a:lnTo>
                <a:cubicBezTo>
                  <a:pt x="5386" y="15040"/>
                  <a:pt x="4222" y="15185"/>
                  <a:pt x="3342" y="15440"/>
                </a:cubicBezTo>
                <a:cubicBezTo>
                  <a:pt x="2468" y="15700"/>
                  <a:pt x="2003" y="16042"/>
                  <a:pt x="2013" y="16408"/>
                </a:cubicBezTo>
                <a:cubicBezTo>
                  <a:pt x="2060" y="17138"/>
                  <a:pt x="4160" y="17730"/>
                  <a:pt x="6715" y="17730"/>
                </a:cubicBezTo>
                <a:lnTo>
                  <a:pt x="14898" y="17730"/>
                </a:lnTo>
                <a:cubicBezTo>
                  <a:pt x="16692" y="17730"/>
                  <a:pt x="18358" y="17936"/>
                  <a:pt x="19615" y="18306"/>
                </a:cubicBezTo>
                <a:cubicBezTo>
                  <a:pt x="20872" y="18678"/>
                  <a:pt x="21539" y="19172"/>
                  <a:pt x="21513" y="19697"/>
                </a:cubicBezTo>
                <a:cubicBezTo>
                  <a:pt x="21498" y="20746"/>
                  <a:pt x="18477" y="21600"/>
                  <a:pt x="14841" y="21600"/>
                </a:cubicBezTo>
              </a:path>
            </a:pathLst>
          </a:custGeom>
          <a:solidFill>
            <a:srgbClr val="DED9D7"/>
          </a:solidFill>
          <a:ln w="3175">
            <a:solidFill>
              <a:schemeClr val="bg1">
                <a:lumMod val="50000"/>
              </a:schemeClr>
            </a:solidFill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50" name="Shape 909"/>
          <p:cNvSpPr/>
          <p:nvPr/>
        </p:nvSpPr>
        <p:spPr>
          <a:xfrm>
            <a:off x="5292700" y="2690719"/>
            <a:ext cx="1162426" cy="21242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r"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800">
                <a:solidFill>
                  <a:srgbClr val="F67A83"/>
                </a:solidFill>
                <a:latin typeface="Roboto Black"/>
                <a:ea typeface="Roboto Black"/>
                <a:cs typeface="Roboto Black"/>
                <a:sym typeface="Roboto Black"/>
              </a:defRPr>
            </a:lvl1pPr>
          </a:lstStyle>
          <a:p>
            <a:r>
              <a:rPr lang="de-DE" b="1" dirty="0" smtClean="0"/>
              <a:t>Customer Demand Profile</a:t>
            </a:r>
            <a:endParaRPr lang="de-DE" b="1" dirty="0"/>
          </a:p>
          <a:p>
            <a:endParaRPr dirty="0"/>
          </a:p>
        </p:txBody>
      </p:sp>
      <p:sp>
        <p:nvSpPr>
          <p:cNvPr id="55" name="Shape 914"/>
          <p:cNvSpPr/>
          <p:nvPr/>
        </p:nvSpPr>
        <p:spPr>
          <a:xfrm>
            <a:off x="2614503" y="1812181"/>
            <a:ext cx="1359674" cy="78766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l"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800">
                <a:solidFill>
                  <a:srgbClr val="F8AD94"/>
                </a:solidFill>
                <a:latin typeface="Roboto Black"/>
                <a:ea typeface="Roboto Black"/>
                <a:cs typeface="Roboto Black"/>
                <a:sym typeface="Roboto Black"/>
              </a:defRPr>
            </a:lvl1pPr>
          </a:lstStyle>
          <a:p>
            <a:r>
              <a:rPr lang="de-DE" b="1" dirty="0" smtClean="0">
                <a:solidFill>
                  <a:schemeClr val="accent6">
                    <a:lumMod val="75000"/>
                  </a:schemeClr>
                </a:solidFill>
              </a:rPr>
              <a:t>Problem Analysis</a:t>
            </a:r>
            <a:endParaRPr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58" name="Shape 917"/>
          <p:cNvSpPr/>
          <p:nvPr/>
        </p:nvSpPr>
        <p:spPr>
          <a:xfrm>
            <a:off x="3697804" y="1888509"/>
            <a:ext cx="233587" cy="2344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504" h="20446" extrusionOk="0">
                <a:moveTo>
                  <a:pt x="17481" y="3027"/>
                </a:moveTo>
                <a:cubicBezTo>
                  <a:pt x="19590" y="5126"/>
                  <a:pt x="20595" y="8031"/>
                  <a:pt x="20498" y="10743"/>
                </a:cubicBezTo>
                <a:cubicBezTo>
                  <a:pt x="20433" y="13133"/>
                  <a:pt x="19395" y="15554"/>
                  <a:pt x="17481" y="17395"/>
                </a:cubicBezTo>
                <a:cubicBezTo>
                  <a:pt x="15568" y="19203"/>
                  <a:pt x="13265" y="20236"/>
                  <a:pt x="10800" y="20430"/>
                </a:cubicBezTo>
                <a:cubicBezTo>
                  <a:pt x="7979" y="20591"/>
                  <a:pt x="5125" y="19590"/>
                  <a:pt x="3017" y="17395"/>
                </a:cubicBezTo>
                <a:cubicBezTo>
                  <a:pt x="-1005" y="13391"/>
                  <a:pt x="-1005" y="7030"/>
                  <a:pt x="3017" y="3027"/>
                </a:cubicBezTo>
                <a:cubicBezTo>
                  <a:pt x="6973" y="-1009"/>
                  <a:pt x="13460" y="-1009"/>
                  <a:pt x="17481" y="3027"/>
                </a:cubicBezTo>
              </a:path>
            </a:pathLst>
          </a:custGeom>
          <a:solidFill>
            <a:schemeClr val="accent6">
              <a:lumMod val="75000"/>
            </a:schemeClr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59" name="Shape 918"/>
          <p:cNvSpPr/>
          <p:nvPr/>
        </p:nvSpPr>
        <p:spPr>
          <a:xfrm>
            <a:off x="5093912" y="2691664"/>
            <a:ext cx="233825" cy="23295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525" h="20448" extrusionOk="0">
                <a:moveTo>
                  <a:pt x="3052" y="17505"/>
                </a:moveTo>
                <a:cubicBezTo>
                  <a:pt x="943" y="15397"/>
                  <a:pt x="-62" y="12445"/>
                  <a:pt x="3" y="9721"/>
                </a:cubicBezTo>
                <a:cubicBezTo>
                  <a:pt x="100" y="7321"/>
                  <a:pt x="1138" y="4856"/>
                  <a:pt x="3052" y="3040"/>
                </a:cubicBezTo>
                <a:cubicBezTo>
                  <a:pt x="4997" y="1191"/>
                  <a:pt x="7235" y="186"/>
                  <a:pt x="9733" y="24"/>
                </a:cubicBezTo>
                <a:cubicBezTo>
                  <a:pt x="12554" y="-171"/>
                  <a:pt x="15408" y="834"/>
                  <a:pt x="17484" y="3040"/>
                </a:cubicBezTo>
                <a:cubicBezTo>
                  <a:pt x="21538" y="7061"/>
                  <a:pt x="21538" y="13451"/>
                  <a:pt x="17484" y="17505"/>
                </a:cubicBezTo>
                <a:cubicBezTo>
                  <a:pt x="13560" y="21429"/>
                  <a:pt x="7073" y="21429"/>
                  <a:pt x="3052" y="17505"/>
                </a:cubicBezTo>
              </a:path>
            </a:pathLst>
          </a:custGeom>
          <a:solidFill>
            <a:srgbClr val="F67A83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Roboto Regular"/>
                <a:ea typeface="Roboto Regular"/>
                <a:cs typeface="Roboto Regular"/>
                <a:sym typeface="Roboto Regular"/>
              </a:defRPr>
            </a:pPr>
            <a:endParaRPr/>
          </a:p>
        </p:txBody>
      </p:sp>
      <p:sp>
        <p:nvSpPr>
          <p:cNvPr id="63" name="Shape 922"/>
          <p:cNvSpPr/>
          <p:nvPr/>
        </p:nvSpPr>
        <p:spPr>
          <a:xfrm>
            <a:off x="2426311" y="3508578"/>
            <a:ext cx="1388286" cy="21242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l"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800">
                <a:solidFill>
                  <a:srgbClr val="D16E83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r>
              <a:rPr lang="de-DE" b="1" dirty="0" smtClean="0"/>
              <a:t>Value Proposition </a:t>
            </a:r>
            <a:endParaRPr lang="de-DE" b="1" dirty="0"/>
          </a:p>
          <a:p>
            <a:r>
              <a:rPr lang="de-DE" dirty="0" smtClean="0"/>
              <a:t> </a:t>
            </a:r>
            <a:endParaRPr dirty="0"/>
          </a:p>
        </p:txBody>
      </p:sp>
      <p:sp>
        <p:nvSpPr>
          <p:cNvPr id="66" name="Shape 925"/>
          <p:cNvSpPr/>
          <p:nvPr/>
        </p:nvSpPr>
        <p:spPr>
          <a:xfrm>
            <a:off x="3697804" y="3497653"/>
            <a:ext cx="233587" cy="2342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504" h="20429" extrusionOk="0">
                <a:moveTo>
                  <a:pt x="17481" y="3003"/>
                </a:moveTo>
                <a:cubicBezTo>
                  <a:pt x="19590" y="5101"/>
                  <a:pt x="20595" y="8039"/>
                  <a:pt x="20498" y="10751"/>
                </a:cubicBezTo>
                <a:cubicBezTo>
                  <a:pt x="20433" y="13141"/>
                  <a:pt x="19395" y="15595"/>
                  <a:pt x="17481" y="17403"/>
                </a:cubicBezTo>
                <a:cubicBezTo>
                  <a:pt x="15665" y="19243"/>
                  <a:pt x="13265" y="20244"/>
                  <a:pt x="10800" y="20405"/>
                </a:cubicBezTo>
                <a:cubicBezTo>
                  <a:pt x="7979" y="20599"/>
                  <a:pt x="5125" y="19598"/>
                  <a:pt x="3017" y="17403"/>
                </a:cubicBezTo>
                <a:cubicBezTo>
                  <a:pt x="-1005" y="13399"/>
                  <a:pt x="-1005" y="7038"/>
                  <a:pt x="3017" y="3003"/>
                </a:cubicBezTo>
                <a:cubicBezTo>
                  <a:pt x="6973" y="-1001"/>
                  <a:pt x="13460" y="-1001"/>
                  <a:pt x="17481" y="3003"/>
                </a:cubicBezTo>
              </a:path>
            </a:pathLst>
          </a:custGeom>
          <a:solidFill>
            <a:srgbClr val="D16E83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68" name="Shape 927"/>
          <p:cNvSpPr/>
          <p:nvPr/>
        </p:nvSpPr>
        <p:spPr>
          <a:xfrm>
            <a:off x="4409363" y="1052736"/>
            <a:ext cx="278718" cy="28034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800"/>
                  <a:pt x="21171" y="14457"/>
                  <a:pt x="20170" y="16200"/>
                </a:cubicBezTo>
                <a:cubicBezTo>
                  <a:pt x="19168" y="17914"/>
                  <a:pt x="17938" y="19171"/>
                  <a:pt x="16193" y="20171"/>
                </a:cubicBezTo>
                <a:cubicBezTo>
                  <a:pt x="14476" y="21143"/>
                  <a:pt x="12788" y="21600"/>
                  <a:pt x="10814" y="21600"/>
                </a:cubicBezTo>
                <a:cubicBezTo>
                  <a:pt x="8812" y="21600"/>
                  <a:pt x="7124" y="21143"/>
                  <a:pt x="5407" y="20171"/>
                </a:cubicBezTo>
                <a:cubicBezTo>
                  <a:pt x="3691" y="19171"/>
                  <a:pt x="2460" y="17914"/>
                  <a:pt x="1459" y="16200"/>
                </a:cubicBezTo>
                <a:cubicBezTo>
                  <a:pt x="458" y="14457"/>
                  <a:pt x="0" y="12771"/>
                  <a:pt x="0" y="10800"/>
                </a:cubicBezTo>
                <a:cubicBezTo>
                  <a:pt x="0" y="8800"/>
                  <a:pt x="458" y="7114"/>
                  <a:pt x="1459" y="5400"/>
                </a:cubicBezTo>
                <a:cubicBezTo>
                  <a:pt x="2460" y="3686"/>
                  <a:pt x="3691" y="2429"/>
                  <a:pt x="5407" y="1457"/>
                </a:cubicBezTo>
                <a:cubicBezTo>
                  <a:pt x="7124" y="457"/>
                  <a:pt x="8840" y="0"/>
                  <a:pt x="10814" y="0"/>
                </a:cubicBezTo>
                <a:cubicBezTo>
                  <a:pt x="12788" y="0"/>
                  <a:pt x="14476" y="457"/>
                  <a:pt x="16193" y="1457"/>
                </a:cubicBezTo>
                <a:cubicBezTo>
                  <a:pt x="17938" y="2429"/>
                  <a:pt x="19168" y="3686"/>
                  <a:pt x="20170" y="5400"/>
                </a:cubicBezTo>
                <a:cubicBezTo>
                  <a:pt x="21171" y="7114"/>
                  <a:pt x="21600" y="8829"/>
                  <a:pt x="21600" y="10800"/>
                </a:cubicBezTo>
              </a:path>
            </a:pathLst>
          </a:custGeom>
          <a:solidFill>
            <a:srgbClr val="7C6535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3" name="Shape 932"/>
          <p:cNvSpPr/>
          <p:nvPr/>
        </p:nvSpPr>
        <p:spPr>
          <a:xfrm>
            <a:off x="1266215" y="2222940"/>
            <a:ext cx="72187" cy="763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338" h="21600" extrusionOk="0">
                <a:moveTo>
                  <a:pt x="18530" y="2097"/>
                </a:moveTo>
                <a:cubicBezTo>
                  <a:pt x="16337" y="629"/>
                  <a:pt x="13596" y="0"/>
                  <a:pt x="10526" y="0"/>
                </a:cubicBezTo>
                <a:cubicBezTo>
                  <a:pt x="8004" y="0"/>
                  <a:pt x="5811" y="629"/>
                  <a:pt x="4276" y="1468"/>
                </a:cubicBezTo>
                <a:cubicBezTo>
                  <a:pt x="1864" y="3041"/>
                  <a:pt x="548" y="5348"/>
                  <a:pt x="0" y="8913"/>
                </a:cubicBezTo>
                <a:cubicBezTo>
                  <a:pt x="0" y="9227"/>
                  <a:pt x="0" y="9751"/>
                  <a:pt x="0" y="9751"/>
                </a:cubicBezTo>
                <a:cubicBezTo>
                  <a:pt x="219" y="11324"/>
                  <a:pt x="1535" y="12478"/>
                  <a:pt x="3070" y="12478"/>
                </a:cubicBezTo>
                <a:cubicBezTo>
                  <a:pt x="4605" y="12478"/>
                  <a:pt x="5811" y="11324"/>
                  <a:pt x="6140" y="9751"/>
                </a:cubicBezTo>
                <a:lnTo>
                  <a:pt x="6140" y="9542"/>
                </a:lnTo>
                <a:cubicBezTo>
                  <a:pt x="6140" y="8598"/>
                  <a:pt x="6469" y="7445"/>
                  <a:pt x="7127" y="6501"/>
                </a:cubicBezTo>
                <a:cubicBezTo>
                  <a:pt x="7675" y="5348"/>
                  <a:pt x="8881" y="5033"/>
                  <a:pt x="10526" y="5033"/>
                </a:cubicBezTo>
                <a:cubicBezTo>
                  <a:pt x="12061" y="5033"/>
                  <a:pt x="13267" y="5348"/>
                  <a:pt x="13925" y="6291"/>
                </a:cubicBezTo>
                <a:cubicBezTo>
                  <a:pt x="14473" y="7130"/>
                  <a:pt x="14802" y="8074"/>
                  <a:pt x="14802" y="9227"/>
                </a:cubicBezTo>
                <a:cubicBezTo>
                  <a:pt x="14802" y="10066"/>
                  <a:pt x="14473" y="11010"/>
                  <a:pt x="13925" y="11534"/>
                </a:cubicBezTo>
                <a:cubicBezTo>
                  <a:pt x="13596" y="11849"/>
                  <a:pt x="13267" y="12478"/>
                  <a:pt x="12609" y="12792"/>
                </a:cubicBezTo>
                <a:lnTo>
                  <a:pt x="11074" y="13946"/>
                </a:lnTo>
                <a:cubicBezTo>
                  <a:pt x="9539" y="15099"/>
                  <a:pt x="8662" y="15938"/>
                  <a:pt x="8333" y="16882"/>
                </a:cubicBezTo>
                <a:cubicBezTo>
                  <a:pt x="8004" y="17720"/>
                  <a:pt x="7675" y="19293"/>
                  <a:pt x="7675" y="21600"/>
                </a:cubicBezTo>
                <a:lnTo>
                  <a:pt x="13596" y="21600"/>
                </a:lnTo>
                <a:cubicBezTo>
                  <a:pt x="13596" y="20447"/>
                  <a:pt x="13596" y="19817"/>
                  <a:pt x="13925" y="19293"/>
                </a:cubicBezTo>
                <a:cubicBezTo>
                  <a:pt x="14144" y="18350"/>
                  <a:pt x="14802" y="17825"/>
                  <a:pt x="15460" y="17196"/>
                </a:cubicBezTo>
                <a:lnTo>
                  <a:pt x="16995" y="16043"/>
                </a:lnTo>
                <a:cubicBezTo>
                  <a:pt x="18530" y="14784"/>
                  <a:pt x="19407" y="13946"/>
                  <a:pt x="20065" y="13107"/>
                </a:cubicBezTo>
                <a:cubicBezTo>
                  <a:pt x="21052" y="11849"/>
                  <a:pt x="21271" y="10381"/>
                  <a:pt x="21271" y="8598"/>
                </a:cubicBezTo>
                <a:cubicBezTo>
                  <a:pt x="21600" y="5662"/>
                  <a:pt x="20723" y="3565"/>
                  <a:pt x="18530" y="2097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4" name="Shape 933"/>
          <p:cNvSpPr/>
          <p:nvPr/>
        </p:nvSpPr>
        <p:spPr>
          <a:xfrm>
            <a:off x="1290695" y="2307810"/>
            <a:ext cx="27371" cy="273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948"/>
                </a:moveTo>
                <a:cubicBezTo>
                  <a:pt x="21600" y="13019"/>
                  <a:pt x="21008" y="14499"/>
                  <a:pt x="20121" y="16274"/>
                </a:cubicBezTo>
                <a:cubicBezTo>
                  <a:pt x="19233" y="18049"/>
                  <a:pt x="17753" y="19233"/>
                  <a:pt x="16274" y="20416"/>
                </a:cubicBezTo>
                <a:cubicBezTo>
                  <a:pt x="14499" y="21304"/>
                  <a:pt x="12723" y="21600"/>
                  <a:pt x="10652" y="21600"/>
                </a:cubicBezTo>
                <a:cubicBezTo>
                  <a:pt x="8581" y="21600"/>
                  <a:pt x="7101" y="21304"/>
                  <a:pt x="5326" y="20416"/>
                </a:cubicBezTo>
                <a:cubicBezTo>
                  <a:pt x="3551" y="19233"/>
                  <a:pt x="2071" y="18049"/>
                  <a:pt x="1184" y="16274"/>
                </a:cubicBezTo>
                <a:cubicBezTo>
                  <a:pt x="0" y="14499"/>
                  <a:pt x="0" y="13019"/>
                  <a:pt x="0" y="10948"/>
                </a:cubicBezTo>
                <a:cubicBezTo>
                  <a:pt x="0" y="8877"/>
                  <a:pt x="0" y="6805"/>
                  <a:pt x="1184" y="5326"/>
                </a:cubicBezTo>
                <a:cubicBezTo>
                  <a:pt x="2071" y="3551"/>
                  <a:pt x="3551" y="2367"/>
                  <a:pt x="5326" y="1479"/>
                </a:cubicBezTo>
                <a:cubicBezTo>
                  <a:pt x="7101" y="592"/>
                  <a:pt x="8581" y="0"/>
                  <a:pt x="10652" y="0"/>
                </a:cubicBezTo>
                <a:cubicBezTo>
                  <a:pt x="12723" y="0"/>
                  <a:pt x="14499" y="592"/>
                  <a:pt x="16274" y="1479"/>
                </a:cubicBezTo>
                <a:cubicBezTo>
                  <a:pt x="17753" y="2367"/>
                  <a:pt x="19233" y="3551"/>
                  <a:pt x="20121" y="5326"/>
                </a:cubicBezTo>
                <a:cubicBezTo>
                  <a:pt x="21008" y="6805"/>
                  <a:pt x="21600" y="8877"/>
                  <a:pt x="21600" y="10948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pic>
        <p:nvPicPr>
          <p:cNvPr id="185347" name="Picture 3" descr="C:\Users\hdagher\Desktop\Screen sh\6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6046" y="2071856"/>
            <a:ext cx="2064280" cy="1494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6371" name="Picture 3" descr="C:\Users\hdagher\Desktop\Screen sh\11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440" y="3209203"/>
            <a:ext cx="1902873" cy="1388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5" descr="C:\Users\hdagher\Desktop\Screen sh\8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3062" y="1412776"/>
            <a:ext cx="1048309" cy="732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Grafik 2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220" y="2063720"/>
            <a:ext cx="1156321" cy="813785"/>
          </a:xfrm>
          <a:prstGeom prst="rect">
            <a:avLst/>
          </a:prstGeom>
        </p:spPr>
      </p:pic>
      <p:sp>
        <p:nvSpPr>
          <p:cNvPr id="31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Content of the entrepreneurship training </a:t>
            </a:r>
          </a:p>
        </p:txBody>
      </p:sp>
      <p:sp>
        <p:nvSpPr>
          <p:cNvPr id="29" name="Shape 928"/>
          <p:cNvSpPr/>
          <p:nvPr/>
        </p:nvSpPr>
        <p:spPr>
          <a:xfrm>
            <a:off x="4037248" y="6350485"/>
            <a:ext cx="499049" cy="49904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629" y="21600"/>
                </a:moveTo>
                <a:lnTo>
                  <a:pt x="0" y="21600"/>
                </a:lnTo>
                <a:cubicBezTo>
                  <a:pt x="0" y="9671"/>
                  <a:pt x="9671" y="0"/>
                  <a:pt x="21600" y="0"/>
                </a:cubicBezTo>
                <a:lnTo>
                  <a:pt x="21600" y="6645"/>
                </a:lnTo>
                <a:cubicBezTo>
                  <a:pt x="13370" y="6693"/>
                  <a:pt x="6629" y="13386"/>
                  <a:pt x="6629" y="21600"/>
                </a:cubicBezTo>
              </a:path>
            </a:pathLst>
          </a:custGeom>
          <a:solidFill>
            <a:srgbClr val="DED9D7"/>
          </a:solidFill>
          <a:ln w="3175">
            <a:solidFill>
              <a:schemeClr val="bg1">
                <a:lumMod val="50000"/>
              </a:schemeClr>
            </a:solidFill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91185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908"/>
          <p:cNvSpPr/>
          <p:nvPr/>
        </p:nvSpPr>
        <p:spPr>
          <a:xfrm>
            <a:off x="3740723" y="1211048"/>
            <a:ext cx="1540923" cy="52892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40" h="21600" extrusionOk="0">
                <a:moveTo>
                  <a:pt x="14841" y="21600"/>
                </a:moveTo>
                <a:lnTo>
                  <a:pt x="11023" y="21600"/>
                </a:lnTo>
                <a:lnTo>
                  <a:pt x="11023" y="21010"/>
                </a:lnTo>
                <a:lnTo>
                  <a:pt x="14841" y="21010"/>
                </a:lnTo>
                <a:cubicBezTo>
                  <a:pt x="17396" y="21010"/>
                  <a:pt x="19496" y="20418"/>
                  <a:pt x="19542" y="19689"/>
                </a:cubicBezTo>
                <a:cubicBezTo>
                  <a:pt x="19558" y="19327"/>
                  <a:pt x="19087" y="18980"/>
                  <a:pt x="18213" y="18721"/>
                </a:cubicBezTo>
                <a:cubicBezTo>
                  <a:pt x="17339" y="18461"/>
                  <a:pt x="16170" y="18320"/>
                  <a:pt x="14929" y="18320"/>
                </a:cubicBezTo>
                <a:lnTo>
                  <a:pt x="6746" y="18320"/>
                </a:lnTo>
                <a:cubicBezTo>
                  <a:pt x="3110" y="18320"/>
                  <a:pt x="104" y="17466"/>
                  <a:pt x="32" y="16417"/>
                </a:cubicBezTo>
                <a:cubicBezTo>
                  <a:pt x="1" y="15892"/>
                  <a:pt x="673" y="15401"/>
                  <a:pt x="1925" y="15026"/>
                </a:cubicBezTo>
                <a:cubicBezTo>
                  <a:pt x="3182" y="14656"/>
                  <a:pt x="4863" y="14450"/>
                  <a:pt x="6642" y="14450"/>
                </a:cubicBezTo>
                <a:lnTo>
                  <a:pt x="14825" y="14450"/>
                </a:lnTo>
                <a:cubicBezTo>
                  <a:pt x="17380" y="14450"/>
                  <a:pt x="19480" y="13858"/>
                  <a:pt x="19527" y="13128"/>
                </a:cubicBezTo>
                <a:cubicBezTo>
                  <a:pt x="19542" y="12765"/>
                  <a:pt x="19072" y="12420"/>
                  <a:pt x="18198" y="12160"/>
                </a:cubicBezTo>
                <a:cubicBezTo>
                  <a:pt x="17323" y="11900"/>
                  <a:pt x="16154" y="11758"/>
                  <a:pt x="14913" y="11758"/>
                </a:cubicBezTo>
                <a:lnTo>
                  <a:pt x="6730" y="11758"/>
                </a:lnTo>
                <a:cubicBezTo>
                  <a:pt x="3094" y="11758"/>
                  <a:pt x="89" y="10907"/>
                  <a:pt x="17" y="9858"/>
                </a:cubicBezTo>
                <a:cubicBezTo>
                  <a:pt x="-14" y="9334"/>
                  <a:pt x="658" y="8843"/>
                  <a:pt x="1915" y="8468"/>
                </a:cubicBezTo>
                <a:cubicBezTo>
                  <a:pt x="3167" y="8096"/>
                  <a:pt x="4848" y="7892"/>
                  <a:pt x="6627" y="7892"/>
                </a:cubicBezTo>
                <a:lnTo>
                  <a:pt x="14810" y="7892"/>
                </a:lnTo>
                <a:cubicBezTo>
                  <a:pt x="17365" y="7892"/>
                  <a:pt x="19470" y="7299"/>
                  <a:pt x="19511" y="6569"/>
                </a:cubicBezTo>
                <a:cubicBezTo>
                  <a:pt x="19527" y="6206"/>
                  <a:pt x="19061" y="5860"/>
                  <a:pt x="18182" y="5600"/>
                </a:cubicBezTo>
                <a:cubicBezTo>
                  <a:pt x="17308" y="5340"/>
                  <a:pt x="16139" y="5200"/>
                  <a:pt x="14898" y="5200"/>
                </a:cubicBezTo>
                <a:lnTo>
                  <a:pt x="6715" y="5200"/>
                </a:lnTo>
                <a:cubicBezTo>
                  <a:pt x="3079" y="5200"/>
                  <a:pt x="73" y="4347"/>
                  <a:pt x="1" y="3297"/>
                </a:cubicBezTo>
                <a:cubicBezTo>
                  <a:pt x="-30" y="2772"/>
                  <a:pt x="642" y="2282"/>
                  <a:pt x="1899" y="1906"/>
                </a:cubicBezTo>
                <a:cubicBezTo>
                  <a:pt x="3151" y="1536"/>
                  <a:pt x="4832" y="1330"/>
                  <a:pt x="6611" y="1330"/>
                </a:cubicBezTo>
                <a:lnTo>
                  <a:pt x="8980" y="1330"/>
                </a:lnTo>
                <a:cubicBezTo>
                  <a:pt x="9648" y="1330"/>
                  <a:pt x="10206" y="1168"/>
                  <a:pt x="10206" y="972"/>
                </a:cubicBezTo>
                <a:lnTo>
                  <a:pt x="10206" y="0"/>
                </a:lnTo>
                <a:lnTo>
                  <a:pt x="12260" y="0"/>
                </a:lnTo>
                <a:lnTo>
                  <a:pt x="12260" y="972"/>
                </a:lnTo>
                <a:cubicBezTo>
                  <a:pt x="12260" y="1493"/>
                  <a:pt x="10817" y="1920"/>
                  <a:pt x="9022" y="1920"/>
                </a:cubicBezTo>
                <a:lnTo>
                  <a:pt x="6658" y="1920"/>
                </a:lnTo>
                <a:cubicBezTo>
                  <a:pt x="5417" y="1920"/>
                  <a:pt x="4248" y="2065"/>
                  <a:pt x="3373" y="2320"/>
                </a:cubicBezTo>
                <a:cubicBezTo>
                  <a:pt x="2494" y="2580"/>
                  <a:pt x="2029" y="2922"/>
                  <a:pt x="2044" y="3289"/>
                </a:cubicBezTo>
                <a:cubicBezTo>
                  <a:pt x="2086" y="4018"/>
                  <a:pt x="4191" y="4612"/>
                  <a:pt x="6746" y="4612"/>
                </a:cubicBezTo>
                <a:lnTo>
                  <a:pt x="14929" y="4612"/>
                </a:lnTo>
                <a:cubicBezTo>
                  <a:pt x="16723" y="4612"/>
                  <a:pt x="18394" y="4816"/>
                  <a:pt x="19646" y="5188"/>
                </a:cubicBezTo>
                <a:cubicBezTo>
                  <a:pt x="20903" y="5558"/>
                  <a:pt x="21570" y="6052"/>
                  <a:pt x="21539" y="6578"/>
                </a:cubicBezTo>
                <a:cubicBezTo>
                  <a:pt x="21482" y="7627"/>
                  <a:pt x="18477" y="8480"/>
                  <a:pt x="14825" y="8480"/>
                </a:cubicBezTo>
                <a:lnTo>
                  <a:pt x="6642" y="8480"/>
                </a:lnTo>
                <a:cubicBezTo>
                  <a:pt x="5401" y="8480"/>
                  <a:pt x="4232" y="8625"/>
                  <a:pt x="3358" y="8880"/>
                </a:cubicBezTo>
                <a:cubicBezTo>
                  <a:pt x="2484" y="9142"/>
                  <a:pt x="2013" y="9482"/>
                  <a:pt x="2029" y="9849"/>
                </a:cubicBezTo>
                <a:cubicBezTo>
                  <a:pt x="2075" y="10579"/>
                  <a:pt x="4175" y="11172"/>
                  <a:pt x="6730" y="11172"/>
                </a:cubicBezTo>
                <a:lnTo>
                  <a:pt x="14913" y="11172"/>
                </a:lnTo>
                <a:cubicBezTo>
                  <a:pt x="16708" y="11172"/>
                  <a:pt x="18379" y="11376"/>
                  <a:pt x="19630" y="11746"/>
                </a:cubicBezTo>
                <a:cubicBezTo>
                  <a:pt x="20887" y="12118"/>
                  <a:pt x="21560" y="12612"/>
                  <a:pt x="21529" y="13137"/>
                </a:cubicBezTo>
                <a:cubicBezTo>
                  <a:pt x="21472" y="14186"/>
                  <a:pt x="18461" y="15040"/>
                  <a:pt x="14810" y="15040"/>
                </a:cubicBezTo>
                <a:lnTo>
                  <a:pt x="6627" y="15040"/>
                </a:lnTo>
                <a:cubicBezTo>
                  <a:pt x="5386" y="15040"/>
                  <a:pt x="4222" y="15185"/>
                  <a:pt x="3342" y="15440"/>
                </a:cubicBezTo>
                <a:cubicBezTo>
                  <a:pt x="2468" y="15700"/>
                  <a:pt x="2003" y="16042"/>
                  <a:pt x="2013" y="16408"/>
                </a:cubicBezTo>
                <a:cubicBezTo>
                  <a:pt x="2060" y="17138"/>
                  <a:pt x="4160" y="17730"/>
                  <a:pt x="6715" y="17730"/>
                </a:cubicBezTo>
                <a:lnTo>
                  <a:pt x="14898" y="17730"/>
                </a:lnTo>
                <a:cubicBezTo>
                  <a:pt x="16692" y="17730"/>
                  <a:pt x="18358" y="17936"/>
                  <a:pt x="19615" y="18306"/>
                </a:cubicBezTo>
                <a:cubicBezTo>
                  <a:pt x="20872" y="18678"/>
                  <a:pt x="21539" y="19172"/>
                  <a:pt x="21513" y="19697"/>
                </a:cubicBezTo>
                <a:cubicBezTo>
                  <a:pt x="21498" y="20746"/>
                  <a:pt x="18477" y="21600"/>
                  <a:pt x="14841" y="21600"/>
                </a:cubicBezTo>
              </a:path>
            </a:pathLst>
          </a:custGeom>
          <a:solidFill>
            <a:srgbClr val="DED9D7"/>
          </a:solidFill>
          <a:ln w="3175">
            <a:solidFill>
              <a:schemeClr val="bg1">
                <a:lumMod val="50000"/>
              </a:schemeClr>
            </a:solidFill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50" name="Shape 909"/>
          <p:cNvSpPr/>
          <p:nvPr/>
        </p:nvSpPr>
        <p:spPr>
          <a:xfrm>
            <a:off x="5292700" y="2690719"/>
            <a:ext cx="1162426" cy="21242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r"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800">
                <a:solidFill>
                  <a:srgbClr val="F67A83"/>
                </a:solidFill>
                <a:latin typeface="Roboto Black"/>
                <a:ea typeface="Roboto Black"/>
                <a:cs typeface="Roboto Black"/>
                <a:sym typeface="Roboto Black"/>
              </a:defRPr>
            </a:lvl1pPr>
          </a:lstStyle>
          <a:p>
            <a:r>
              <a:rPr lang="de-DE" b="1" dirty="0" smtClean="0"/>
              <a:t>Customer Demand Profile</a:t>
            </a:r>
            <a:endParaRPr lang="de-DE" b="1" dirty="0"/>
          </a:p>
          <a:p>
            <a:endParaRPr dirty="0"/>
          </a:p>
        </p:txBody>
      </p:sp>
      <p:sp>
        <p:nvSpPr>
          <p:cNvPr id="55" name="Shape 914"/>
          <p:cNvSpPr/>
          <p:nvPr/>
        </p:nvSpPr>
        <p:spPr>
          <a:xfrm>
            <a:off x="2614503" y="1812181"/>
            <a:ext cx="1359674" cy="78766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l"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800">
                <a:solidFill>
                  <a:srgbClr val="F8AD94"/>
                </a:solidFill>
                <a:latin typeface="Roboto Black"/>
                <a:ea typeface="Roboto Black"/>
                <a:cs typeface="Roboto Black"/>
                <a:sym typeface="Roboto Black"/>
              </a:defRPr>
            </a:lvl1pPr>
          </a:lstStyle>
          <a:p>
            <a:r>
              <a:rPr lang="de-DE" b="1" dirty="0" smtClean="0">
                <a:solidFill>
                  <a:schemeClr val="accent6">
                    <a:lumMod val="75000"/>
                  </a:schemeClr>
                </a:solidFill>
              </a:rPr>
              <a:t>Problem Analysis</a:t>
            </a:r>
            <a:endParaRPr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59" name="Shape 918"/>
          <p:cNvSpPr/>
          <p:nvPr/>
        </p:nvSpPr>
        <p:spPr>
          <a:xfrm>
            <a:off x="5093912" y="2691664"/>
            <a:ext cx="233825" cy="23295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525" h="20448" extrusionOk="0">
                <a:moveTo>
                  <a:pt x="3052" y="17505"/>
                </a:moveTo>
                <a:cubicBezTo>
                  <a:pt x="943" y="15397"/>
                  <a:pt x="-62" y="12445"/>
                  <a:pt x="3" y="9721"/>
                </a:cubicBezTo>
                <a:cubicBezTo>
                  <a:pt x="100" y="7321"/>
                  <a:pt x="1138" y="4856"/>
                  <a:pt x="3052" y="3040"/>
                </a:cubicBezTo>
                <a:cubicBezTo>
                  <a:pt x="4997" y="1191"/>
                  <a:pt x="7235" y="186"/>
                  <a:pt x="9733" y="24"/>
                </a:cubicBezTo>
                <a:cubicBezTo>
                  <a:pt x="12554" y="-171"/>
                  <a:pt x="15408" y="834"/>
                  <a:pt x="17484" y="3040"/>
                </a:cubicBezTo>
                <a:cubicBezTo>
                  <a:pt x="21538" y="7061"/>
                  <a:pt x="21538" y="13451"/>
                  <a:pt x="17484" y="17505"/>
                </a:cubicBezTo>
                <a:cubicBezTo>
                  <a:pt x="13560" y="21429"/>
                  <a:pt x="7073" y="21429"/>
                  <a:pt x="3052" y="17505"/>
                </a:cubicBezTo>
              </a:path>
            </a:pathLst>
          </a:custGeom>
          <a:solidFill>
            <a:srgbClr val="F67A83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Roboto Regular"/>
                <a:ea typeface="Roboto Regular"/>
                <a:cs typeface="Roboto Regular"/>
                <a:sym typeface="Roboto Regular"/>
              </a:defRPr>
            </a:pPr>
            <a:endParaRPr/>
          </a:p>
        </p:txBody>
      </p:sp>
      <p:sp>
        <p:nvSpPr>
          <p:cNvPr id="60" name="Shape 919"/>
          <p:cNvSpPr/>
          <p:nvPr/>
        </p:nvSpPr>
        <p:spPr>
          <a:xfrm>
            <a:off x="5093913" y="4284264"/>
            <a:ext cx="1441964" cy="21242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r"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800">
                <a:solidFill>
                  <a:srgbClr val="D16E83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r>
              <a:rPr lang="de-DE" b="1" dirty="0">
                <a:solidFill>
                  <a:schemeClr val="accent3">
                    <a:lumMod val="50000"/>
                  </a:schemeClr>
                </a:solidFill>
              </a:rPr>
              <a:t>Business Model Development </a:t>
            </a:r>
          </a:p>
        </p:txBody>
      </p:sp>
      <p:sp>
        <p:nvSpPr>
          <p:cNvPr id="61" name="Shape 920"/>
          <p:cNvSpPr/>
          <p:nvPr/>
        </p:nvSpPr>
        <p:spPr>
          <a:xfrm>
            <a:off x="5093912" y="4304164"/>
            <a:ext cx="233825" cy="23295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525" h="20448" extrusionOk="0">
                <a:moveTo>
                  <a:pt x="3052" y="17505"/>
                </a:moveTo>
                <a:cubicBezTo>
                  <a:pt x="943" y="15397"/>
                  <a:pt x="-62" y="12478"/>
                  <a:pt x="3" y="9721"/>
                </a:cubicBezTo>
                <a:cubicBezTo>
                  <a:pt x="100" y="7353"/>
                  <a:pt x="1106" y="4856"/>
                  <a:pt x="3052" y="3040"/>
                </a:cubicBezTo>
                <a:cubicBezTo>
                  <a:pt x="4868" y="1224"/>
                  <a:pt x="7235" y="218"/>
                  <a:pt x="9733" y="24"/>
                </a:cubicBezTo>
                <a:cubicBezTo>
                  <a:pt x="12554" y="-171"/>
                  <a:pt x="15408" y="834"/>
                  <a:pt x="17484" y="3040"/>
                </a:cubicBezTo>
                <a:cubicBezTo>
                  <a:pt x="21538" y="7061"/>
                  <a:pt x="21538" y="13483"/>
                  <a:pt x="17484" y="17505"/>
                </a:cubicBezTo>
                <a:cubicBezTo>
                  <a:pt x="13560" y="21429"/>
                  <a:pt x="7073" y="21429"/>
                  <a:pt x="3052" y="17505"/>
                </a:cubicBezTo>
              </a:path>
            </a:pathLst>
          </a:custGeom>
          <a:solidFill>
            <a:schemeClr val="accent3">
              <a:lumMod val="50000"/>
            </a:schemeClr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Roboto Regular"/>
                <a:ea typeface="Roboto Regular"/>
                <a:cs typeface="Roboto Regular"/>
                <a:sym typeface="Roboto Regular"/>
              </a:defRPr>
            </a:pPr>
            <a:endParaRPr/>
          </a:p>
        </p:txBody>
      </p:sp>
      <p:sp>
        <p:nvSpPr>
          <p:cNvPr id="63" name="Shape 922"/>
          <p:cNvSpPr/>
          <p:nvPr/>
        </p:nvSpPr>
        <p:spPr>
          <a:xfrm>
            <a:off x="2426311" y="3508578"/>
            <a:ext cx="1388286" cy="21242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l"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800">
                <a:solidFill>
                  <a:srgbClr val="D16E83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r>
              <a:rPr lang="de-DE" b="1" dirty="0" smtClean="0"/>
              <a:t>Value Proposition </a:t>
            </a:r>
            <a:endParaRPr lang="de-DE" b="1" dirty="0"/>
          </a:p>
          <a:p>
            <a:r>
              <a:rPr lang="de-DE" dirty="0" smtClean="0"/>
              <a:t> </a:t>
            </a:r>
            <a:endParaRPr dirty="0"/>
          </a:p>
        </p:txBody>
      </p:sp>
      <p:sp>
        <p:nvSpPr>
          <p:cNvPr id="66" name="Shape 925"/>
          <p:cNvSpPr/>
          <p:nvPr/>
        </p:nvSpPr>
        <p:spPr>
          <a:xfrm>
            <a:off x="3697804" y="3497653"/>
            <a:ext cx="233587" cy="2342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504" h="20429" extrusionOk="0">
                <a:moveTo>
                  <a:pt x="17481" y="3003"/>
                </a:moveTo>
                <a:cubicBezTo>
                  <a:pt x="19590" y="5101"/>
                  <a:pt x="20595" y="8039"/>
                  <a:pt x="20498" y="10751"/>
                </a:cubicBezTo>
                <a:cubicBezTo>
                  <a:pt x="20433" y="13141"/>
                  <a:pt x="19395" y="15595"/>
                  <a:pt x="17481" y="17403"/>
                </a:cubicBezTo>
                <a:cubicBezTo>
                  <a:pt x="15665" y="19243"/>
                  <a:pt x="13265" y="20244"/>
                  <a:pt x="10800" y="20405"/>
                </a:cubicBezTo>
                <a:cubicBezTo>
                  <a:pt x="7979" y="20599"/>
                  <a:pt x="5125" y="19598"/>
                  <a:pt x="3017" y="17403"/>
                </a:cubicBezTo>
                <a:cubicBezTo>
                  <a:pt x="-1005" y="13399"/>
                  <a:pt x="-1005" y="7038"/>
                  <a:pt x="3017" y="3003"/>
                </a:cubicBezTo>
                <a:cubicBezTo>
                  <a:pt x="6973" y="-1001"/>
                  <a:pt x="13460" y="-1001"/>
                  <a:pt x="17481" y="3003"/>
                </a:cubicBezTo>
              </a:path>
            </a:pathLst>
          </a:custGeom>
          <a:solidFill>
            <a:srgbClr val="D16E83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68" name="Shape 927"/>
          <p:cNvSpPr/>
          <p:nvPr/>
        </p:nvSpPr>
        <p:spPr>
          <a:xfrm>
            <a:off x="4409363" y="1052736"/>
            <a:ext cx="278718" cy="28034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800"/>
                  <a:pt x="21171" y="14457"/>
                  <a:pt x="20170" y="16200"/>
                </a:cubicBezTo>
                <a:cubicBezTo>
                  <a:pt x="19168" y="17914"/>
                  <a:pt x="17938" y="19171"/>
                  <a:pt x="16193" y="20171"/>
                </a:cubicBezTo>
                <a:cubicBezTo>
                  <a:pt x="14476" y="21143"/>
                  <a:pt x="12788" y="21600"/>
                  <a:pt x="10814" y="21600"/>
                </a:cubicBezTo>
                <a:cubicBezTo>
                  <a:pt x="8812" y="21600"/>
                  <a:pt x="7124" y="21143"/>
                  <a:pt x="5407" y="20171"/>
                </a:cubicBezTo>
                <a:cubicBezTo>
                  <a:pt x="3691" y="19171"/>
                  <a:pt x="2460" y="17914"/>
                  <a:pt x="1459" y="16200"/>
                </a:cubicBezTo>
                <a:cubicBezTo>
                  <a:pt x="458" y="14457"/>
                  <a:pt x="0" y="12771"/>
                  <a:pt x="0" y="10800"/>
                </a:cubicBezTo>
                <a:cubicBezTo>
                  <a:pt x="0" y="8800"/>
                  <a:pt x="458" y="7114"/>
                  <a:pt x="1459" y="5400"/>
                </a:cubicBezTo>
                <a:cubicBezTo>
                  <a:pt x="2460" y="3686"/>
                  <a:pt x="3691" y="2429"/>
                  <a:pt x="5407" y="1457"/>
                </a:cubicBezTo>
                <a:cubicBezTo>
                  <a:pt x="7124" y="457"/>
                  <a:pt x="8840" y="0"/>
                  <a:pt x="10814" y="0"/>
                </a:cubicBezTo>
                <a:cubicBezTo>
                  <a:pt x="12788" y="0"/>
                  <a:pt x="14476" y="457"/>
                  <a:pt x="16193" y="1457"/>
                </a:cubicBezTo>
                <a:cubicBezTo>
                  <a:pt x="17938" y="2429"/>
                  <a:pt x="19168" y="3686"/>
                  <a:pt x="20170" y="5400"/>
                </a:cubicBezTo>
                <a:cubicBezTo>
                  <a:pt x="21171" y="7114"/>
                  <a:pt x="21600" y="8829"/>
                  <a:pt x="21600" y="10800"/>
                </a:cubicBezTo>
              </a:path>
            </a:pathLst>
          </a:custGeom>
          <a:solidFill>
            <a:srgbClr val="7C6535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3" name="Shape 932"/>
          <p:cNvSpPr/>
          <p:nvPr/>
        </p:nvSpPr>
        <p:spPr>
          <a:xfrm>
            <a:off x="1266215" y="2222940"/>
            <a:ext cx="72187" cy="763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338" h="21600" extrusionOk="0">
                <a:moveTo>
                  <a:pt x="18530" y="2097"/>
                </a:moveTo>
                <a:cubicBezTo>
                  <a:pt x="16337" y="629"/>
                  <a:pt x="13596" y="0"/>
                  <a:pt x="10526" y="0"/>
                </a:cubicBezTo>
                <a:cubicBezTo>
                  <a:pt x="8004" y="0"/>
                  <a:pt x="5811" y="629"/>
                  <a:pt x="4276" y="1468"/>
                </a:cubicBezTo>
                <a:cubicBezTo>
                  <a:pt x="1864" y="3041"/>
                  <a:pt x="548" y="5348"/>
                  <a:pt x="0" y="8913"/>
                </a:cubicBezTo>
                <a:cubicBezTo>
                  <a:pt x="0" y="9227"/>
                  <a:pt x="0" y="9751"/>
                  <a:pt x="0" y="9751"/>
                </a:cubicBezTo>
                <a:cubicBezTo>
                  <a:pt x="219" y="11324"/>
                  <a:pt x="1535" y="12478"/>
                  <a:pt x="3070" y="12478"/>
                </a:cubicBezTo>
                <a:cubicBezTo>
                  <a:pt x="4605" y="12478"/>
                  <a:pt x="5811" y="11324"/>
                  <a:pt x="6140" y="9751"/>
                </a:cubicBezTo>
                <a:lnTo>
                  <a:pt x="6140" y="9542"/>
                </a:lnTo>
                <a:cubicBezTo>
                  <a:pt x="6140" y="8598"/>
                  <a:pt x="6469" y="7445"/>
                  <a:pt x="7127" y="6501"/>
                </a:cubicBezTo>
                <a:cubicBezTo>
                  <a:pt x="7675" y="5348"/>
                  <a:pt x="8881" y="5033"/>
                  <a:pt x="10526" y="5033"/>
                </a:cubicBezTo>
                <a:cubicBezTo>
                  <a:pt x="12061" y="5033"/>
                  <a:pt x="13267" y="5348"/>
                  <a:pt x="13925" y="6291"/>
                </a:cubicBezTo>
                <a:cubicBezTo>
                  <a:pt x="14473" y="7130"/>
                  <a:pt x="14802" y="8074"/>
                  <a:pt x="14802" y="9227"/>
                </a:cubicBezTo>
                <a:cubicBezTo>
                  <a:pt x="14802" y="10066"/>
                  <a:pt x="14473" y="11010"/>
                  <a:pt x="13925" y="11534"/>
                </a:cubicBezTo>
                <a:cubicBezTo>
                  <a:pt x="13596" y="11849"/>
                  <a:pt x="13267" y="12478"/>
                  <a:pt x="12609" y="12792"/>
                </a:cubicBezTo>
                <a:lnTo>
                  <a:pt x="11074" y="13946"/>
                </a:lnTo>
                <a:cubicBezTo>
                  <a:pt x="9539" y="15099"/>
                  <a:pt x="8662" y="15938"/>
                  <a:pt x="8333" y="16882"/>
                </a:cubicBezTo>
                <a:cubicBezTo>
                  <a:pt x="8004" y="17720"/>
                  <a:pt x="7675" y="19293"/>
                  <a:pt x="7675" y="21600"/>
                </a:cubicBezTo>
                <a:lnTo>
                  <a:pt x="13596" y="21600"/>
                </a:lnTo>
                <a:cubicBezTo>
                  <a:pt x="13596" y="20447"/>
                  <a:pt x="13596" y="19817"/>
                  <a:pt x="13925" y="19293"/>
                </a:cubicBezTo>
                <a:cubicBezTo>
                  <a:pt x="14144" y="18350"/>
                  <a:pt x="14802" y="17825"/>
                  <a:pt x="15460" y="17196"/>
                </a:cubicBezTo>
                <a:lnTo>
                  <a:pt x="16995" y="16043"/>
                </a:lnTo>
                <a:cubicBezTo>
                  <a:pt x="18530" y="14784"/>
                  <a:pt x="19407" y="13946"/>
                  <a:pt x="20065" y="13107"/>
                </a:cubicBezTo>
                <a:cubicBezTo>
                  <a:pt x="21052" y="11849"/>
                  <a:pt x="21271" y="10381"/>
                  <a:pt x="21271" y="8598"/>
                </a:cubicBezTo>
                <a:cubicBezTo>
                  <a:pt x="21600" y="5662"/>
                  <a:pt x="20723" y="3565"/>
                  <a:pt x="18530" y="2097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4" name="Shape 933"/>
          <p:cNvSpPr/>
          <p:nvPr/>
        </p:nvSpPr>
        <p:spPr>
          <a:xfrm>
            <a:off x="1290695" y="2307810"/>
            <a:ext cx="27371" cy="273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948"/>
                </a:moveTo>
                <a:cubicBezTo>
                  <a:pt x="21600" y="13019"/>
                  <a:pt x="21008" y="14499"/>
                  <a:pt x="20121" y="16274"/>
                </a:cubicBezTo>
                <a:cubicBezTo>
                  <a:pt x="19233" y="18049"/>
                  <a:pt x="17753" y="19233"/>
                  <a:pt x="16274" y="20416"/>
                </a:cubicBezTo>
                <a:cubicBezTo>
                  <a:pt x="14499" y="21304"/>
                  <a:pt x="12723" y="21600"/>
                  <a:pt x="10652" y="21600"/>
                </a:cubicBezTo>
                <a:cubicBezTo>
                  <a:pt x="8581" y="21600"/>
                  <a:pt x="7101" y="21304"/>
                  <a:pt x="5326" y="20416"/>
                </a:cubicBezTo>
                <a:cubicBezTo>
                  <a:pt x="3551" y="19233"/>
                  <a:pt x="2071" y="18049"/>
                  <a:pt x="1184" y="16274"/>
                </a:cubicBezTo>
                <a:cubicBezTo>
                  <a:pt x="0" y="14499"/>
                  <a:pt x="0" y="13019"/>
                  <a:pt x="0" y="10948"/>
                </a:cubicBezTo>
                <a:cubicBezTo>
                  <a:pt x="0" y="8877"/>
                  <a:pt x="0" y="6805"/>
                  <a:pt x="1184" y="5326"/>
                </a:cubicBezTo>
                <a:cubicBezTo>
                  <a:pt x="2071" y="3551"/>
                  <a:pt x="3551" y="2367"/>
                  <a:pt x="5326" y="1479"/>
                </a:cubicBezTo>
                <a:cubicBezTo>
                  <a:pt x="7101" y="592"/>
                  <a:pt x="8581" y="0"/>
                  <a:pt x="10652" y="0"/>
                </a:cubicBezTo>
                <a:cubicBezTo>
                  <a:pt x="12723" y="0"/>
                  <a:pt x="14499" y="592"/>
                  <a:pt x="16274" y="1479"/>
                </a:cubicBezTo>
                <a:cubicBezTo>
                  <a:pt x="17753" y="2367"/>
                  <a:pt x="19233" y="3551"/>
                  <a:pt x="20121" y="5326"/>
                </a:cubicBezTo>
                <a:cubicBezTo>
                  <a:pt x="21008" y="6805"/>
                  <a:pt x="21600" y="8877"/>
                  <a:pt x="21600" y="10948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pic>
        <p:nvPicPr>
          <p:cNvPr id="185347" name="Picture 3" descr="C:\Users\hdagher\Desktop\Screen sh\6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6046" y="2071856"/>
            <a:ext cx="2064280" cy="1494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6371" name="Picture 3" descr="C:\Users\hdagher\Desktop\Screen sh\11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440" y="3209203"/>
            <a:ext cx="1902873" cy="1388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6" descr="C:\Users\hdagher\Desktop\Screen sh\9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974"/>
          <a:stretch/>
        </p:blipFill>
        <p:spPr bwMode="auto">
          <a:xfrm>
            <a:off x="7618187" y="3831885"/>
            <a:ext cx="1032139" cy="723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" descr="C:\Users\hdagher\Desktop\Screen sh\10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5995" y="4390477"/>
            <a:ext cx="1173402" cy="711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5" descr="C:\Users\hdagher\Desktop\Screen sh\8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3062" y="1412776"/>
            <a:ext cx="1048309" cy="732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Grafik 2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220" y="2063720"/>
            <a:ext cx="1156321" cy="813785"/>
          </a:xfrm>
          <a:prstGeom prst="rect">
            <a:avLst/>
          </a:prstGeom>
        </p:spPr>
      </p:pic>
      <p:sp>
        <p:nvSpPr>
          <p:cNvPr id="31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Content of the entrepreneurship training </a:t>
            </a:r>
          </a:p>
        </p:txBody>
      </p:sp>
      <p:sp>
        <p:nvSpPr>
          <p:cNvPr id="30" name="Shape 917"/>
          <p:cNvSpPr/>
          <p:nvPr/>
        </p:nvSpPr>
        <p:spPr>
          <a:xfrm>
            <a:off x="3697804" y="1888509"/>
            <a:ext cx="233587" cy="2344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504" h="20446" extrusionOk="0">
                <a:moveTo>
                  <a:pt x="17481" y="3027"/>
                </a:moveTo>
                <a:cubicBezTo>
                  <a:pt x="19590" y="5126"/>
                  <a:pt x="20595" y="8031"/>
                  <a:pt x="20498" y="10743"/>
                </a:cubicBezTo>
                <a:cubicBezTo>
                  <a:pt x="20433" y="13133"/>
                  <a:pt x="19395" y="15554"/>
                  <a:pt x="17481" y="17395"/>
                </a:cubicBezTo>
                <a:cubicBezTo>
                  <a:pt x="15568" y="19203"/>
                  <a:pt x="13265" y="20236"/>
                  <a:pt x="10800" y="20430"/>
                </a:cubicBezTo>
                <a:cubicBezTo>
                  <a:pt x="7979" y="20591"/>
                  <a:pt x="5125" y="19590"/>
                  <a:pt x="3017" y="17395"/>
                </a:cubicBezTo>
                <a:cubicBezTo>
                  <a:pt x="-1005" y="13391"/>
                  <a:pt x="-1005" y="7030"/>
                  <a:pt x="3017" y="3027"/>
                </a:cubicBezTo>
                <a:cubicBezTo>
                  <a:pt x="6973" y="-1009"/>
                  <a:pt x="13460" y="-1009"/>
                  <a:pt x="17481" y="3027"/>
                </a:cubicBezTo>
              </a:path>
            </a:pathLst>
          </a:custGeom>
          <a:solidFill>
            <a:schemeClr val="accent6">
              <a:lumMod val="75000"/>
            </a:schemeClr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2" name="Shape 928"/>
          <p:cNvSpPr/>
          <p:nvPr/>
        </p:nvSpPr>
        <p:spPr>
          <a:xfrm>
            <a:off x="4037248" y="6350485"/>
            <a:ext cx="499049" cy="49904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629" y="21600"/>
                </a:moveTo>
                <a:lnTo>
                  <a:pt x="0" y="21600"/>
                </a:lnTo>
                <a:cubicBezTo>
                  <a:pt x="0" y="9671"/>
                  <a:pt x="9671" y="0"/>
                  <a:pt x="21600" y="0"/>
                </a:cubicBezTo>
                <a:lnTo>
                  <a:pt x="21600" y="6645"/>
                </a:lnTo>
                <a:cubicBezTo>
                  <a:pt x="13370" y="6693"/>
                  <a:pt x="6629" y="13386"/>
                  <a:pt x="6629" y="21600"/>
                </a:cubicBezTo>
              </a:path>
            </a:pathLst>
          </a:custGeom>
          <a:solidFill>
            <a:srgbClr val="DED9D7"/>
          </a:solidFill>
          <a:ln w="3175">
            <a:solidFill>
              <a:schemeClr val="bg1">
                <a:lumMod val="50000"/>
              </a:schemeClr>
            </a:solidFill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70882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57200" y="2250771"/>
            <a:ext cx="8229600" cy="3224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6983414" y="5748066"/>
            <a:ext cx="216058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spcAft>
                <a:spcPct val="4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4D4D4D"/>
                </a:solidFill>
                <a:latin typeface="Futura Book" panose="02000504030000020003" pitchFamily="2" charset="0"/>
              </a:defRPr>
            </a:lvl1pPr>
            <a:lvl2pPr marL="742950" indent="-285750">
              <a:spcAft>
                <a:spcPct val="30000"/>
              </a:spcAft>
              <a:buClr>
                <a:srgbClr val="CC0000"/>
              </a:buClr>
              <a:buSzPct val="50000"/>
              <a:buFont typeface="Wingdings" panose="05000000000000000000" pitchFamily="2" charset="2"/>
              <a:buChar char="¨"/>
              <a:defRPr>
                <a:solidFill>
                  <a:srgbClr val="4D4D4D"/>
                </a:solidFill>
                <a:latin typeface="Futura Book" panose="02000504030000020003" pitchFamily="2" charset="0"/>
              </a:defRPr>
            </a:lvl2pPr>
            <a:lvl3pPr marL="1143000" indent="-228600">
              <a:spcBef>
                <a:spcPct val="30000"/>
              </a:spcBef>
              <a:buClr>
                <a:srgbClr val="CC0000"/>
              </a:buClr>
              <a:buSzPct val="80000"/>
              <a:buChar char="o"/>
              <a:defRPr>
                <a:solidFill>
                  <a:srgbClr val="4D4D4D"/>
                </a:solidFill>
                <a:latin typeface="Futura Book" panose="02000504030000020003" pitchFamily="2" charset="0"/>
              </a:defRPr>
            </a:lvl3pPr>
            <a:lvl4pPr marL="1600200" indent="-228600">
              <a:spcBef>
                <a:spcPct val="30000"/>
              </a:spcBef>
              <a:buClr>
                <a:srgbClr val="CC0000"/>
              </a:buClr>
              <a:buFont typeface="Wingdings" panose="05000000000000000000" pitchFamily="2" charset="2"/>
              <a:buChar char="§"/>
              <a:defRPr>
                <a:solidFill>
                  <a:srgbClr val="4D4D4D"/>
                </a:solidFill>
                <a:latin typeface="Futura Book" panose="02000504030000020003" pitchFamily="2" charset="0"/>
              </a:defRPr>
            </a:lvl4pPr>
            <a:lvl5pPr marL="2057400" indent="-228600">
              <a:spcBef>
                <a:spcPct val="30000"/>
              </a:spcBef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ct val="0"/>
              </a:spcAft>
              <a:buFont typeface="Wingdings" panose="05000000000000000000" pitchFamily="2" charset="2"/>
              <a:buNone/>
            </a:pPr>
            <a:r>
              <a:rPr lang="de-DE" altLang="de-DE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Source: Osterwalder et al. 2010.</a:t>
            </a:r>
          </a:p>
        </p:txBody>
      </p:sp>
      <p:sp>
        <p:nvSpPr>
          <p:cNvPr id="7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Nine Building Blocks</a:t>
            </a:r>
          </a:p>
        </p:txBody>
      </p:sp>
    </p:spTree>
    <p:extLst>
      <p:ext uri="{BB962C8B-B14F-4D97-AF65-F5344CB8AC3E}">
        <p14:creationId xmlns:p14="http://schemas.microsoft.com/office/powerpoint/2010/main" val="2911337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57200" y="2491581"/>
            <a:ext cx="8229600" cy="274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6983414" y="5776783"/>
            <a:ext cx="216058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spcAft>
                <a:spcPct val="4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4D4D4D"/>
                </a:solidFill>
                <a:latin typeface="Futura Book" panose="02000504030000020003" pitchFamily="2" charset="0"/>
              </a:defRPr>
            </a:lvl1pPr>
            <a:lvl2pPr marL="742950" indent="-285750">
              <a:spcAft>
                <a:spcPct val="30000"/>
              </a:spcAft>
              <a:buClr>
                <a:srgbClr val="CC0000"/>
              </a:buClr>
              <a:buSzPct val="50000"/>
              <a:buFont typeface="Wingdings" panose="05000000000000000000" pitchFamily="2" charset="2"/>
              <a:buChar char="¨"/>
              <a:defRPr>
                <a:solidFill>
                  <a:srgbClr val="4D4D4D"/>
                </a:solidFill>
                <a:latin typeface="Futura Book" panose="02000504030000020003" pitchFamily="2" charset="0"/>
              </a:defRPr>
            </a:lvl2pPr>
            <a:lvl3pPr marL="1143000" indent="-228600">
              <a:spcBef>
                <a:spcPct val="30000"/>
              </a:spcBef>
              <a:buClr>
                <a:srgbClr val="CC0000"/>
              </a:buClr>
              <a:buSzPct val="80000"/>
              <a:buChar char="o"/>
              <a:defRPr>
                <a:solidFill>
                  <a:srgbClr val="4D4D4D"/>
                </a:solidFill>
                <a:latin typeface="Futura Book" panose="02000504030000020003" pitchFamily="2" charset="0"/>
              </a:defRPr>
            </a:lvl3pPr>
            <a:lvl4pPr marL="1600200" indent="-228600">
              <a:spcBef>
                <a:spcPct val="30000"/>
              </a:spcBef>
              <a:buClr>
                <a:srgbClr val="CC0000"/>
              </a:buClr>
              <a:buFont typeface="Wingdings" panose="05000000000000000000" pitchFamily="2" charset="2"/>
              <a:buChar char="§"/>
              <a:defRPr>
                <a:solidFill>
                  <a:srgbClr val="4D4D4D"/>
                </a:solidFill>
                <a:latin typeface="Futura Book" panose="02000504030000020003" pitchFamily="2" charset="0"/>
              </a:defRPr>
            </a:lvl4pPr>
            <a:lvl5pPr marL="2057400" indent="-228600">
              <a:spcBef>
                <a:spcPct val="30000"/>
              </a:spcBef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ct val="0"/>
              </a:spcAft>
              <a:buFont typeface="Wingdings" panose="05000000000000000000" pitchFamily="2" charset="2"/>
              <a:buNone/>
            </a:pPr>
            <a:r>
              <a:rPr lang="de-DE" altLang="de-DE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Source: Osterwalder et al. 2010.</a:t>
            </a:r>
          </a:p>
        </p:txBody>
      </p:sp>
      <p:sp>
        <p:nvSpPr>
          <p:cNvPr id="7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Nine Building Blocks</a:t>
            </a:r>
          </a:p>
        </p:txBody>
      </p:sp>
    </p:spTree>
    <p:extLst>
      <p:ext uri="{BB962C8B-B14F-4D97-AF65-F5344CB8AC3E}">
        <p14:creationId xmlns:p14="http://schemas.microsoft.com/office/powerpoint/2010/main" val="2483030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Unknown Document Type" ma:contentTypeID="0x010104" ma:contentTypeVersion="0" ma:contentTypeDescription="" ma:contentTypeScope="" ma:versionID="05d83ceaa0bbd2e3bc716e6e66bd857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3d69fe45253d5ff147bb69036b756a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1C25051-06FD-4A4A-87AA-CAAB0B6D0F05}"/>
</file>

<file path=customXml/itemProps2.xml><?xml version="1.0" encoding="utf-8"?>
<ds:datastoreItem xmlns:ds="http://schemas.openxmlformats.org/officeDocument/2006/customXml" ds:itemID="{934CC4FE-FBCC-4AB9-95BC-4C565E6C4136}"/>
</file>

<file path=customXml/itemProps3.xml><?xml version="1.0" encoding="utf-8"?>
<ds:datastoreItem xmlns:ds="http://schemas.openxmlformats.org/officeDocument/2006/customXml" ds:itemID="{3C83D87F-6927-4071-B091-48DF0C6781CF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</TotalTime>
  <Words>533</Words>
  <Application>Microsoft Office PowerPoint</Application>
  <PresentationFormat>On-screen Show (4:3)</PresentationFormat>
  <Paragraphs>160</Paragraphs>
  <Slides>32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3" baseType="lpstr">
      <vt:lpstr>Arial</vt:lpstr>
      <vt:lpstr>Calibri</vt:lpstr>
      <vt:lpstr>Roboto Black</vt:lpstr>
      <vt:lpstr>Roboto Bold</vt:lpstr>
      <vt:lpstr>Roboto Regular</vt:lpstr>
      <vt:lpstr>'Roboto-Bold'</vt:lpstr>
      <vt:lpstr>Times New Roman</vt:lpstr>
      <vt:lpstr>Trebuchet MS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er</dc:creator>
  <cp:lastModifiedBy>Home</cp:lastModifiedBy>
  <cp:revision>31</cp:revision>
  <dcterms:created xsi:type="dcterms:W3CDTF">2018-09-11T16:13:06Z</dcterms:created>
  <dcterms:modified xsi:type="dcterms:W3CDTF">2020-03-01T20:49:57Z</dcterms:modified>
</cp:coreProperties>
</file>